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tags/tag16.xml" ContentType="application/vnd.openxmlformats-officedocument.presentationml.tags+xml"/>
  <Override PartName="/docProps/custom.xml" ContentType="application/vnd.openxmlformats-officedocument.custom-properties+xml"/>
  <Override PartName="/ppt/charts/chart7.xml" ContentType="application/vnd.openxmlformats-officedocument.drawingml.chart+xml"/>
  <Override PartName="/ppt/notesSlides/notesSlide12.xml" ContentType="application/vnd.openxmlformats-officedocument.presentationml.notesSlide+xml"/>
  <Override PartName="/ppt/notesSlides/notesSlide30.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charts/chart5.xml" ContentType="application/vnd.openxmlformats-officedocument.drawingml.char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mp3" ContentType="audio/mp3"/>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tags/tag17.xml" ContentType="application/vnd.openxmlformats-officedocument.presentationml.tags+xml"/>
  <Default Extension="wdp" ContentType="image/vnd.ms-photo"/>
  <Override PartName="/ppt/slideLayouts/slideLayout10.xml" ContentType="application/vnd.openxmlformats-officedocument.presentationml.slideLayout+xml"/>
  <Override PartName="/ppt/charts/chart6.xml" ContentType="application/vnd.openxmlformats-officedocument.drawingml.char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charts/chart10.xml" ContentType="application/vnd.openxmlformats-officedocument.drawingml.chart+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31.xml" ContentType="application/vnd.openxmlformats-officedocument.presentationml.notesSlide+xml"/>
  <Override PartName="/ppt/charts/chart4.xml" ContentType="application/vnd.openxmlformats-officedocument.drawingml.chart+xml"/>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charts/chart2.xml" ContentType="application/vnd.openxmlformats-officedocument.drawingml.chart+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notesSlides/notesSlide18.xml" ContentType="application/vnd.openxmlformats-officedocument.presentationml.notes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notesSlides/notesSlide14.xml" ContentType="application/vnd.openxmlformats-officedocument.presentationml.notesSlide+xml"/>
  <Override PartName="/ppt/charts/chart11.xml" ContentType="application/vnd.openxmlformats-officedocument.drawingml.chart+xml"/>
  <Override PartName="/ppt/tags/tag18.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0"/>
  </p:notesMasterIdLst>
  <p:sldIdLst>
    <p:sldId id="256" r:id="rId2"/>
    <p:sldId id="257" r:id="rId3"/>
    <p:sldId id="258" r:id="rId4"/>
    <p:sldId id="263" r:id="rId5"/>
    <p:sldId id="264" r:id="rId6"/>
    <p:sldId id="265" r:id="rId7"/>
    <p:sldId id="266" r:id="rId8"/>
    <p:sldId id="267" r:id="rId9"/>
    <p:sldId id="268" r:id="rId10"/>
    <p:sldId id="269" r:id="rId11"/>
    <p:sldId id="270" r:id="rId12"/>
    <p:sldId id="259" r:id="rId13"/>
    <p:sldId id="281" r:id="rId14"/>
    <p:sldId id="282" r:id="rId15"/>
    <p:sldId id="283" r:id="rId16"/>
    <p:sldId id="284" r:id="rId17"/>
    <p:sldId id="285" r:id="rId18"/>
    <p:sldId id="286" r:id="rId19"/>
    <p:sldId id="287" r:id="rId20"/>
    <p:sldId id="288" r:id="rId21"/>
    <p:sldId id="260" r:id="rId22"/>
    <p:sldId id="289" r:id="rId23"/>
    <p:sldId id="290" r:id="rId24"/>
    <p:sldId id="291" r:id="rId25"/>
    <p:sldId id="292" r:id="rId26"/>
    <p:sldId id="293" r:id="rId27"/>
    <p:sldId id="271" r:id="rId28"/>
    <p:sldId id="272" r:id="rId29"/>
    <p:sldId id="273" r:id="rId30"/>
    <p:sldId id="261" r:id="rId31"/>
    <p:sldId id="274" r:id="rId32"/>
    <p:sldId id="275" r:id="rId33"/>
    <p:sldId id="276" r:id="rId34"/>
    <p:sldId id="277" r:id="rId35"/>
    <p:sldId id="278" r:id="rId36"/>
    <p:sldId id="279" r:id="rId37"/>
    <p:sldId id="280" r:id="rId38"/>
    <p:sldId id="294" r:id="rId39"/>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A44C08"/>
    <a:srgbClr val="411F24"/>
    <a:srgbClr val="B25808"/>
    <a:srgbClr val="22010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777" autoAdjust="0"/>
    <p:restoredTop sz="98065" autoAdjust="0"/>
  </p:normalViewPr>
  <p:slideViewPr>
    <p:cSldViewPr snapToGrid="0">
      <p:cViewPr varScale="1">
        <p:scale>
          <a:sx n="108" d="100"/>
          <a:sy n="108" d="100"/>
        </p:scale>
        <p:origin x="-1032" y="-90"/>
      </p:cViewPr>
      <p:guideLst>
        <p:guide orient="horz" pos="2160"/>
        <p:guide pos="3840"/>
      </p:guideLst>
    </p:cSldViewPr>
  </p:slideViewPr>
  <p:notesTextViewPr>
    <p:cViewPr>
      <p:scale>
        <a:sx n="1" d="1"/>
        <a:sy n="1" d="1"/>
      </p:scale>
      <p:origin x="0" y="36"/>
    </p:cViewPr>
  </p:notesTextViewPr>
  <p:sorterViewPr>
    <p:cViewPr>
      <p:scale>
        <a:sx n="46" d="100"/>
        <a:sy n="4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Workbook10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Workbook11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Workbook22.xlsx"/></Relationships>
</file>

<file path=ppt/charts/_rels/chart3.xml.rels><?xml version="1.0" encoding="UTF-8" standalone="yes"?>
<Relationships xmlns="http://schemas.openxmlformats.org/package/2006/relationships"><Relationship Id="rId1" Type="http://schemas.openxmlformats.org/officeDocument/2006/relationships/package" Target="../embeddings/Workbook33.xlsx"/></Relationships>
</file>

<file path=ppt/charts/_rels/chart4.xml.rels><?xml version="1.0" encoding="UTF-8" standalone="yes"?>
<Relationships xmlns="http://schemas.openxmlformats.org/package/2006/relationships"><Relationship Id="rId1" Type="http://schemas.openxmlformats.org/officeDocument/2006/relationships/package" Target="../embeddings/Workbook44.xlsx"/></Relationships>
</file>

<file path=ppt/charts/_rels/chart5.xml.rels><?xml version="1.0" encoding="UTF-8" standalone="yes"?>
<Relationships xmlns="http://schemas.openxmlformats.org/package/2006/relationships"><Relationship Id="rId1" Type="http://schemas.openxmlformats.org/officeDocument/2006/relationships/package" Target="../embeddings/Workbook55.xlsx"/></Relationships>
</file>

<file path=ppt/charts/_rels/chart6.xml.rels><?xml version="1.0" encoding="UTF-8" standalone="yes"?>
<Relationships xmlns="http://schemas.openxmlformats.org/package/2006/relationships"><Relationship Id="rId1" Type="http://schemas.openxmlformats.org/officeDocument/2006/relationships/package" Target="../embeddings/Workbook66.xlsx"/></Relationships>
</file>

<file path=ppt/charts/_rels/chart7.xml.rels><?xml version="1.0" encoding="UTF-8" standalone="yes"?>
<Relationships xmlns="http://schemas.openxmlformats.org/package/2006/relationships"><Relationship Id="rId1" Type="http://schemas.openxmlformats.org/officeDocument/2006/relationships/package" Target="../embeddings/Workbook77.xlsx"/></Relationships>
</file>

<file path=ppt/charts/_rels/chart8.xml.rels><?xml version="1.0" encoding="UTF-8" standalone="yes"?>
<Relationships xmlns="http://schemas.openxmlformats.org/package/2006/relationships"><Relationship Id="rId1" Type="http://schemas.openxmlformats.org/officeDocument/2006/relationships/package" Target="../embeddings/Workbook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Workbook99.xlsx"/></Relationships>
</file>

<file path=ppt/charts/chart1.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列2</c:v>
                </c:pt>
              </c:strCache>
            </c:strRef>
          </c:tx>
          <c:spPr>
            <a:solidFill>
              <a:schemeClr val="bg1">
                <a:lumMod val="85000"/>
              </a:schemeClr>
            </a:solidFill>
          </c:spPr>
          <c:dPt>
            <c:idx val="0"/>
            <c:spPr>
              <a:solidFill>
                <a:schemeClr val="accent1"/>
              </a:solidFill>
              <a:ln w="19050">
                <a:solidFill>
                  <a:schemeClr val="lt1"/>
                </a:solidFill>
              </a:ln>
              <a:effectLst/>
            </c:spPr>
          </c:dPt>
          <c:dPt>
            <c:idx val="1"/>
            <c:spPr>
              <a:solidFill>
                <a:schemeClr val="tx1">
                  <a:lumMod val="75000"/>
                  <a:lumOff val="25000"/>
                </a:schemeClr>
              </a:solidFill>
              <a:ln w="19050">
                <a:solidFill>
                  <a:schemeClr val="lt1"/>
                </a:solidFill>
              </a:ln>
              <a:effectLst/>
            </c:spPr>
          </c:dPt>
          <c:cat>
            <c:strRef>
              <c:f>Sheet1!$A$2:$A$3</c:f>
              <c:strCache>
                <c:ptCount val="2"/>
                <c:pt idx="0">
                  <c:v>A</c:v>
                </c:pt>
                <c:pt idx="1">
                  <c:v>第二季度</c:v>
                </c:pt>
              </c:strCache>
            </c:strRef>
          </c:cat>
          <c:val>
            <c:numRef>
              <c:f>Sheet1!$B$2:$B$3</c:f>
              <c:numCache>
                <c:formatCode>General</c:formatCode>
                <c:ptCount val="2"/>
                <c:pt idx="0">
                  <c:v>25</c:v>
                </c:pt>
                <c:pt idx="1">
                  <c:v>75</c:v>
                </c:pt>
              </c:numCache>
            </c:numRef>
          </c:val>
        </c:ser>
        <c:dLbls/>
        <c:firstSliceAng val="0"/>
        <c:holeSize val="75"/>
      </c:doughnutChart>
      <c:spPr>
        <a:noFill/>
        <a:ln>
          <a:noFill/>
        </a:ln>
        <a:effectLst/>
      </c:spPr>
    </c:plotArea>
    <c:plotVisOnly val="1"/>
    <c:dispBlanksAs val="zero"/>
  </c:chart>
  <c:spPr>
    <a:noFill/>
    <a:ln>
      <a:noFill/>
    </a:ln>
    <a:effectLst/>
  </c:spPr>
  <c:txPr>
    <a:bodyPr/>
    <a:lstStyle/>
    <a:p>
      <a:pPr>
        <a:defRPr lang="zh-CN"/>
      </a:pPr>
      <a:endParaRPr lang="zh-CN"/>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lang val="zh-CN"/>
  <c:chart>
    <c:autoTitleDeleted val="1"/>
    <c:plotArea>
      <c:layout/>
      <c:barChart>
        <c:barDir val="bar"/>
        <c:grouping val="clustered"/>
        <c:ser>
          <c:idx val="0"/>
          <c:order val="0"/>
          <c:tx>
            <c:strRef>
              <c:f>Sheet1!$B$1</c:f>
              <c:strCache>
                <c:ptCount val="1"/>
                <c:pt idx="0">
                  <c:v>Series 1</c:v>
                </c:pt>
              </c:strCache>
            </c:strRef>
          </c:tx>
          <c:spPr>
            <a:solidFill>
              <a:schemeClr val="tx2"/>
            </a:solidFill>
          </c:spPr>
          <c:dLbls>
            <c:dLbl>
              <c:idx val="0"/>
              <c:layout/>
              <c:dLblPos val="outEnd"/>
              <c:showVal val="1"/>
              <c:extLst>
                <c:ext xmlns:c15="http://schemas.microsoft.com/office/drawing/2012/chart" uri="{CE6537A1-D6FC-4f65-9D91-7224C49458BB}"/>
              </c:extLst>
            </c:dLbl>
            <c:delete val="1"/>
            <c:spPr>
              <a:noFill/>
              <a:ln>
                <a:noFill/>
              </a:ln>
              <a:effectLst/>
            </c:spPr>
            <c:txPr>
              <a:bodyPr rot="0" spcFirstLastPara="0" vertOverflow="ellipsis" vert="horz" wrap="square" lIns="38100" tIns="19050" rIns="38100" bIns="19050" anchor="ctr" anchorCtr="1"/>
              <a:lstStyle/>
              <a:p>
                <a:pPr>
                  <a:defRPr lang="zh-CN" sz="1000" b="1" i="0" u="none" strike="noStrike" kern="1200" baseline="0">
                    <a:solidFill>
                      <a:schemeClr val="tx1">
                        <a:lumMod val="65000"/>
                        <a:lumOff val="35000"/>
                      </a:schemeClr>
                    </a:solidFill>
                    <a:latin typeface="+mn-lt"/>
                    <a:ea typeface="+mn-ea"/>
                    <a:cs typeface="+mn-cs"/>
                  </a:defRPr>
                </a:pPr>
                <a:endParaRPr lang="zh-CN"/>
              </a:p>
            </c:txPr>
            <c:dLblPos val="outEnd"/>
            <c:extLst>
              <c:ext xmlns:c15="http://schemas.microsoft.com/office/drawing/2012/chart" uri="{CE6537A1-D6FC-4f65-9D91-7224C49458BB}">
                <c15:layout/>
                <c15:showLeaderLines val="0"/>
                <c15:leaderLines/>
              </c:ext>
            </c:extLst>
          </c:dLbls>
          <c:cat>
            <c:strRef>
              <c:f>Sheet1!$A$2</c:f>
              <c:strCache>
                <c:ptCount val="1"/>
                <c:pt idx="0">
                  <c:v>PROJECT 1</c:v>
                </c:pt>
              </c:strCache>
            </c:strRef>
          </c:cat>
          <c:val>
            <c:numRef>
              <c:f>Sheet1!$B$2</c:f>
              <c:numCache>
                <c:formatCode>General</c:formatCode>
                <c:ptCount val="1"/>
                <c:pt idx="0">
                  <c:v>100</c:v>
                </c:pt>
              </c:numCache>
            </c:numRef>
          </c:val>
        </c:ser>
        <c:ser>
          <c:idx val="1"/>
          <c:order val="1"/>
          <c:tx>
            <c:strRef>
              <c:f>Sheet1!$C$1</c:f>
              <c:strCache>
                <c:ptCount val="1"/>
                <c:pt idx="0">
                  <c:v>Series 2</c:v>
                </c:pt>
              </c:strCache>
            </c:strRef>
          </c:tx>
          <c:spPr>
            <a:solidFill>
              <a:schemeClr val="bg2"/>
            </a:solidFill>
          </c:spPr>
          <c:dLbls>
            <c:spPr>
              <a:noFill/>
              <a:ln>
                <a:noFill/>
              </a:ln>
              <a:effectLst/>
            </c:spPr>
            <c:txPr>
              <a:bodyPr rot="0" spcFirstLastPara="0" vertOverflow="ellipsis" vert="horz" wrap="square" lIns="38100" tIns="19050" rIns="38100" bIns="19050" anchor="ctr" anchorCtr="1"/>
              <a:lstStyle/>
              <a:p>
                <a:pPr>
                  <a:defRPr lang="zh-CN" sz="10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cat>
            <c:strRef>
              <c:f>Sheet1!$A$2</c:f>
              <c:strCache>
                <c:ptCount val="1"/>
                <c:pt idx="0">
                  <c:v>PROJECT 1</c:v>
                </c:pt>
              </c:strCache>
            </c:strRef>
          </c:cat>
          <c:val>
            <c:numRef>
              <c:f>Sheet1!$C$2</c:f>
              <c:numCache>
                <c:formatCode>General</c:formatCode>
                <c:ptCount val="1"/>
                <c:pt idx="0">
                  <c:v>90</c:v>
                </c:pt>
              </c:numCache>
            </c:numRef>
          </c:val>
        </c:ser>
        <c:ser>
          <c:idx val="2"/>
          <c:order val="2"/>
          <c:tx>
            <c:strRef>
              <c:f>Sheet1!$D$1</c:f>
              <c:strCache>
                <c:ptCount val="1"/>
                <c:pt idx="0">
                  <c:v>Series 3</c:v>
                </c:pt>
              </c:strCache>
            </c:strRef>
          </c:tx>
          <c:spPr>
            <a:solidFill>
              <a:schemeClr val="accent1"/>
            </a:solidFill>
            <a:effectLst/>
          </c:spPr>
          <c:dLbls>
            <c:spPr>
              <a:noFill/>
              <a:ln>
                <a:noFill/>
              </a:ln>
              <a:effectLst/>
            </c:spPr>
            <c:txPr>
              <a:bodyPr rot="0" spcFirstLastPara="0" vertOverflow="ellipsis" vert="horz" wrap="square" lIns="38100" tIns="19050" rIns="38100" bIns="19050" anchor="ctr" anchorCtr="1"/>
              <a:lstStyle/>
              <a:p>
                <a:pPr>
                  <a:defRPr lang="zh-CN" sz="10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cat>
            <c:strRef>
              <c:f>Sheet1!$A$2</c:f>
              <c:strCache>
                <c:ptCount val="1"/>
                <c:pt idx="0">
                  <c:v>PROJECT 1</c:v>
                </c:pt>
              </c:strCache>
            </c:strRef>
          </c:cat>
          <c:val>
            <c:numRef>
              <c:f>Sheet1!$D$2</c:f>
              <c:numCache>
                <c:formatCode>General</c:formatCode>
                <c:ptCount val="1"/>
                <c:pt idx="0">
                  <c:v>50</c:v>
                </c:pt>
              </c:numCache>
            </c:numRef>
          </c:val>
        </c:ser>
        <c:ser>
          <c:idx val="3"/>
          <c:order val="3"/>
          <c:tx>
            <c:strRef>
              <c:f>Sheet1!$E$1</c:f>
              <c:strCache>
                <c:ptCount val="1"/>
                <c:pt idx="0">
                  <c:v>Series 32</c:v>
                </c:pt>
              </c:strCache>
            </c:strRef>
          </c:tx>
          <c:spPr>
            <a:solidFill>
              <a:schemeClr val="accent3"/>
            </a:solidFill>
          </c:spPr>
          <c:dLbls>
            <c:spPr>
              <a:noFill/>
              <a:ln>
                <a:noFill/>
              </a:ln>
              <a:effectLst/>
            </c:spPr>
            <c:txPr>
              <a:bodyPr rot="0" spcFirstLastPara="0" vertOverflow="ellipsis" vert="horz" wrap="square" lIns="38100" tIns="19050" rIns="38100" bIns="19050" anchor="ctr" anchorCtr="1"/>
              <a:lstStyle/>
              <a:p>
                <a:pPr>
                  <a:defRPr lang="zh-CN" sz="10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trendline>
            <c:trendlineType val="linear"/>
          </c:trendline>
          <c:cat>
            <c:strRef>
              <c:f>Sheet1!$A$2</c:f>
              <c:strCache>
                <c:ptCount val="1"/>
                <c:pt idx="0">
                  <c:v>PROJECT 1</c:v>
                </c:pt>
              </c:strCache>
            </c:strRef>
          </c:cat>
          <c:val>
            <c:numRef>
              <c:f>Sheet1!$E$2</c:f>
              <c:numCache>
                <c:formatCode>General</c:formatCode>
                <c:ptCount val="1"/>
                <c:pt idx="0">
                  <c:v>40</c:v>
                </c:pt>
              </c:numCache>
            </c:numRef>
          </c:val>
        </c:ser>
        <c:dLbls/>
        <c:gapWidth val="0"/>
        <c:overlap val="-20"/>
        <c:axId val="176034944"/>
        <c:axId val="176036480"/>
      </c:barChart>
      <c:catAx>
        <c:axId val="176034944"/>
        <c:scaling>
          <c:orientation val="maxMin"/>
        </c:scaling>
        <c:delete val="1"/>
        <c:axPos val="l"/>
        <c:minorGridlines>
          <c:spPr>
            <a:ln w="6350" cap="flat" cmpd="sng" algn="ctr">
              <a:solidFill>
                <a:prstClr val="black">
                  <a:tint val="50000"/>
                  <a:shade val="95000"/>
                  <a:satMod val="105000"/>
                </a:prstClr>
              </a:solidFill>
              <a:prstDash val="dash"/>
              <a:round/>
            </a:ln>
          </c:spPr>
        </c:minorGridlines>
        <c:numFmt formatCode="General" sourceLinked="0"/>
        <c:tickLblPos val="none"/>
        <c:crossAx val="176036480"/>
        <c:crosses val="autoZero"/>
        <c:lblAlgn val="ctr"/>
        <c:lblOffset val="100"/>
      </c:catAx>
      <c:valAx>
        <c:axId val="176036480"/>
        <c:scaling>
          <c:orientation val="minMax"/>
        </c:scaling>
        <c:delete val="1"/>
        <c:axPos val="t"/>
        <c:majorGridlines>
          <c:spPr>
            <a:ln w="6350" cap="flat" cmpd="sng" algn="ctr">
              <a:solidFill>
                <a:schemeClr val="bg1"/>
              </a:solidFill>
              <a:prstDash val="solid"/>
              <a:round/>
            </a:ln>
          </c:spPr>
        </c:majorGridlines>
        <c:numFmt formatCode="0.00%" sourceLinked="0"/>
        <c:majorTickMark val="cross"/>
        <c:tickLblPos val="none"/>
        <c:crossAx val="176034944"/>
        <c:crosses val="autoZero"/>
        <c:crossBetween val="between"/>
      </c:valAx>
      <c:spPr>
        <a:noFill/>
        <a:ln w="25400">
          <a:solidFill>
            <a:schemeClr val="bg1">
              <a:lumMod val="85000"/>
              <a:alpha val="0"/>
            </a:schemeClr>
          </a:solidFill>
        </a:ln>
      </c:spPr>
    </c:plotArea>
    <c:plotVisOnly val="1"/>
    <c:dispBlanksAs val="gap"/>
  </c:chart>
  <c:txPr>
    <a:bodyPr/>
    <a:lstStyle/>
    <a:p>
      <a:pPr>
        <a:defRPr lang="zh-CN" sz="1000" b="1">
          <a:solidFill>
            <a:schemeClr val="tx1">
              <a:lumMod val="65000"/>
              <a:lumOff val="35000"/>
            </a:schemeClr>
          </a:solidFill>
        </a:defRPr>
      </a:pPr>
      <a:endParaRPr lang="zh-CN"/>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zh-CN"/>
  <c:chart>
    <c:autoTitleDeleted val="1"/>
    <c:plotArea>
      <c:layout/>
      <c:barChart>
        <c:barDir val="col"/>
        <c:grouping val="clustered"/>
        <c:ser>
          <c:idx val="0"/>
          <c:order val="0"/>
          <c:tx>
            <c:strRef>
              <c:f>Sheet1!$B$1</c:f>
              <c:strCache>
                <c:ptCount val="1"/>
                <c:pt idx="0">
                  <c:v>列1</c:v>
                </c:pt>
              </c:strCache>
            </c:strRef>
          </c:tx>
          <c:spPr>
            <a:solidFill>
              <a:schemeClr val="tx2"/>
            </a:solidFill>
            <a:ln>
              <a:solidFill>
                <a:schemeClr val="bg1"/>
              </a:solidFill>
            </a:ln>
          </c:spPr>
          <c:dLbls>
            <c:dLbl>
              <c:idx val="0"/>
              <c:layout/>
              <c:dLblPos val="outEnd"/>
              <c:showVal val="1"/>
              <c:extLst>
                <c:ext xmlns:c15="http://schemas.microsoft.com/office/drawing/2012/chart" uri="{CE6537A1-D6FC-4f65-9D91-7224C49458BB}"/>
              </c:extLst>
            </c:dLbl>
            <c:delete val="1"/>
            <c:spPr>
              <a:noFill/>
              <a:ln>
                <a:noFill/>
              </a:ln>
              <a:effectLst/>
            </c:spPr>
            <c:txPr>
              <a:bodyPr rot="0" spcFirstLastPara="0" vertOverflow="ellipsis" vert="horz" wrap="square" lIns="38100" tIns="19050" rIns="38100" bIns="19050" anchor="ctr" anchorCtr="1"/>
              <a:lstStyle/>
              <a:p>
                <a:pPr>
                  <a:defRPr lang="zh-CN" sz="1100" b="1" i="0" u="none" strike="noStrike" kern="1200" baseline="0">
                    <a:solidFill>
                      <a:schemeClr val="tx1">
                        <a:lumMod val="65000"/>
                        <a:lumOff val="35000"/>
                      </a:schemeClr>
                    </a:solidFill>
                    <a:latin typeface="+mn-lt"/>
                    <a:ea typeface="+mn-ea"/>
                    <a:cs typeface="+mn-cs"/>
                  </a:defRPr>
                </a:pPr>
                <a:endParaRPr lang="zh-CN"/>
              </a:p>
            </c:txPr>
            <c:dLblPos val="outEnd"/>
            <c:extLst>
              <c:ext xmlns:c15="http://schemas.microsoft.com/office/drawing/2012/chart" uri="{CE6537A1-D6FC-4f65-9D91-7224C49458BB}">
                <c15:layout/>
                <c15:showLeaderLines val="0"/>
                <c15:leaderLines/>
              </c:ext>
            </c:extLst>
          </c:dLbls>
          <c:cat>
            <c:strRef>
              <c:f>Sheet1!$A$2</c:f>
              <c:strCache>
                <c:ptCount val="1"/>
                <c:pt idx="0">
                  <c:v>数据增长</c:v>
                </c:pt>
              </c:strCache>
            </c:strRef>
          </c:cat>
          <c:val>
            <c:numRef>
              <c:f>Sheet1!$B$2</c:f>
              <c:numCache>
                <c:formatCode>General</c:formatCode>
                <c:ptCount val="1"/>
                <c:pt idx="0">
                  <c:v>95</c:v>
                </c:pt>
              </c:numCache>
            </c:numRef>
          </c:val>
        </c:ser>
        <c:ser>
          <c:idx val="1"/>
          <c:order val="1"/>
          <c:tx>
            <c:strRef>
              <c:f>Sheet1!$C$1</c:f>
              <c:strCache>
                <c:ptCount val="1"/>
                <c:pt idx="0">
                  <c:v>列2</c:v>
                </c:pt>
              </c:strCache>
            </c:strRef>
          </c:tx>
          <c:spPr>
            <a:solidFill>
              <a:schemeClr val="bg2"/>
            </a:solidFill>
          </c:spPr>
          <c:dLbls>
            <c:spPr>
              <a:noFill/>
              <a:ln>
                <a:noFill/>
              </a:ln>
              <a:effectLst/>
            </c:spPr>
            <c:txPr>
              <a:bodyPr rot="0" spcFirstLastPara="0" vertOverflow="ellipsis" vert="horz" wrap="square" lIns="38100" tIns="19050" rIns="38100" bIns="19050" anchor="ctr" anchorCtr="1"/>
              <a:lstStyle/>
              <a:p>
                <a:pPr>
                  <a:defRPr lang="zh-CN" sz="11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cat>
            <c:strRef>
              <c:f>Sheet1!$A$2</c:f>
              <c:strCache>
                <c:ptCount val="1"/>
                <c:pt idx="0">
                  <c:v>数据增长</c:v>
                </c:pt>
              </c:strCache>
            </c:strRef>
          </c:cat>
          <c:val>
            <c:numRef>
              <c:f>Sheet1!$C$2</c:f>
              <c:numCache>
                <c:formatCode>General</c:formatCode>
                <c:ptCount val="1"/>
                <c:pt idx="0">
                  <c:v>90</c:v>
                </c:pt>
              </c:numCache>
            </c:numRef>
          </c:val>
        </c:ser>
        <c:ser>
          <c:idx val="2"/>
          <c:order val="2"/>
          <c:tx>
            <c:strRef>
              <c:f>Sheet1!$D$1</c:f>
              <c:strCache>
                <c:ptCount val="1"/>
                <c:pt idx="0">
                  <c:v>列3</c:v>
                </c:pt>
              </c:strCache>
            </c:strRef>
          </c:tx>
          <c:spPr>
            <a:solidFill>
              <a:schemeClr val="accent1"/>
            </a:solidFill>
            <a:effectLst/>
          </c:spPr>
          <c:dLbls>
            <c:spPr>
              <a:noFill/>
              <a:ln>
                <a:noFill/>
              </a:ln>
              <a:effectLst/>
            </c:spPr>
            <c:txPr>
              <a:bodyPr rot="0" spcFirstLastPara="0" vertOverflow="ellipsis" vert="horz" wrap="square" lIns="38100" tIns="19050" rIns="38100" bIns="19050" anchor="ctr" anchorCtr="1"/>
              <a:lstStyle/>
              <a:p>
                <a:pPr>
                  <a:defRPr lang="zh-CN" sz="11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cat>
            <c:strRef>
              <c:f>Sheet1!$A$2</c:f>
              <c:strCache>
                <c:ptCount val="1"/>
                <c:pt idx="0">
                  <c:v>数据增长</c:v>
                </c:pt>
              </c:strCache>
            </c:strRef>
          </c:cat>
          <c:val>
            <c:numRef>
              <c:f>Sheet1!$D$2</c:f>
              <c:numCache>
                <c:formatCode>General</c:formatCode>
                <c:ptCount val="1"/>
                <c:pt idx="0">
                  <c:v>50</c:v>
                </c:pt>
              </c:numCache>
            </c:numRef>
          </c:val>
        </c:ser>
        <c:ser>
          <c:idx val="3"/>
          <c:order val="3"/>
          <c:tx>
            <c:strRef>
              <c:f>Sheet1!$E$1</c:f>
              <c:strCache>
                <c:ptCount val="1"/>
                <c:pt idx="0">
                  <c:v>列4</c:v>
                </c:pt>
              </c:strCache>
            </c:strRef>
          </c:tx>
          <c:spPr>
            <a:solidFill>
              <a:schemeClr val="accent3"/>
            </a:solidFill>
          </c:spPr>
          <c:dLbls>
            <c:spPr>
              <a:noFill/>
              <a:ln>
                <a:noFill/>
              </a:ln>
              <a:effectLst/>
            </c:spPr>
            <c:txPr>
              <a:bodyPr rot="0" spcFirstLastPara="0" vertOverflow="ellipsis" vert="horz" wrap="square" lIns="38100" tIns="19050" rIns="38100" bIns="19050" anchor="ctr" anchorCtr="1"/>
              <a:lstStyle/>
              <a:p>
                <a:pPr>
                  <a:defRPr lang="zh-CN" sz="11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cat>
            <c:strRef>
              <c:f>Sheet1!$A$2</c:f>
              <c:strCache>
                <c:ptCount val="1"/>
                <c:pt idx="0">
                  <c:v>数据增长</c:v>
                </c:pt>
              </c:strCache>
            </c:strRef>
          </c:cat>
          <c:val>
            <c:numRef>
              <c:f>Sheet1!$E$2</c:f>
              <c:numCache>
                <c:formatCode>General</c:formatCode>
                <c:ptCount val="1"/>
                <c:pt idx="0">
                  <c:v>60</c:v>
                </c:pt>
              </c:numCache>
            </c:numRef>
          </c:val>
        </c:ser>
        <c:ser>
          <c:idx val="4"/>
          <c:order val="4"/>
          <c:tx>
            <c:strRef>
              <c:f>Sheet1!$F$1</c:f>
              <c:strCache>
                <c:ptCount val="1"/>
                <c:pt idx="0">
                  <c:v>列5</c:v>
                </c:pt>
              </c:strCache>
            </c:strRef>
          </c:tx>
          <c:spPr>
            <a:solidFill>
              <a:schemeClr val="accent2"/>
            </a:solidFill>
          </c:spPr>
          <c:cat>
            <c:strRef>
              <c:f>Sheet1!$A$2</c:f>
              <c:strCache>
                <c:ptCount val="1"/>
                <c:pt idx="0">
                  <c:v>数据增长</c:v>
                </c:pt>
              </c:strCache>
            </c:strRef>
          </c:cat>
          <c:val>
            <c:numRef>
              <c:f>Sheet1!$F$2</c:f>
              <c:numCache>
                <c:formatCode>General</c:formatCode>
                <c:ptCount val="1"/>
                <c:pt idx="0">
                  <c:v>50</c:v>
                </c:pt>
              </c:numCache>
            </c:numRef>
          </c:val>
        </c:ser>
        <c:ser>
          <c:idx val="5"/>
          <c:order val="5"/>
          <c:tx>
            <c:strRef>
              <c:f>Sheet1!$G$1</c:f>
              <c:strCache>
                <c:ptCount val="1"/>
                <c:pt idx="0">
                  <c:v>列6</c:v>
                </c:pt>
              </c:strCache>
            </c:strRef>
          </c:tx>
          <c:spPr>
            <a:solidFill>
              <a:schemeClr val="accent1">
                <a:lumMod val="75000"/>
              </a:schemeClr>
            </a:solidFill>
          </c:spPr>
          <c:cat>
            <c:strRef>
              <c:f>Sheet1!$A$2</c:f>
              <c:strCache>
                <c:ptCount val="1"/>
                <c:pt idx="0">
                  <c:v>数据增长</c:v>
                </c:pt>
              </c:strCache>
            </c:strRef>
          </c:cat>
          <c:val>
            <c:numRef>
              <c:f>Sheet1!$G$2</c:f>
              <c:numCache>
                <c:formatCode>General</c:formatCode>
                <c:ptCount val="1"/>
                <c:pt idx="0">
                  <c:v>80</c:v>
                </c:pt>
              </c:numCache>
            </c:numRef>
          </c:val>
        </c:ser>
        <c:dLbls/>
        <c:gapWidth val="197"/>
        <c:overlap val="-48"/>
        <c:axId val="176642304"/>
        <c:axId val="176644096"/>
      </c:barChart>
      <c:catAx>
        <c:axId val="176642304"/>
        <c:scaling>
          <c:orientation val="minMax"/>
        </c:scaling>
        <c:axPos val="b"/>
        <c:numFmt formatCode="General" sourceLinked="0"/>
        <c:tickLblPos val="nextTo"/>
        <c:spPr>
          <a:noFill/>
        </c:spPr>
        <c:txPr>
          <a:bodyPr rot="-60000000" spcFirstLastPara="0" vertOverflow="ellipsis" vert="horz" wrap="square" anchor="ctr" anchorCtr="1"/>
          <a:lstStyle/>
          <a:p>
            <a:pPr>
              <a:defRPr lang="zh-CN" sz="1100" b="1" i="0" u="none" strike="noStrike" kern="1200" baseline="0">
                <a:solidFill>
                  <a:schemeClr val="tx1">
                    <a:lumMod val="65000"/>
                    <a:lumOff val="35000"/>
                  </a:schemeClr>
                </a:solidFill>
                <a:latin typeface="+mn-lt"/>
                <a:ea typeface="+mn-ea"/>
                <a:cs typeface="+mn-cs"/>
              </a:defRPr>
            </a:pPr>
            <a:endParaRPr lang="zh-CN"/>
          </a:p>
        </c:txPr>
        <c:crossAx val="176644096"/>
        <c:crosses val="autoZero"/>
        <c:auto val="1"/>
        <c:lblAlgn val="ctr"/>
        <c:lblOffset val="100"/>
      </c:catAx>
      <c:valAx>
        <c:axId val="176644096"/>
        <c:scaling>
          <c:orientation val="minMax"/>
          <c:max val="100"/>
        </c:scaling>
        <c:axPos val="l"/>
        <c:majorGridlines>
          <c:spPr>
            <a:ln w="6350" cap="flat" cmpd="sng" algn="ctr">
              <a:solidFill>
                <a:prstClr val="white">
                  <a:lumMod val="85000"/>
                  <a:alpha val="48000"/>
                </a:prstClr>
              </a:solidFill>
              <a:prstDash val="solid"/>
              <a:round/>
            </a:ln>
          </c:spPr>
        </c:majorGridlines>
        <c:numFmt formatCode="General" sourceLinked="0"/>
        <c:majorTickMark val="none"/>
        <c:minorTickMark val="in"/>
        <c:tickLblPos val="low"/>
        <c:spPr>
          <a:noFill/>
          <a:ln w="6350" cap="flat" cmpd="sng" algn="ctr">
            <a:solidFill>
              <a:schemeClr val="bg1">
                <a:lumMod val="85000"/>
              </a:schemeClr>
            </a:solidFill>
            <a:prstDash val="solid"/>
            <a:round/>
          </a:ln>
        </c:spPr>
        <c:txPr>
          <a:bodyPr rot="-60000000" spcFirstLastPara="0" vertOverflow="ellipsis" vert="horz" wrap="square" anchor="ctr" anchorCtr="1"/>
          <a:lstStyle/>
          <a:p>
            <a:pPr>
              <a:defRPr lang="zh-CN" sz="1100" b="1" i="0" u="none" strike="noStrike" kern="1200" baseline="0">
                <a:solidFill>
                  <a:schemeClr val="tx1">
                    <a:lumMod val="65000"/>
                    <a:lumOff val="35000"/>
                  </a:schemeClr>
                </a:solidFill>
                <a:latin typeface="+mn-lt"/>
                <a:ea typeface="+mn-ea"/>
                <a:cs typeface="+mn-cs"/>
              </a:defRPr>
            </a:pPr>
            <a:endParaRPr lang="zh-CN"/>
          </a:p>
        </c:txPr>
        <c:crossAx val="176642304"/>
        <c:crosses val="autoZero"/>
        <c:crossBetween val="between"/>
        <c:majorUnit val="20"/>
      </c:valAx>
    </c:plotArea>
    <c:plotVisOnly val="1"/>
    <c:dispBlanksAs val="gap"/>
  </c:chart>
  <c:txPr>
    <a:bodyPr/>
    <a:lstStyle/>
    <a:p>
      <a:pPr>
        <a:defRPr lang="zh-CN" sz="1100" b="1">
          <a:solidFill>
            <a:schemeClr val="tx1">
              <a:lumMod val="65000"/>
              <a:lumOff val="35000"/>
            </a:schemeClr>
          </a:solidFill>
        </a:defRPr>
      </a:pPr>
      <a:endParaRPr lang="zh-CN"/>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列2</c:v>
                </c:pt>
              </c:strCache>
            </c:strRef>
          </c:tx>
          <c:spPr>
            <a:solidFill>
              <a:schemeClr val="bg1">
                <a:lumMod val="85000"/>
              </a:schemeClr>
            </a:solidFill>
          </c:spPr>
          <c:dPt>
            <c:idx val="0"/>
            <c:spPr>
              <a:solidFill>
                <a:schemeClr val="accent1"/>
              </a:solidFill>
              <a:ln w="19050">
                <a:solidFill>
                  <a:schemeClr val="lt1"/>
                </a:solidFill>
              </a:ln>
              <a:effectLst/>
            </c:spPr>
          </c:dPt>
          <c:dPt>
            <c:idx val="1"/>
            <c:spPr>
              <a:solidFill>
                <a:schemeClr val="tx1">
                  <a:lumMod val="75000"/>
                  <a:lumOff val="25000"/>
                </a:schemeClr>
              </a:solidFill>
              <a:ln w="19050">
                <a:solidFill>
                  <a:schemeClr val="lt1"/>
                </a:solidFill>
              </a:ln>
              <a:effectLst/>
            </c:spPr>
          </c:dPt>
          <c:cat>
            <c:strRef>
              <c:f>Sheet1!$A$2:$A$3</c:f>
              <c:strCache>
                <c:ptCount val="2"/>
                <c:pt idx="0">
                  <c:v>A</c:v>
                </c:pt>
                <c:pt idx="1">
                  <c:v>B</c:v>
                </c:pt>
              </c:strCache>
            </c:strRef>
          </c:cat>
          <c:val>
            <c:numRef>
              <c:f>Sheet1!$B$2:$B$3</c:f>
              <c:numCache>
                <c:formatCode>General</c:formatCode>
                <c:ptCount val="2"/>
                <c:pt idx="0">
                  <c:v>50</c:v>
                </c:pt>
                <c:pt idx="1">
                  <c:v>50</c:v>
                </c:pt>
              </c:numCache>
            </c:numRef>
          </c:val>
        </c:ser>
        <c:dLbls/>
        <c:firstSliceAng val="0"/>
        <c:holeSize val="75"/>
      </c:doughnutChart>
      <c:spPr>
        <a:noFill/>
        <a:ln>
          <a:noFill/>
        </a:ln>
        <a:effectLst/>
      </c:spPr>
    </c:plotArea>
    <c:plotVisOnly val="1"/>
    <c:dispBlanksAs val="zero"/>
  </c:chart>
  <c:spPr>
    <a:noFill/>
    <a:ln>
      <a:noFill/>
    </a:ln>
    <a:effectLst/>
  </c:spPr>
  <c:txPr>
    <a:bodyPr/>
    <a:lstStyle/>
    <a:p>
      <a:pPr>
        <a:defRPr lang="zh-CN"/>
      </a:pPr>
      <a:endParaRPr lang="zh-CN"/>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列2</c:v>
                </c:pt>
              </c:strCache>
            </c:strRef>
          </c:tx>
          <c:spPr>
            <a:solidFill>
              <a:schemeClr val="bg1">
                <a:lumMod val="85000"/>
              </a:schemeClr>
            </a:solidFill>
          </c:spPr>
          <c:dPt>
            <c:idx val="0"/>
            <c:spPr>
              <a:solidFill>
                <a:schemeClr val="accent1"/>
              </a:solidFill>
              <a:ln w="19050">
                <a:solidFill>
                  <a:schemeClr val="lt1"/>
                </a:solidFill>
              </a:ln>
              <a:effectLst/>
            </c:spPr>
          </c:dPt>
          <c:dPt>
            <c:idx val="1"/>
            <c:spPr>
              <a:solidFill>
                <a:schemeClr val="tx1">
                  <a:lumMod val="75000"/>
                  <a:lumOff val="25000"/>
                </a:schemeClr>
              </a:solidFill>
              <a:ln w="19050">
                <a:solidFill>
                  <a:schemeClr val="lt1"/>
                </a:solidFill>
              </a:ln>
              <a:effectLst/>
            </c:spPr>
          </c:dPt>
          <c:cat>
            <c:strRef>
              <c:f>Sheet1!$A$2:$A$3</c:f>
              <c:strCache>
                <c:ptCount val="2"/>
                <c:pt idx="0">
                  <c:v>A</c:v>
                </c:pt>
                <c:pt idx="1">
                  <c:v>B</c:v>
                </c:pt>
              </c:strCache>
            </c:strRef>
          </c:cat>
          <c:val>
            <c:numRef>
              <c:f>Sheet1!$B$2:$B$3</c:f>
              <c:numCache>
                <c:formatCode>General</c:formatCode>
                <c:ptCount val="2"/>
                <c:pt idx="0">
                  <c:v>75</c:v>
                </c:pt>
                <c:pt idx="1">
                  <c:v>25</c:v>
                </c:pt>
              </c:numCache>
            </c:numRef>
          </c:val>
        </c:ser>
        <c:dLbls/>
        <c:firstSliceAng val="0"/>
        <c:holeSize val="75"/>
      </c:doughnutChart>
      <c:spPr>
        <a:noFill/>
        <a:ln>
          <a:noFill/>
        </a:ln>
        <a:effectLst/>
      </c:spPr>
    </c:plotArea>
    <c:plotVisOnly val="1"/>
    <c:dispBlanksAs val="zero"/>
  </c:chart>
  <c:spPr>
    <a:noFill/>
    <a:ln>
      <a:noFill/>
    </a:ln>
    <a:effectLst/>
  </c:spPr>
  <c:txPr>
    <a:bodyPr/>
    <a:lstStyle/>
    <a:p>
      <a:pPr>
        <a:defRPr lang="zh-CN"/>
      </a:pPr>
      <a:endParaRPr lang="zh-CN"/>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列2</c:v>
                </c:pt>
              </c:strCache>
            </c:strRef>
          </c:tx>
          <c:spPr>
            <a:solidFill>
              <a:srgbClr val="64A0DC"/>
            </a:solidFill>
          </c:spPr>
          <c:dPt>
            <c:idx val="0"/>
            <c:spPr>
              <a:solidFill>
                <a:schemeClr val="accent1"/>
              </a:solidFill>
              <a:ln w="19050">
                <a:solidFill>
                  <a:schemeClr val="lt1"/>
                </a:solidFill>
              </a:ln>
              <a:effectLst/>
            </c:spPr>
          </c:dPt>
          <c:dPt>
            <c:idx val="1"/>
            <c:spPr>
              <a:solidFill>
                <a:schemeClr val="tx1">
                  <a:lumMod val="75000"/>
                  <a:lumOff val="25000"/>
                </a:schemeClr>
              </a:solidFill>
              <a:ln w="19050">
                <a:solidFill>
                  <a:schemeClr val="lt1"/>
                </a:solidFill>
              </a:ln>
              <a:effectLst/>
            </c:spPr>
          </c:dPt>
          <c:cat>
            <c:strRef>
              <c:f>Sheet1!$A$2:$A$3</c:f>
              <c:strCache>
                <c:ptCount val="2"/>
                <c:pt idx="0">
                  <c:v>第一季度</c:v>
                </c:pt>
                <c:pt idx="1">
                  <c:v>第二季度</c:v>
                </c:pt>
              </c:strCache>
            </c:strRef>
          </c:cat>
          <c:val>
            <c:numRef>
              <c:f>Sheet1!$B$2:$B$3</c:f>
              <c:numCache>
                <c:formatCode>General</c:formatCode>
                <c:ptCount val="2"/>
                <c:pt idx="0">
                  <c:v>90</c:v>
                </c:pt>
                <c:pt idx="1">
                  <c:v>10</c:v>
                </c:pt>
              </c:numCache>
            </c:numRef>
          </c:val>
        </c:ser>
        <c:dLbls/>
        <c:firstSliceAng val="0"/>
        <c:holeSize val="75"/>
      </c:doughnutChart>
      <c:spPr>
        <a:noFill/>
        <a:ln>
          <a:noFill/>
        </a:ln>
        <a:effectLst/>
      </c:spPr>
    </c:plotArea>
    <c:plotVisOnly val="1"/>
    <c:dispBlanksAs val="zero"/>
  </c:chart>
  <c:spPr>
    <a:noFill/>
    <a:ln>
      <a:noFill/>
    </a:ln>
    <a:effectLst/>
  </c:spPr>
  <c:txPr>
    <a:bodyPr/>
    <a:lstStyle/>
    <a:p>
      <a:pPr>
        <a:defRPr lang="zh-CN"/>
      </a:pPr>
      <a:endParaRPr lang="zh-CN"/>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zh-CN"/>
  <c:chart>
    <c:autoTitleDeleted val="1"/>
    <c:plotArea>
      <c:layout/>
      <c:barChart>
        <c:barDir val="bar"/>
        <c:grouping val="clustered"/>
        <c:ser>
          <c:idx val="0"/>
          <c:order val="0"/>
          <c:tx>
            <c:strRef>
              <c:f>Sheet1!$B$1</c:f>
              <c:strCache>
                <c:ptCount val="1"/>
                <c:pt idx="0">
                  <c:v>类别 1</c:v>
                </c:pt>
              </c:strCache>
            </c:strRef>
          </c:tx>
          <c:spPr>
            <a:solidFill>
              <a:schemeClr val="accent2"/>
            </a:solidFill>
          </c:spPr>
          <c:dLbls>
            <c:dLbl>
              <c:idx val="0"/>
              <c:layout/>
              <c:dLblPos val="outEnd"/>
              <c:showVal val="1"/>
              <c:extLst>
                <c:ext xmlns:c15="http://schemas.microsoft.com/office/drawing/2012/chart" uri="{CE6537A1-D6FC-4f65-9D91-7224C49458BB}"/>
              </c:extLst>
            </c:dLbl>
            <c:delete val="1"/>
            <c:spPr>
              <a:noFill/>
              <a:ln>
                <a:noFill/>
              </a:ln>
              <a:effectLst/>
            </c:spPr>
            <c:txPr>
              <a:bodyPr rot="0" spcFirstLastPara="0" vertOverflow="ellipsis" vert="horz" wrap="square" lIns="38100" tIns="19050" rIns="38100" bIns="19050" anchor="ctr" anchorCtr="1"/>
              <a:lstStyle/>
              <a:p>
                <a:pPr>
                  <a:defRPr lang="zh-CN" sz="1000" b="1" i="0" u="none" strike="noStrike" kern="1200" baseline="0">
                    <a:solidFill>
                      <a:schemeClr val="tx1">
                        <a:lumMod val="65000"/>
                        <a:lumOff val="35000"/>
                      </a:schemeClr>
                    </a:solidFill>
                    <a:latin typeface="+mn-lt"/>
                    <a:ea typeface="+mn-ea"/>
                    <a:cs typeface="+mn-cs"/>
                  </a:defRPr>
                </a:pPr>
                <a:endParaRPr lang="zh-CN"/>
              </a:p>
            </c:txPr>
            <c:dLblPos val="outEnd"/>
            <c:extLst>
              <c:ext xmlns:c15="http://schemas.microsoft.com/office/drawing/2012/chart" uri="{CE6537A1-D6FC-4f65-9D91-7224C49458BB}">
                <c15:layout/>
                <c15:showLeaderLines val="0"/>
                <c15:leaderLines/>
              </c:ext>
            </c:extLst>
          </c:dLbls>
          <c:cat>
            <c:strRef>
              <c:f>Sheet1!$A$2</c:f>
              <c:strCache>
                <c:ptCount val="1"/>
                <c:pt idx="0">
                  <c:v>项目 1</c:v>
                </c:pt>
              </c:strCache>
            </c:strRef>
          </c:cat>
          <c:val>
            <c:numRef>
              <c:f>Sheet1!$B$2</c:f>
              <c:numCache>
                <c:formatCode>General</c:formatCode>
                <c:ptCount val="1"/>
                <c:pt idx="0">
                  <c:v>100</c:v>
                </c:pt>
              </c:numCache>
            </c:numRef>
          </c:val>
        </c:ser>
        <c:ser>
          <c:idx val="1"/>
          <c:order val="1"/>
          <c:tx>
            <c:strRef>
              <c:f>Sheet1!$C$1</c:f>
              <c:strCache>
                <c:ptCount val="1"/>
                <c:pt idx="0">
                  <c:v>类别 2</c:v>
                </c:pt>
              </c:strCache>
            </c:strRef>
          </c:tx>
          <c:spPr>
            <a:solidFill>
              <a:schemeClr val="accent1"/>
            </a:solidFill>
          </c:spPr>
          <c:dPt>
            <c:idx val="0"/>
          </c:dPt>
          <c:dLbls>
            <c:spPr>
              <a:noFill/>
              <a:ln>
                <a:noFill/>
              </a:ln>
              <a:effectLst/>
            </c:spPr>
            <c:txPr>
              <a:bodyPr rot="0" spcFirstLastPara="0" vertOverflow="ellipsis" vert="horz" wrap="square" lIns="38100" tIns="19050" rIns="38100" bIns="19050" anchor="ctr" anchorCtr="1"/>
              <a:lstStyle/>
              <a:p>
                <a:pPr>
                  <a:defRPr lang="zh-CN" sz="10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cat>
            <c:strRef>
              <c:f>Sheet1!$A$2</c:f>
              <c:strCache>
                <c:ptCount val="1"/>
                <c:pt idx="0">
                  <c:v>项目 1</c:v>
                </c:pt>
              </c:strCache>
            </c:strRef>
          </c:cat>
          <c:val>
            <c:numRef>
              <c:f>Sheet1!$C$2</c:f>
              <c:numCache>
                <c:formatCode>General</c:formatCode>
                <c:ptCount val="1"/>
                <c:pt idx="0">
                  <c:v>90</c:v>
                </c:pt>
              </c:numCache>
            </c:numRef>
          </c:val>
        </c:ser>
        <c:ser>
          <c:idx val="2"/>
          <c:order val="2"/>
          <c:tx>
            <c:strRef>
              <c:f>Sheet1!$D$1</c:f>
              <c:strCache>
                <c:ptCount val="1"/>
                <c:pt idx="0">
                  <c:v>类别 3</c:v>
                </c:pt>
              </c:strCache>
            </c:strRef>
          </c:tx>
          <c:spPr>
            <a:solidFill>
              <a:schemeClr val="accent2"/>
            </a:solidFill>
            <a:effectLst/>
          </c:spPr>
          <c:dPt>
            <c:idx val="0"/>
          </c:dPt>
          <c:dLbls>
            <c:spPr>
              <a:noFill/>
              <a:ln>
                <a:noFill/>
              </a:ln>
              <a:effectLst/>
            </c:spPr>
            <c:txPr>
              <a:bodyPr rot="0" spcFirstLastPara="0" vertOverflow="ellipsis" vert="horz" wrap="square" lIns="38100" tIns="19050" rIns="38100" bIns="19050" anchor="ctr" anchorCtr="1"/>
              <a:lstStyle/>
              <a:p>
                <a:pPr>
                  <a:defRPr lang="zh-CN" sz="10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cat>
            <c:strRef>
              <c:f>Sheet1!$A$2</c:f>
              <c:strCache>
                <c:ptCount val="1"/>
                <c:pt idx="0">
                  <c:v>项目 1</c:v>
                </c:pt>
              </c:strCache>
            </c:strRef>
          </c:cat>
          <c:val>
            <c:numRef>
              <c:f>Sheet1!$D$2</c:f>
              <c:numCache>
                <c:formatCode>General</c:formatCode>
                <c:ptCount val="1"/>
                <c:pt idx="0">
                  <c:v>50</c:v>
                </c:pt>
              </c:numCache>
            </c:numRef>
          </c:val>
        </c:ser>
        <c:ser>
          <c:idx val="3"/>
          <c:order val="3"/>
          <c:tx>
            <c:strRef>
              <c:f>Sheet1!$E$1</c:f>
              <c:strCache>
                <c:ptCount val="1"/>
                <c:pt idx="0">
                  <c:v>类别 4</c:v>
                </c:pt>
              </c:strCache>
            </c:strRef>
          </c:tx>
          <c:spPr>
            <a:solidFill>
              <a:schemeClr val="accent1"/>
            </a:solidFill>
          </c:spPr>
          <c:dLbls>
            <c:spPr>
              <a:noFill/>
              <a:ln>
                <a:noFill/>
              </a:ln>
              <a:effectLst/>
            </c:spPr>
            <c:txPr>
              <a:bodyPr rot="0" spcFirstLastPara="0" vertOverflow="ellipsis" vert="horz" wrap="square" lIns="38100" tIns="19050" rIns="38100" bIns="19050" anchor="ctr" anchorCtr="1"/>
              <a:lstStyle/>
              <a:p>
                <a:pPr>
                  <a:defRPr lang="zh-CN" sz="10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trendline>
            <c:trendlineType val="linear"/>
          </c:trendline>
          <c:cat>
            <c:strRef>
              <c:f>Sheet1!$A$2</c:f>
              <c:strCache>
                <c:ptCount val="1"/>
                <c:pt idx="0">
                  <c:v>项目 1</c:v>
                </c:pt>
              </c:strCache>
            </c:strRef>
          </c:cat>
          <c:val>
            <c:numRef>
              <c:f>Sheet1!$E$2</c:f>
              <c:numCache>
                <c:formatCode>General</c:formatCode>
                <c:ptCount val="1"/>
                <c:pt idx="0">
                  <c:v>40</c:v>
                </c:pt>
              </c:numCache>
            </c:numRef>
          </c:val>
        </c:ser>
        <c:dLbls/>
        <c:gapWidth val="0"/>
        <c:overlap val="-20"/>
        <c:axId val="129815296"/>
        <c:axId val="131520768"/>
      </c:barChart>
      <c:catAx>
        <c:axId val="129815296"/>
        <c:scaling>
          <c:orientation val="maxMin"/>
        </c:scaling>
        <c:delete val="1"/>
        <c:axPos val="l"/>
        <c:minorGridlines>
          <c:spPr>
            <a:ln w="6350" cap="flat" cmpd="sng" algn="ctr">
              <a:solidFill>
                <a:prstClr val="black">
                  <a:tint val="50000"/>
                  <a:shade val="95000"/>
                  <a:satMod val="105000"/>
                </a:prstClr>
              </a:solidFill>
              <a:prstDash val="dash"/>
              <a:round/>
            </a:ln>
          </c:spPr>
        </c:minorGridlines>
        <c:numFmt formatCode="General" sourceLinked="0"/>
        <c:tickLblPos val="none"/>
        <c:crossAx val="131520768"/>
        <c:crosses val="autoZero"/>
        <c:lblAlgn val="ctr"/>
        <c:lblOffset val="100"/>
      </c:catAx>
      <c:valAx>
        <c:axId val="131520768"/>
        <c:scaling>
          <c:orientation val="minMax"/>
        </c:scaling>
        <c:delete val="1"/>
        <c:axPos val="t"/>
        <c:majorGridlines>
          <c:spPr>
            <a:ln w="6350" cap="flat" cmpd="sng" algn="ctr">
              <a:solidFill>
                <a:schemeClr val="bg1"/>
              </a:solidFill>
              <a:prstDash val="solid"/>
              <a:round/>
            </a:ln>
          </c:spPr>
        </c:majorGridlines>
        <c:numFmt formatCode="0.00%" sourceLinked="0"/>
        <c:majorTickMark val="cross"/>
        <c:tickLblPos val="none"/>
        <c:crossAx val="129815296"/>
        <c:crosses val="autoZero"/>
        <c:crossBetween val="between"/>
      </c:valAx>
      <c:spPr>
        <a:noFill/>
        <a:ln w="25400">
          <a:solidFill>
            <a:schemeClr val="bg1">
              <a:lumMod val="85000"/>
              <a:alpha val="0"/>
            </a:schemeClr>
          </a:solidFill>
        </a:ln>
      </c:spPr>
    </c:plotArea>
    <c:plotVisOnly val="1"/>
    <c:dispBlanksAs val="gap"/>
  </c:chart>
  <c:txPr>
    <a:bodyPr/>
    <a:lstStyle/>
    <a:p>
      <a:pPr>
        <a:defRPr lang="zh-CN" sz="1000" b="1">
          <a:solidFill>
            <a:schemeClr val="tx1">
              <a:lumMod val="65000"/>
              <a:lumOff val="35000"/>
            </a:schemeClr>
          </a:solidFill>
        </a:defRPr>
      </a:pPr>
      <a:endParaRPr lang="zh-CN"/>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zh-CN"/>
  <c:chart>
    <c:autoTitleDeleted val="1"/>
    <c:plotArea>
      <c:layout/>
      <c:barChart>
        <c:barDir val="col"/>
        <c:grouping val="stacked"/>
        <c:ser>
          <c:idx val="0"/>
          <c:order val="0"/>
          <c:tx>
            <c:strRef>
              <c:f>Sheet1!$B$1</c:f>
              <c:strCache>
                <c:ptCount val="1"/>
                <c:pt idx="0">
                  <c:v>系列 1</c:v>
                </c:pt>
              </c:strCache>
            </c:strRef>
          </c:tx>
          <c:spPr>
            <a:solidFill>
              <a:schemeClr val="accent2"/>
            </a:solidFill>
            <a:ln>
              <a:noFill/>
            </a:ln>
            <a:effectLst/>
          </c:spPr>
          <c:cat>
            <c:strRef>
              <c:f>Sheet1!$A$2:$A$5</c:f>
              <c:strCache>
                <c:ptCount val="4"/>
                <c:pt idx="0">
                  <c:v>类别 1</c:v>
                </c:pt>
                <c:pt idx="1">
                  <c:v>类别 2</c:v>
                </c:pt>
                <c:pt idx="2">
                  <c:v>类别 3</c:v>
                </c:pt>
                <c:pt idx="3">
                  <c:v>类别 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系列 2</c:v>
                </c:pt>
              </c:strCache>
            </c:strRef>
          </c:tx>
          <c:spPr>
            <a:solidFill>
              <a:schemeClr val="accent1"/>
            </a:solidFill>
            <a:ln>
              <a:noFill/>
            </a:ln>
            <a:effectLst/>
          </c:spPr>
          <c:cat>
            <c:strRef>
              <c:f>Sheet1!$A$2:$A$5</c:f>
              <c:strCache>
                <c:ptCount val="4"/>
                <c:pt idx="0">
                  <c:v>类别 1</c:v>
                </c:pt>
                <c:pt idx="1">
                  <c:v>类别 2</c:v>
                </c:pt>
                <c:pt idx="2">
                  <c:v>类别 3</c:v>
                </c:pt>
                <c:pt idx="3">
                  <c:v>类别 4</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系列 3</c:v>
                </c:pt>
              </c:strCache>
            </c:strRef>
          </c:tx>
          <c:spPr>
            <a:solidFill>
              <a:schemeClr val="bg1">
                <a:lumMod val="75000"/>
              </a:schemeClr>
            </a:solidFill>
            <a:ln>
              <a:noFill/>
            </a:ln>
            <a:effectLst/>
          </c:spPr>
          <c:cat>
            <c:strRef>
              <c:f>Sheet1!$A$2:$A$5</c:f>
              <c:strCache>
                <c:ptCount val="4"/>
                <c:pt idx="0">
                  <c:v>类别 1</c:v>
                </c:pt>
                <c:pt idx="1">
                  <c:v>类别 2</c:v>
                </c:pt>
                <c:pt idx="2">
                  <c:v>类别 3</c:v>
                </c:pt>
                <c:pt idx="3">
                  <c:v>类别 4</c:v>
                </c:pt>
              </c:strCache>
            </c:strRef>
          </c:cat>
          <c:val>
            <c:numRef>
              <c:f>Sheet1!$D$2:$D$5</c:f>
              <c:numCache>
                <c:formatCode>General</c:formatCode>
                <c:ptCount val="4"/>
                <c:pt idx="0">
                  <c:v>2</c:v>
                </c:pt>
                <c:pt idx="1">
                  <c:v>2</c:v>
                </c:pt>
                <c:pt idx="2">
                  <c:v>3</c:v>
                </c:pt>
                <c:pt idx="3">
                  <c:v>4</c:v>
                </c:pt>
              </c:numCache>
            </c:numRef>
          </c:val>
        </c:ser>
        <c:dLbls/>
        <c:overlap val="100"/>
        <c:axId val="136991104"/>
        <c:axId val="136992640"/>
      </c:barChart>
      <c:catAx>
        <c:axId val="136991104"/>
        <c:scaling>
          <c:orientation val="minMax"/>
        </c:scaling>
        <c:delete val="1"/>
        <c:axPos val="b"/>
        <c:numFmt formatCode="General" sourceLinked="1"/>
        <c:majorTickMark val="none"/>
        <c:tickLblPos val="none"/>
        <c:crossAx val="136992640"/>
        <c:crosses val="autoZero"/>
        <c:auto val="1"/>
        <c:lblAlgn val="ctr"/>
        <c:lblOffset val="100"/>
      </c:catAx>
      <c:valAx>
        <c:axId val="136992640"/>
        <c:scaling>
          <c:orientation val="minMax"/>
          <c:max val="12"/>
        </c:scaling>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endParaRPr lang="zh-CN"/>
          </a:p>
        </c:txPr>
        <c:crossAx val="136991104"/>
        <c:crosses val="autoZero"/>
        <c:crossBetween val="between"/>
      </c:valAx>
      <c:spPr>
        <a:noFill/>
        <a:ln>
          <a:noFill/>
        </a:ln>
        <a:effectLst/>
      </c:spPr>
    </c:plotArea>
    <c:plotVisOnly val="1"/>
    <c:dispBlanksAs val="gap"/>
  </c:chart>
  <c:spPr>
    <a:noFill/>
    <a:ln>
      <a:noFill/>
    </a:ln>
    <a:effectLst/>
  </c:spPr>
  <c:txPr>
    <a:bodyPr/>
    <a:lstStyle/>
    <a:p>
      <a:pPr>
        <a:defRPr lang="zh-CN"/>
      </a:pPr>
      <a:endParaRPr lang="zh-CN"/>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Sales</c:v>
                </c:pt>
              </c:strCache>
            </c:strRef>
          </c:tx>
          <c:dPt>
            <c:idx val="0"/>
            <c:spPr>
              <a:solidFill>
                <a:schemeClr val="bg1"/>
              </a:solidFill>
            </c:spPr>
          </c:dPt>
          <c:dPt>
            <c:idx val="1"/>
            <c:spPr>
              <a:solidFill>
                <a:schemeClr val="accent4"/>
              </a:solidFill>
            </c:spPr>
          </c:dPt>
          <c:cat>
            <c:strRef>
              <c:f>Sheet1!$A$2:$A$3</c:f>
              <c:strCache>
                <c:ptCount val="2"/>
                <c:pt idx="0">
                  <c:v>1st Qtr</c:v>
                </c:pt>
                <c:pt idx="1">
                  <c:v>2nd Qtr</c:v>
                </c:pt>
              </c:strCache>
            </c:strRef>
          </c:cat>
          <c:val>
            <c:numRef>
              <c:f>Sheet1!$B$2:$B$3</c:f>
              <c:numCache>
                <c:formatCode>General</c:formatCode>
                <c:ptCount val="2"/>
                <c:pt idx="0">
                  <c:v>30</c:v>
                </c:pt>
                <c:pt idx="1">
                  <c:v>30</c:v>
                </c:pt>
              </c:numCache>
            </c:numRef>
          </c:val>
        </c:ser>
        <c:dLbls/>
        <c:firstSliceAng val="43"/>
        <c:holeSize val="70"/>
      </c:doughnutChart>
    </c:plotArea>
    <c:plotVisOnly val="1"/>
    <c:dispBlanksAs val="zero"/>
  </c:chart>
  <c:txPr>
    <a:bodyPr/>
    <a:lstStyle/>
    <a:p>
      <a:pPr>
        <a:defRPr lang="zh-CN" sz="1800"/>
      </a:pPr>
      <a:endParaRPr lang="zh-CN"/>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Sales</c:v>
                </c:pt>
              </c:strCache>
            </c:strRef>
          </c:tx>
          <c:dPt>
            <c:idx val="0"/>
            <c:spPr>
              <a:solidFill>
                <a:schemeClr val="bg1"/>
              </a:solidFill>
            </c:spPr>
          </c:dPt>
          <c:dPt>
            <c:idx val="1"/>
            <c:spPr>
              <a:solidFill>
                <a:schemeClr val="accent4"/>
              </a:solidFill>
            </c:spPr>
          </c:dPt>
          <c:cat>
            <c:strRef>
              <c:f>Sheet1!$A$2:$A$3</c:f>
              <c:strCache>
                <c:ptCount val="2"/>
                <c:pt idx="0">
                  <c:v>1st Qtr</c:v>
                </c:pt>
                <c:pt idx="1">
                  <c:v>2nd Qtr</c:v>
                </c:pt>
              </c:strCache>
            </c:strRef>
          </c:cat>
          <c:val>
            <c:numRef>
              <c:f>Sheet1!$B$2:$B$3</c:f>
              <c:numCache>
                <c:formatCode>General</c:formatCode>
                <c:ptCount val="2"/>
                <c:pt idx="0">
                  <c:v>30</c:v>
                </c:pt>
                <c:pt idx="1">
                  <c:v>30</c:v>
                </c:pt>
              </c:numCache>
            </c:numRef>
          </c:val>
        </c:ser>
        <c:dLbls/>
        <c:firstSliceAng val="43"/>
        <c:holeSize val="70"/>
      </c:doughnutChart>
    </c:plotArea>
    <c:plotVisOnly val="1"/>
    <c:dispBlanksAs val="zero"/>
  </c:chart>
  <c:txPr>
    <a:bodyPr/>
    <a:lstStyle/>
    <a:p>
      <a:pPr>
        <a:defRPr lang="zh-CN" sz="1800"/>
      </a:pPr>
      <a:endParaRPr lang="zh-CN"/>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zh-CN"/>
  <c:chart>
    <c:autoTitleDeleted val="1"/>
    <c:plotArea>
      <c:layout/>
      <c:barChart>
        <c:barDir val="bar"/>
        <c:grouping val="clustered"/>
        <c:ser>
          <c:idx val="0"/>
          <c:order val="0"/>
          <c:tx>
            <c:strRef>
              <c:f>Sheet1!$B$1</c:f>
              <c:strCache>
                <c:ptCount val="1"/>
                <c:pt idx="0">
                  <c:v>列1</c:v>
                </c:pt>
              </c:strCache>
            </c:strRef>
          </c:tx>
          <c:spPr>
            <a:solidFill>
              <a:schemeClr val="tx2"/>
            </a:solidFill>
          </c:spPr>
          <c:dLbls>
            <c:dLbl>
              <c:idx val="0"/>
              <c:layout/>
              <c:dLblPos val="outEnd"/>
              <c:showVal val="1"/>
              <c:extLst>
                <c:ext xmlns:c15="http://schemas.microsoft.com/office/drawing/2012/chart" uri="{CE6537A1-D6FC-4f65-9D91-7224C49458BB}"/>
              </c:extLst>
            </c:dLbl>
            <c:dLbl>
              <c:idx val="1"/>
              <c:layout/>
              <c:dLblPos val="outEnd"/>
              <c:showVal val="1"/>
              <c:extLst>
                <c:ext xmlns:c15="http://schemas.microsoft.com/office/drawing/2012/chart" uri="{CE6537A1-D6FC-4f65-9D91-7224C49458BB}"/>
              </c:extLst>
            </c:dLbl>
            <c:delete val="1"/>
            <c:spPr>
              <a:noFill/>
              <a:ln>
                <a:noFill/>
              </a:ln>
              <a:effectLst/>
            </c:spPr>
            <c:txPr>
              <a:bodyPr rot="0" spcFirstLastPara="0" vertOverflow="ellipsis" vert="horz" wrap="square" lIns="38100" tIns="19050" rIns="38100" bIns="19050" anchor="ctr" anchorCtr="1"/>
              <a:lstStyle/>
              <a:p>
                <a:pPr>
                  <a:defRPr lang="zh-CN" sz="1200" b="1" i="0" u="none" strike="noStrike" kern="1200" baseline="0">
                    <a:solidFill>
                      <a:schemeClr val="tx1">
                        <a:lumMod val="65000"/>
                        <a:lumOff val="35000"/>
                      </a:schemeClr>
                    </a:solidFill>
                    <a:latin typeface="+mn-lt"/>
                    <a:ea typeface="+mn-ea"/>
                    <a:cs typeface="+mn-cs"/>
                  </a:defRPr>
                </a:pPr>
                <a:endParaRPr lang="zh-CN"/>
              </a:p>
            </c:txPr>
            <c:dLblPos val="outEnd"/>
            <c:extLst>
              <c:ext xmlns:c15="http://schemas.microsoft.com/office/drawing/2012/chart" uri="{CE6537A1-D6FC-4f65-9D91-7224C49458BB}">
                <c15:layout/>
                <c15:showLeaderLines val="0"/>
                <c15:leaderLines/>
              </c:ext>
            </c:extLst>
          </c:dLbls>
          <c:cat>
            <c:strRef>
              <c:f>Sheet1!$A$2:$A$3</c:f>
              <c:strCache>
                <c:ptCount val="2"/>
                <c:pt idx="0">
                  <c:v>添加标题</c:v>
                </c:pt>
                <c:pt idx="1">
                  <c:v>添加标题</c:v>
                </c:pt>
              </c:strCache>
            </c:strRef>
          </c:cat>
          <c:val>
            <c:numRef>
              <c:f>Sheet1!$B$2:$B$3</c:f>
              <c:numCache>
                <c:formatCode>General</c:formatCode>
                <c:ptCount val="2"/>
                <c:pt idx="0">
                  <c:v>100</c:v>
                </c:pt>
                <c:pt idx="1">
                  <c:v>80</c:v>
                </c:pt>
              </c:numCache>
            </c:numRef>
          </c:val>
        </c:ser>
        <c:ser>
          <c:idx val="1"/>
          <c:order val="1"/>
          <c:tx>
            <c:strRef>
              <c:f>Sheet1!$C$1</c:f>
              <c:strCache>
                <c:ptCount val="1"/>
                <c:pt idx="0">
                  <c:v>列2</c:v>
                </c:pt>
              </c:strCache>
            </c:strRef>
          </c:tx>
          <c:spPr>
            <a:solidFill>
              <a:schemeClr val="bg2"/>
            </a:solidFill>
          </c:spPr>
          <c:dLbls>
            <c:spPr>
              <a:noFill/>
              <a:ln>
                <a:noFill/>
              </a:ln>
              <a:effectLst/>
            </c:spPr>
            <c:txPr>
              <a:bodyPr rot="0" spcFirstLastPara="0" vertOverflow="ellipsis" vert="horz" wrap="square" lIns="38100" tIns="19050" rIns="38100" bIns="19050" anchor="ctr" anchorCtr="1"/>
              <a:lstStyle/>
              <a:p>
                <a:pPr>
                  <a:defRPr lang="zh-CN" sz="12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cat>
            <c:strRef>
              <c:f>Sheet1!$A$2:$A$3</c:f>
              <c:strCache>
                <c:ptCount val="2"/>
                <c:pt idx="0">
                  <c:v>添加标题</c:v>
                </c:pt>
                <c:pt idx="1">
                  <c:v>添加标题</c:v>
                </c:pt>
              </c:strCache>
            </c:strRef>
          </c:cat>
          <c:val>
            <c:numRef>
              <c:f>Sheet1!$C$2:$C$3</c:f>
              <c:numCache>
                <c:formatCode>General</c:formatCode>
                <c:ptCount val="2"/>
                <c:pt idx="0">
                  <c:v>90</c:v>
                </c:pt>
                <c:pt idx="1">
                  <c:v>75</c:v>
                </c:pt>
              </c:numCache>
            </c:numRef>
          </c:val>
        </c:ser>
        <c:ser>
          <c:idx val="2"/>
          <c:order val="2"/>
          <c:tx>
            <c:strRef>
              <c:f>Sheet1!$D$1</c:f>
              <c:strCache>
                <c:ptCount val="1"/>
                <c:pt idx="0">
                  <c:v>列3</c:v>
                </c:pt>
              </c:strCache>
            </c:strRef>
          </c:tx>
          <c:spPr>
            <a:solidFill>
              <a:schemeClr val="accent1"/>
            </a:solidFill>
            <a:effectLst/>
          </c:spPr>
          <c:dLbls>
            <c:spPr>
              <a:noFill/>
              <a:ln>
                <a:noFill/>
              </a:ln>
              <a:effectLst/>
            </c:spPr>
            <c:txPr>
              <a:bodyPr rot="0" spcFirstLastPara="0" vertOverflow="ellipsis" vert="horz" wrap="square" lIns="38100" tIns="19050" rIns="38100" bIns="19050" anchor="ctr" anchorCtr="1"/>
              <a:lstStyle/>
              <a:p>
                <a:pPr>
                  <a:defRPr lang="zh-CN" sz="1200" b="1" i="0" u="none" strike="noStrike" kern="1200" baseline="0">
                    <a:solidFill>
                      <a:schemeClr val="tx1">
                        <a:lumMod val="65000"/>
                        <a:lumOff val="35000"/>
                      </a:schemeClr>
                    </a:solidFill>
                    <a:latin typeface="+mn-lt"/>
                    <a:ea typeface="+mn-ea"/>
                    <a:cs typeface="+mn-cs"/>
                  </a:defRPr>
                </a:pPr>
                <a:endParaRPr lang="zh-CN"/>
              </a:p>
            </c:txPr>
            <c:dLblPos val="outEnd"/>
            <c:showVal val="1"/>
            <c:extLst>
              <c:ext xmlns:c15="http://schemas.microsoft.com/office/drawing/2012/chart" uri="{CE6537A1-D6FC-4f65-9D91-7224C49458BB}">
                <c15:layout/>
                <c15:showLeaderLines val="0"/>
                <c15:leaderLines/>
              </c:ext>
            </c:extLst>
          </c:dLbls>
          <c:cat>
            <c:strRef>
              <c:f>Sheet1!$A$2:$A$3</c:f>
              <c:strCache>
                <c:ptCount val="2"/>
                <c:pt idx="0">
                  <c:v>添加标题</c:v>
                </c:pt>
                <c:pt idx="1">
                  <c:v>添加标题</c:v>
                </c:pt>
              </c:strCache>
            </c:strRef>
          </c:cat>
          <c:val>
            <c:numRef>
              <c:f>Sheet1!$D$2:$D$3</c:f>
              <c:numCache>
                <c:formatCode>General</c:formatCode>
                <c:ptCount val="2"/>
                <c:pt idx="0">
                  <c:v>50</c:v>
                </c:pt>
                <c:pt idx="1">
                  <c:v>65</c:v>
                </c:pt>
              </c:numCache>
            </c:numRef>
          </c:val>
        </c:ser>
        <c:ser>
          <c:idx val="3"/>
          <c:order val="3"/>
          <c:tx>
            <c:strRef>
              <c:f>Sheet1!$E$1</c:f>
              <c:strCache>
                <c:ptCount val="1"/>
                <c:pt idx="0">
                  <c:v>列4</c:v>
                </c:pt>
              </c:strCache>
            </c:strRef>
          </c:tx>
          <c:spPr>
            <a:solidFill>
              <a:schemeClr val="accent3"/>
            </a:solidFill>
          </c:spPr>
          <c:cat>
            <c:strRef>
              <c:f>Sheet1!$A$2:$A$3</c:f>
              <c:strCache>
                <c:ptCount val="2"/>
                <c:pt idx="0">
                  <c:v>添加标题</c:v>
                </c:pt>
                <c:pt idx="1">
                  <c:v>添加标题</c:v>
                </c:pt>
              </c:strCache>
            </c:strRef>
          </c:cat>
          <c:val>
            <c:numRef>
              <c:f>Sheet1!$E$2:$E$3</c:f>
              <c:numCache>
                <c:formatCode>General</c:formatCode>
                <c:ptCount val="2"/>
                <c:pt idx="0">
                  <c:v>40</c:v>
                </c:pt>
                <c:pt idx="1">
                  <c:v>25</c:v>
                </c:pt>
              </c:numCache>
            </c:numRef>
          </c:val>
        </c:ser>
        <c:dLbls/>
        <c:gapWidth val="188"/>
        <c:overlap val="-18"/>
        <c:axId val="147128704"/>
        <c:axId val="147130240"/>
      </c:barChart>
      <c:catAx>
        <c:axId val="147128704"/>
        <c:scaling>
          <c:orientation val="maxMin"/>
        </c:scaling>
        <c:axPos val="l"/>
        <c:minorGridlines>
          <c:spPr>
            <a:ln w="6350" cap="flat" cmpd="sng" algn="ctr">
              <a:solidFill>
                <a:prstClr val="black">
                  <a:tint val="50000"/>
                  <a:shade val="95000"/>
                  <a:satMod val="105000"/>
                </a:prstClr>
              </a:solidFill>
              <a:prstDash val="dash"/>
              <a:round/>
            </a:ln>
          </c:spPr>
        </c:minorGridlines>
        <c:numFmt formatCode="General" sourceLinked="0"/>
        <c:tickLblPos val="nextTo"/>
        <c:spPr>
          <a:noFill/>
        </c:spPr>
        <c:txPr>
          <a:bodyPr rot="5400000" spcFirstLastPara="0" vertOverflow="ellipsis" vert="horz" wrap="square" anchor="ctr" anchorCtr="1"/>
          <a:lstStyle/>
          <a:p>
            <a:pPr>
              <a:defRPr lang="zh-CN" sz="1200" b="1" i="0" u="none" strike="noStrike" kern="1200" baseline="0">
                <a:solidFill>
                  <a:schemeClr val="tx1">
                    <a:lumMod val="65000"/>
                    <a:lumOff val="35000"/>
                  </a:schemeClr>
                </a:solidFill>
                <a:latin typeface="+mn-lt"/>
                <a:ea typeface="+mn-ea"/>
                <a:cs typeface="+mn-cs"/>
              </a:defRPr>
            </a:pPr>
            <a:endParaRPr lang="zh-CN"/>
          </a:p>
        </c:txPr>
        <c:crossAx val="147130240"/>
        <c:crosses val="autoZero"/>
        <c:lblAlgn val="ctr"/>
        <c:lblOffset val="100"/>
      </c:catAx>
      <c:valAx>
        <c:axId val="147130240"/>
        <c:scaling>
          <c:orientation val="minMax"/>
        </c:scaling>
        <c:axPos val="t"/>
        <c:majorGridlines>
          <c:spPr>
            <a:ln w="6350" cap="flat" cmpd="sng" algn="ctr">
              <a:solidFill>
                <a:schemeClr val="bg1"/>
              </a:solidFill>
              <a:prstDash val="solid"/>
              <a:round/>
            </a:ln>
          </c:spPr>
        </c:majorGridlines>
        <c:numFmt formatCode="0.00%" sourceLinked="0"/>
        <c:majorTickMark val="cross"/>
        <c:tickLblPos val="none"/>
        <c:spPr>
          <a:noFill/>
          <a:ln w="6350" cap="flat" cmpd="sng" algn="ctr">
            <a:noFill/>
            <a:prstDash val="solid"/>
            <a:round/>
          </a:ln>
        </c:spPr>
        <c:txPr>
          <a:bodyPr rot="-60000000" spcFirstLastPara="0" vertOverflow="ellipsis" vert="horz" wrap="square" anchor="ctr" anchorCtr="1"/>
          <a:lstStyle/>
          <a:p>
            <a:pPr>
              <a:defRPr lang="zh-CN" sz="1200" b="1" i="0" u="none" strike="noStrike" kern="1200" baseline="0">
                <a:solidFill>
                  <a:schemeClr val="tx1">
                    <a:lumMod val="65000"/>
                    <a:lumOff val="35000"/>
                  </a:schemeClr>
                </a:solidFill>
                <a:latin typeface="+mn-lt"/>
                <a:ea typeface="+mn-ea"/>
                <a:cs typeface="+mn-cs"/>
              </a:defRPr>
            </a:pPr>
            <a:endParaRPr lang="zh-CN"/>
          </a:p>
        </c:txPr>
        <c:crossAx val="147128704"/>
        <c:crosses val="autoZero"/>
        <c:crossBetween val="between"/>
      </c:valAx>
      <c:spPr>
        <a:noFill/>
        <a:ln w="25400">
          <a:solidFill>
            <a:schemeClr val="bg1">
              <a:lumMod val="85000"/>
              <a:alpha val="0"/>
            </a:schemeClr>
          </a:solidFill>
        </a:ln>
      </c:spPr>
    </c:plotArea>
    <c:plotVisOnly val="1"/>
    <c:dispBlanksAs val="gap"/>
  </c:chart>
  <c:txPr>
    <a:bodyPr/>
    <a:lstStyle/>
    <a:p>
      <a:pPr>
        <a:defRPr lang="zh-CN" sz="1200" b="1">
          <a:solidFill>
            <a:schemeClr val="tx1">
              <a:lumMod val="65000"/>
              <a:lumOff val="35000"/>
            </a:schemeClr>
          </a:solidFill>
        </a:defRPr>
      </a:pPr>
      <a:endParaRPr lang="zh-CN"/>
    </a:p>
  </c:tx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1334B4-E01B-4FD8-8AA0-011954B8D947}" type="datetimeFigureOut">
              <a:rPr lang="zh-CN" altLang="en-US" smtClean="0"/>
              <a:pPr/>
              <a:t>2017/7/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96FABF-9C46-4386-A49F-8E0B8913D455}"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smtClean="0"/>
              <a:t> 亮亮图文旗舰店</a:t>
            </a:r>
            <a:r>
              <a:rPr lang="en-US" altLang="zh-CN" dirty="0" smtClean="0"/>
              <a:t>https://liangliangtuwen.tmall.com</a:t>
            </a:r>
            <a:endParaRPr lang="en-US" altLang="zh-CN"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smtClean="0"/>
              <a:t>My First Template</a:t>
            </a:r>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smtClean="0"/>
              <a:t>My First Template</a:t>
            </a:r>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smtClean="0"/>
              <a:t>My First Template</a:t>
            </a:r>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idx="10"/>
          </p:nvPr>
        </p:nvSpPr>
        <p:spPr/>
        <p:txBody>
          <a:bodyPr/>
          <a:lstStyle/>
          <a:p>
            <a:r>
              <a:rPr lang="en-US" smtClean="0"/>
              <a:t>My First Template</a:t>
            </a:r>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My First Template</a:t>
            </a:r>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My First Template</a:t>
            </a:r>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t>My First Template</a:t>
            </a:r>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a:p>
        </p:txBody>
      </p:sp>
      <p:sp>
        <p:nvSpPr>
          <p:cNvPr id="4" name="灯片编号占位符 3"/>
          <p:cNvSpPr>
            <a:spLocks noGrp="1"/>
          </p:cNvSpPr>
          <p:nvPr>
            <p:ph type="sldNum" sz="quarter" idx="10"/>
          </p:nvPr>
        </p:nvSpPr>
        <p:spPr/>
        <p:txBody>
          <a:bodyPr/>
          <a:lstStyle/>
          <a:p>
            <a:fld id="{5711C0B8-ACC3-4D91-8B38-72ED5A969CBF}" type="slidenum">
              <a:rPr lang="zh-CN" altLang="en-US" smtClean="0"/>
              <a:pPr/>
              <a:t>22</a:t>
            </a:fld>
            <a:endParaRPr 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a:p>
        </p:txBody>
      </p:sp>
      <p:sp>
        <p:nvSpPr>
          <p:cNvPr id="4" name="灯片编号占位符 3"/>
          <p:cNvSpPr>
            <a:spLocks noGrp="1"/>
          </p:cNvSpPr>
          <p:nvPr>
            <p:ph type="sldNum" sz="quarter" idx="10"/>
          </p:nvPr>
        </p:nvSpPr>
        <p:spPr/>
        <p:txBody>
          <a:bodyPr/>
          <a:lstStyle/>
          <a:p>
            <a:fld id="{5711C0B8-ACC3-4D91-8B38-72ED5A969CBF}" type="slidenum">
              <a:rPr lang="zh-CN" altLang="en-US" smtClean="0"/>
              <a:pPr/>
              <a:t>23</a:t>
            </a:fld>
            <a:endParaRPr 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a:p>
        </p:txBody>
      </p:sp>
      <p:sp>
        <p:nvSpPr>
          <p:cNvPr id="4" name="灯片编号占位符 3"/>
          <p:cNvSpPr>
            <a:spLocks noGrp="1"/>
          </p:cNvSpPr>
          <p:nvPr>
            <p:ph type="sldNum" sz="quarter" idx="10"/>
          </p:nvPr>
        </p:nvSpPr>
        <p:spPr/>
        <p:txBody>
          <a:bodyPr/>
          <a:lstStyle/>
          <a:p>
            <a:fld id="{5711C0B8-ACC3-4D91-8B38-72ED5A969CBF}" type="slidenum">
              <a:rPr lang="zh-CN" altLang="en-US" smtClean="0"/>
              <a:pPr/>
              <a:t>24</a:t>
            </a:fld>
            <a:endParaRPr 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F1D5E53-1996-4A18-8378-BCF5C8046DA1}" type="slidenum">
              <a:rPr lang="zh-CN" altLang="en-US" smtClean="0"/>
              <a:pPr/>
              <a:t>4</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a:p>
        </p:txBody>
      </p:sp>
      <p:sp>
        <p:nvSpPr>
          <p:cNvPr id="4" name="灯片编号占位符 3"/>
          <p:cNvSpPr>
            <a:spLocks noGrp="1"/>
          </p:cNvSpPr>
          <p:nvPr>
            <p:ph type="sldNum" sz="quarter" idx="10"/>
          </p:nvPr>
        </p:nvSpPr>
        <p:spPr/>
        <p:txBody>
          <a:bodyPr/>
          <a:lstStyle/>
          <a:p>
            <a:fld id="{5711C0B8-ACC3-4D91-8B38-72ED5A969CBF}" type="slidenum">
              <a:rPr lang="zh-CN" altLang="en-US" smtClean="0"/>
              <a:pPr/>
              <a:t>25</a:t>
            </a:fld>
            <a:endParaRPr 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C18C319-592B-4604-8379-677AD2D98A71}" type="slidenum">
              <a:rPr lang="zh-CN" altLang="en-US" smtClean="0"/>
              <a:pPr/>
              <a:t>26</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27</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28</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29</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31</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32</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33</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34</a:t>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35</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F1D5E53-1996-4A18-8378-BCF5C8046DA1}" type="slidenum">
              <a:rPr lang="zh-CN" altLang="en-US" smtClean="0"/>
              <a:pPr/>
              <a:t>5</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36</a:t>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E665C9A-F863-4B53-BF18-B9F895775B52}" type="slidenum">
              <a:rPr lang="zh-CN" altLang="en-US" smtClean="0"/>
              <a:pPr/>
              <a:t>37</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F1D5E53-1996-4A18-8378-BCF5C8046DA1}" type="slidenum">
              <a:rPr lang="zh-CN" altLang="en-US" smtClean="0"/>
              <a:pPr/>
              <a:t>7</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F1D5E53-1996-4A18-8378-BCF5C8046DA1}" type="slidenum">
              <a:rPr lang="zh-CN" altLang="en-US" smtClean="0"/>
              <a:pPr/>
              <a:t>8</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F1D5E53-1996-4A18-8378-BCF5C8046DA1}" type="slidenum">
              <a:rPr lang="zh-CN" altLang="en-US" smtClean="0"/>
              <a:pPr/>
              <a:t>9</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F1D5E53-1996-4A18-8378-BCF5C8046DA1}" type="slidenum">
              <a:rPr lang="zh-CN" altLang="en-US" smtClean="0"/>
              <a:pPr/>
              <a:t>10</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11</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smtClean="0"/>
              <a:t>My First Template</a:t>
            </a:r>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bg>
      <p:bgPr>
        <a:solidFill>
          <a:srgbClr val="F3F3F3"/>
        </a:solidFill>
        <a:effectLst/>
      </p:bgPr>
    </p:bg>
    <p:spTree>
      <p:nvGrpSpPr>
        <p:cNvPr id="1" name=""/>
        <p:cNvGrpSpPr/>
        <p:nvPr/>
      </p:nvGrpSpPr>
      <p:grpSpPr>
        <a:xfrm>
          <a:off x="0" y="0"/>
          <a:ext cx="0" cy="0"/>
          <a:chOff x="0" y="0"/>
          <a:chExt cx="0" cy="0"/>
        </a:xfrm>
      </p:grpSpPr>
      <p:pic>
        <p:nvPicPr>
          <p:cNvPr id="2" name="图片 1"/>
          <p:cNvPicPr>
            <a:picLocks noChangeAspect="1"/>
          </p:cNvPicPr>
          <p:nvPr userDrawn="1"/>
        </p:nvPicPr>
        <p:blipFill rotWithShape="1">
          <a:blip r:embed="rId2" cstate="print">
            <a:extLst>
              <a:ext uri="{BEBA8EAE-BF5A-486C-A8C5-ECC9F3942E4B}">
                <a14:imgProps xmlns:a14="http://schemas.microsoft.com/office/drawing/2010/main" xmlns="">
                  <a14:imgLayer r:embed="rId3">
                    <a14:imgEffect>
                      <a14:brightnessContrast bright="-3000" contrast="-5000"/>
                    </a14:imgEffect>
                  </a14:imgLayer>
                </a14:imgProps>
              </a:ext>
              <a:ext uri="{28A0092B-C50C-407E-A947-70E740481C1C}">
                <a14:useLocalDpi xmlns:a14="http://schemas.microsoft.com/office/drawing/2010/main" xmlns="" val="0"/>
              </a:ext>
            </a:extLst>
          </a:blip>
          <a:srcRect t="25398"/>
          <a:stretch>
            <a:fillRect/>
          </a:stretch>
        </p:blipFill>
        <p:spPr>
          <a:xfrm>
            <a:off x="1" y="0"/>
            <a:ext cx="12192000" cy="6858000"/>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205154" y="238516"/>
            <a:ext cx="10515600" cy="352327"/>
          </a:xfrm>
        </p:spPr>
        <p:txBody>
          <a:bodyPr>
            <a:normAutofit/>
          </a:bodyPr>
          <a:lstStyle>
            <a:lvl1pPr>
              <a:defRPr sz="2800" b="1">
                <a:solidFill>
                  <a:srgbClr val="FFCC99"/>
                </a:solidFill>
              </a:defRPr>
            </a:lvl1pPr>
          </a:lstStyle>
          <a:p>
            <a:r>
              <a:rPr lang="zh-CN" altLang="en-US" smtClean="0"/>
              <a:t>单击此处编辑母版标题样式</a:t>
            </a:r>
            <a:endParaRPr lang="zh-CN" altLang="en-US"/>
          </a:p>
        </p:txBody>
      </p:sp>
      <p:sp>
        <p:nvSpPr>
          <p:cNvPr id="6" name="矩形 5"/>
          <p:cNvSpPr/>
          <p:nvPr userDrawn="1"/>
        </p:nvSpPr>
        <p:spPr>
          <a:xfrm>
            <a:off x="0" y="703385"/>
            <a:ext cx="12192000" cy="6154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blipFill dpi="0" rotWithShape="1">
          <a:blip r:embed="rId2" cstate="print">
            <a:lum/>
          </a:blip>
          <a:srcRect/>
          <a:stretch>
            <a:fillRect t="-1000" b="-1000"/>
          </a:stretch>
        </a:blip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t="-1000" b="-1000"/>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video" Target="NULL" TargetMode="External"/><Relationship Id="rId6" Type="http://schemas.openxmlformats.org/officeDocument/2006/relationships/image" Target="../media/image4.png"/><Relationship Id="rId5" Type="http://schemas.microsoft.com/office/2007/relationships/media" Target="../media/media1.mp3"/><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7.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7.jpeg"/></Relationships>
</file>

<file path=ppt/slides/_rels/slide3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6.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notesSlide" Target="../notesSlides/notesSlide29.xml"/></Relationships>
</file>

<file path=ppt/slides/_rels/slide3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 Id="rId5" Type="http://schemas.openxmlformats.org/officeDocument/2006/relationships/chart" Target="../charts/chart4.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10.png"/><Relationship Id="rId7"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2.jpeg"/><Relationship Id="rId5" Type="http://schemas.openxmlformats.org/officeDocument/2006/relationships/image" Target="../media/image11.jpeg"/><Relationship Id="rId4" Type="http://schemas.microsoft.com/office/2007/relationships/hdphoto" Target="../media/hdphoto2.wdp"/><Relationship Id="rId9"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95" y="4774256"/>
            <a:ext cx="12190413" cy="20853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3" name="矩形 2"/>
          <p:cNvSpPr/>
          <p:nvPr/>
        </p:nvSpPr>
        <p:spPr>
          <a:xfrm>
            <a:off x="4623176" y="4845617"/>
            <a:ext cx="2917514" cy="615696"/>
          </a:xfrm>
          <a:prstGeom prst="rect">
            <a:avLst/>
          </a:prstGeom>
        </p:spPr>
        <p:txBody>
          <a:bodyPr wrap="none" lIns="121917" tIns="60958" rIns="121917" bIns="60958">
            <a:spAutoFit/>
          </a:bodyPr>
          <a:lstStyle/>
          <a:p>
            <a:pPr algn="ctr"/>
            <a:r>
              <a:rPr lang="en-US" altLang="zh-CN" sz="3200" dirty="0">
                <a:solidFill>
                  <a:srgbClr val="B25808"/>
                </a:solidFill>
                <a:latin typeface="Impact" panose="020B0806030902050204" pitchFamily="34" charset="0"/>
              </a:rPr>
              <a:t>Company  Name</a:t>
            </a:r>
          </a:p>
        </p:txBody>
      </p:sp>
      <p:sp>
        <p:nvSpPr>
          <p:cNvPr id="4" name="TextBox 3"/>
          <p:cNvSpPr txBox="1"/>
          <p:nvPr/>
        </p:nvSpPr>
        <p:spPr>
          <a:xfrm>
            <a:off x="2900296" y="5365280"/>
            <a:ext cx="6363274" cy="861770"/>
          </a:xfrm>
          <a:prstGeom prst="rect">
            <a:avLst/>
          </a:prstGeom>
          <a:noFill/>
        </p:spPr>
        <p:txBody>
          <a:bodyPr wrap="none" lIns="121917" tIns="60958" rIns="121917" bIns="60958" rtlCol="0">
            <a:spAutoFit/>
          </a:bodyPr>
          <a:lstStyle/>
          <a:p>
            <a:pPr algn="ctr"/>
            <a:r>
              <a:rPr lang="zh-CN" altLang="en-US" sz="4800" b="1" dirty="0" smtClean="0">
                <a:blipFill>
                  <a:blip r:embed="rId4"/>
                  <a:stretch>
                    <a:fillRect/>
                  </a:stretch>
                </a:blipFill>
                <a:latin typeface="微软雅黑" panose="020B0503020204020204" pitchFamily="34" charset="-122"/>
                <a:ea typeface="微软雅黑" panose="020B0503020204020204" pitchFamily="34" charset="-122"/>
              </a:rPr>
              <a:t>时尚工作总结</a:t>
            </a:r>
            <a:r>
              <a:rPr lang="en-US" altLang="zh-CN" sz="4800" b="1" dirty="0">
                <a:blipFill>
                  <a:blip r:embed="rId4"/>
                  <a:stretch>
                    <a:fillRect/>
                  </a:stretch>
                </a:blipFill>
                <a:latin typeface="微软雅黑" panose="020B0503020204020204" pitchFamily="34" charset="-122"/>
                <a:ea typeface="微软雅黑" panose="020B0503020204020204" pitchFamily="34" charset="-122"/>
              </a:rPr>
              <a:t>PPT</a:t>
            </a:r>
            <a:r>
              <a:rPr lang="zh-CN" altLang="en-US" sz="4800" b="1" dirty="0">
                <a:blipFill>
                  <a:blip r:embed="rId4"/>
                  <a:stretch>
                    <a:fillRect/>
                  </a:stretch>
                </a:blipFill>
                <a:latin typeface="微软雅黑" panose="020B0503020204020204" pitchFamily="34" charset="-122"/>
                <a:ea typeface="微软雅黑" panose="020B0503020204020204" pitchFamily="34" charset="-122"/>
              </a:rPr>
              <a:t>模板</a:t>
            </a:r>
          </a:p>
        </p:txBody>
      </p:sp>
      <p:sp>
        <p:nvSpPr>
          <p:cNvPr id="5" name="TextBox 6"/>
          <p:cNvSpPr txBox="1"/>
          <p:nvPr/>
        </p:nvSpPr>
        <p:spPr>
          <a:xfrm>
            <a:off x="3345629" y="6110565"/>
            <a:ext cx="5472608" cy="553998"/>
          </a:xfrm>
          <a:prstGeom prst="rect">
            <a:avLst/>
          </a:prstGeom>
          <a:noFill/>
          <a:effectLst/>
        </p:spPr>
        <p:txBody>
          <a:bodyPr wrap="square" rtlCol="0">
            <a:spAutoFit/>
          </a:bodyPr>
          <a:lstStyle/>
          <a:p>
            <a:pPr algn="ctr"/>
            <a:r>
              <a:rPr lang="en-US" altLang="zh-CN" sz="1000" dirty="0">
                <a:solidFill>
                  <a:srgbClr val="22010D"/>
                </a:solidFill>
                <a:latin typeface="微软雅黑" panose="020B0503020204020204" pitchFamily="34" charset="-122"/>
                <a:ea typeface="微软雅黑" panose="020B0503020204020204" pitchFamily="34" charset="-122"/>
              </a:rPr>
              <a:t>Your content to play here, or through your copy, paste in this box, and select only </a:t>
            </a:r>
          </a:p>
          <a:p>
            <a:pPr algn="ctr"/>
            <a:r>
              <a:rPr lang="en-US" altLang="zh-CN" sz="1000" dirty="0">
                <a:solidFill>
                  <a:srgbClr val="22010D"/>
                </a:solidFill>
                <a:latin typeface="微软雅黑" panose="020B0503020204020204" pitchFamily="34" charset="-122"/>
                <a:ea typeface="微软雅黑" panose="020B0503020204020204" pitchFamily="34" charset="-122"/>
              </a:rPr>
              <a:t>the text. Your content to play here, or through your copy, paste in </a:t>
            </a:r>
          </a:p>
          <a:p>
            <a:pPr algn="ctr"/>
            <a:r>
              <a:rPr lang="en-US" altLang="zh-CN" sz="1000" dirty="0">
                <a:solidFill>
                  <a:srgbClr val="22010D"/>
                </a:solidFill>
                <a:latin typeface="微软雅黑" panose="020B0503020204020204" pitchFamily="34" charset="-122"/>
                <a:ea typeface="微软雅黑" panose="020B0503020204020204" pitchFamily="34" charset="-122"/>
              </a:rPr>
              <a:t>this box, and select only the text.</a:t>
            </a:r>
          </a:p>
        </p:txBody>
      </p:sp>
      <p:pic>
        <p:nvPicPr>
          <p:cNvPr id="8" name="July - 봄의 태양">
            <a:hlinkClick r:id="" action="ppaction://media"/>
          </p:cNvPr>
          <p:cNvPicPr>
            <a:picLocks noChangeAspect="1"/>
          </p:cNvPicPr>
          <p:nvPr>
            <a:videoFile r:link="rId1"/>
            <p:extLst>
              <p:ext uri="{DAA4B4D4-6D71-4841-9C94-3DE7FCFB9230}">
                <p14:media xmlns:p14="http://schemas.microsoft.com/office/powerpoint/2010/main" xmlns="" r:embed="rId5"/>
              </p:ext>
            </p:extLst>
          </p:nvPr>
        </p:nvPicPr>
        <p:blipFill>
          <a:blip r:embed="rId6" cstate="print"/>
          <a:stretch>
            <a:fillRect/>
          </a:stretch>
        </p:blipFill>
        <p:spPr>
          <a:xfrm>
            <a:off x="8818237" y="-2221523"/>
            <a:ext cx="609600" cy="609600"/>
          </a:xfrm>
          <a:prstGeom prst="rect">
            <a:avLst/>
          </a:prstGeom>
        </p:spPr>
      </p:pic>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8"/>
                                        </p:tgtEl>
                                      </p:cBhvr>
                                    </p:cmd>
                                  </p:childTnLst>
                                </p:cTn>
                              </p:par>
                              <p:par>
                                <p:cTn id="7" presetID="16" presetClass="entr" presetSubtype="21"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barn(inVertical)">
                                      <p:cBhvr>
                                        <p:cTn id="9" dur="500"/>
                                        <p:tgtEl>
                                          <p:spTgt spid="2"/>
                                        </p:tgtEl>
                                      </p:cBhvr>
                                    </p:animEffect>
                                  </p:childTnLst>
                                </p:cTn>
                              </p:par>
                            </p:childTnLst>
                          </p:cTn>
                        </p:par>
                        <p:par>
                          <p:cTn id="10" fill="hold">
                            <p:stCondLst>
                              <p:cond delay="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par>
                          <p:cTn id="14" fill="hold">
                            <p:stCondLst>
                              <p:cond delay="500"/>
                            </p:stCondLst>
                            <p:childTnLst>
                              <p:par>
                                <p:cTn id="15" presetID="16" presetClass="entr" presetSubtype="21" fill="hold" grpId="0"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barn(inVertical)">
                                      <p:cBhvr>
                                        <p:cTn id="17" dur="500"/>
                                        <p:tgtEl>
                                          <p:spTgt spid="4"/>
                                        </p:tgtEl>
                                      </p:cBhvr>
                                    </p:animEffect>
                                  </p:childTnLst>
                                </p:cTn>
                              </p:par>
                            </p:childTnLst>
                          </p:cTn>
                        </p:par>
                        <p:par>
                          <p:cTn id="18" fill="hold">
                            <p:stCondLst>
                              <p:cond delay="1000"/>
                            </p:stCondLst>
                            <p:childTnLst>
                              <p:par>
                                <p:cTn id="19" presetID="16" presetClass="entr" presetSubtype="37"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barn(outVertical)">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numSld="99">
                <p:cTn id="22" repeatCount="indefinite" fill="hold" display="0">
                  <p:stCondLst>
                    <p:cond delay="indefinite"/>
                  </p:stCondLst>
                  <p:endCondLst>
                    <p:cond evt="onStopAudio" delay="0">
                      <p:tgtEl>
                        <p:sldTgt/>
                      </p:tgtEl>
                    </p:cond>
                  </p:endCondLst>
                </p:cTn>
                <p:tgtEl>
                  <p:spTgt spid="8"/>
                </p:tgtEl>
              </p:cMediaNode>
            </p:video>
          </p:childTnLst>
        </p:cTn>
      </p:par>
    </p:tnLst>
    <p:bldLst>
      <p:bldP spid="2" grpId="0" animBg="1"/>
      <p:bldP spid="3" grpId="0"/>
      <p:bldP spid="4" grpId="0"/>
      <p:bldP spid="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1839959" y="3984276"/>
            <a:ext cx="9369519" cy="1087001"/>
            <a:chOff x="1855445" y="3927410"/>
            <a:chExt cx="9370739" cy="1087001"/>
          </a:xfrm>
        </p:grpSpPr>
        <p:sp>
          <p:nvSpPr>
            <p:cNvPr id="93" name="Notched Right Arrow 37"/>
            <p:cNvSpPr/>
            <p:nvPr/>
          </p:nvSpPr>
          <p:spPr>
            <a:xfrm>
              <a:off x="1855445" y="3927410"/>
              <a:ext cx="9370739" cy="1087001"/>
            </a:xfrm>
            <a:prstGeom prst="notchedRightArrow">
              <a:avLst>
                <a:gd name="adj1" fmla="val 100000"/>
                <a:gd name="adj2" fmla="val 46001"/>
              </a:avLst>
            </a:prstGeom>
            <a:solidFill>
              <a:srgbClr val="CBC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dirty="0">
                <a:solidFill>
                  <a:schemeClr val="tx1">
                    <a:lumMod val="85000"/>
                    <a:lumOff val="15000"/>
                  </a:schemeClr>
                </a:solidFill>
              </a:endParaRPr>
            </a:p>
          </p:txBody>
        </p:sp>
        <p:sp>
          <p:nvSpPr>
            <p:cNvPr id="95" name="Oval 41"/>
            <p:cNvSpPr>
              <a:spLocks noChangeAspect="1"/>
            </p:cNvSpPr>
            <p:nvPr/>
          </p:nvSpPr>
          <p:spPr>
            <a:xfrm>
              <a:off x="10150853" y="4123788"/>
              <a:ext cx="694248" cy="694244"/>
            </a:xfrm>
            <a:prstGeom prst="ellipse">
              <a:avLst/>
            </a:prstGeom>
            <a:solidFill>
              <a:srgbClr val="CBCBCB"/>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85000"/>
                      <a:lumOff val="15000"/>
                    </a:schemeClr>
                  </a:solidFill>
                  <a:latin typeface="Impact" panose="020B0806030902050204" pitchFamily="34" charset="0"/>
                </a:rPr>
                <a:t>03</a:t>
              </a:r>
            </a:p>
          </p:txBody>
        </p:sp>
      </p:grpSp>
      <p:sp>
        <p:nvSpPr>
          <p:cNvPr id="36" name="TextBox 59"/>
          <p:cNvSpPr txBox="1">
            <a:spLocks noChangeArrowheads="1"/>
          </p:cNvSpPr>
          <p:nvPr/>
        </p:nvSpPr>
        <p:spPr bwMode="auto">
          <a:xfrm flipH="1">
            <a:off x="2531983" y="4092241"/>
            <a:ext cx="2395013" cy="400101"/>
          </a:xfrm>
          <a:prstGeom prst="rect">
            <a:avLst/>
          </a:prstGeom>
          <a:noFill/>
          <a:ln>
            <a:noFill/>
          </a:ln>
        </p:spPr>
        <p:txBody>
          <a:bodyPr wrap="square" lIns="91431" tIns="45716" rIns="91431" bIns="4571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点击添加关键字</a:t>
            </a:r>
            <a:endParaRPr lang="en-US" altLang="ko-KR" sz="2000" kern="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43" name="矩形 42"/>
          <p:cNvSpPr>
            <a:spLocks noChangeArrowheads="1"/>
          </p:cNvSpPr>
          <p:nvPr/>
        </p:nvSpPr>
        <p:spPr bwMode="auto">
          <a:xfrm>
            <a:off x="2545630" y="4448385"/>
            <a:ext cx="7549783" cy="548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p>
            <a:pPr>
              <a:lnSpc>
                <a:spcPct val="114000"/>
              </a:lnSpc>
            </a:pPr>
            <a:r>
              <a:rPr lang="zh-CN" altLang="en-US" sz="1300" dirty="0">
                <a:solidFill>
                  <a:schemeClr val="tx1">
                    <a:lumMod val="85000"/>
                    <a:lumOff val="15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综合描述说明，在此录入上述图表的综合描述说明，在此录入上述图表的综合描述说明，在此录入上述图表的综合描述说明。</a:t>
            </a:r>
            <a:endParaRPr lang="zh-CN" altLang="en-US" sz="1300" dirty="0">
              <a:solidFill>
                <a:schemeClr val="tx1">
                  <a:lumMod val="85000"/>
                  <a:lumOff val="15000"/>
                </a:schemeClr>
              </a:solidFill>
            </a:endParaRPr>
          </a:p>
        </p:txBody>
      </p:sp>
      <p:grpSp>
        <p:nvGrpSpPr>
          <p:cNvPr id="22" name="组合 21"/>
          <p:cNvGrpSpPr/>
          <p:nvPr/>
        </p:nvGrpSpPr>
        <p:grpSpPr>
          <a:xfrm>
            <a:off x="797" y="3984277"/>
            <a:ext cx="2134931" cy="1087000"/>
            <a:chOff x="1" y="3916719"/>
            <a:chExt cx="2135209" cy="1087000"/>
          </a:xfrm>
        </p:grpSpPr>
        <p:sp>
          <p:nvSpPr>
            <p:cNvPr id="66" name="任意多边形 65"/>
            <p:cNvSpPr/>
            <p:nvPr/>
          </p:nvSpPr>
          <p:spPr>
            <a:xfrm rot="16200000">
              <a:off x="524106" y="3392614"/>
              <a:ext cx="1087000" cy="2135209"/>
            </a:xfrm>
            <a:custGeom>
              <a:avLst/>
              <a:gdLst>
                <a:gd name="connsiteX0" fmla="*/ 1087000 w 1087000"/>
                <a:gd name="connsiteY0" fmla="*/ 0 h 2135209"/>
                <a:gd name="connsiteX1" fmla="*/ 1087000 w 1087000"/>
                <a:gd name="connsiteY1" fmla="*/ 1635179 h 2135209"/>
                <a:gd name="connsiteX2" fmla="*/ 543501 w 1087000"/>
                <a:gd name="connsiteY2" fmla="*/ 2135209 h 2135209"/>
                <a:gd name="connsiteX3" fmla="*/ 0 w 1087000"/>
                <a:gd name="connsiteY3" fmla="*/ 1635178 h 2135209"/>
                <a:gd name="connsiteX4" fmla="*/ 0 w 1087000"/>
                <a:gd name="connsiteY4" fmla="*/ 0 h 2135209"/>
                <a:gd name="connsiteX5" fmla="*/ 1087000 w 1087000"/>
                <a:gd name="connsiteY5" fmla="*/ 0 h 213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7000" h="2135209">
                  <a:moveTo>
                    <a:pt x="1087000" y="0"/>
                  </a:moveTo>
                  <a:lnTo>
                    <a:pt x="1087000" y="1635179"/>
                  </a:lnTo>
                  <a:lnTo>
                    <a:pt x="543501" y="2135209"/>
                  </a:lnTo>
                  <a:lnTo>
                    <a:pt x="0" y="1635178"/>
                  </a:lnTo>
                  <a:lnTo>
                    <a:pt x="0" y="0"/>
                  </a:lnTo>
                  <a:lnTo>
                    <a:pt x="108700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rtlCol="0" anchor="ctr">
              <a:noAutofit/>
            </a:bodyPr>
            <a:lstStyle/>
            <a:p>
              <a:pPr algn="ctr"/>
              <a:endParaRPr lang="en-US" sz="4265" dirty="0">
                <a:solidFill>
                  <a:schemeClr val="bg1"/>
                </a:solidFill>
              </a:endParaRPr>
            </a:p>
          </p:txBody>
        </p:sp>
        <p:sp>
          <p:nvSpPr>
            <p:cNvPr id="59" name="Freeform 129"/>
            <p:cNvSpPr>
              <a:spLocks noChangeAspect="1" noEditPoints="1"/>
            </p:cNvSpPr>
            <p:nvPr/>
          </p:nvSpPr>
          <p:spPr bwMode="auto">
            <a:xfrm>
              <a:off x="790061" y="4134547"/>
              <a:ext cx="651342" cy="651342"/>
            </a:xfrm>
            <a:custGeom>
              <a:avLst/>
              <a:gdLst>
                <a:gd name="T0" fmla="*/ 48 w 97"/>
                <a:gd name="T1" fmla="*/ 0 h 97"/>
                <a:gd name="T2" fmla="*/ 50 w 97"/>
                <a:gd name="T3" fmla="*/ 0 h 97"/>
                <a:gd name="T4" fmla="*/ 53 w 97"/>
                <a:gd name="T5" fmla="*/ 27 h 97"/>
                <a:gd name="T6" fmla="*/ 49 w 97"/>
                <a:gd name="T7" fmla="*/ 33 h 97"/>
                <a:gd name="T8" fmla="*/ 49 w 97"/>
                <a:gd name="T9" fmla="*/ 34 h 97"/>
                <a:gd name="T10" fmla="*/ 37 w 97"/>
                <a:gd name="T11" fmla="*/ 40 h 97"/>
                <a:gd name="T12" fmla="*/ 23 w 97"/>
                <a:gd name="T13" fmla="*/ 46 h 97"/>
                <a:gd name="T14" fmla="*/ 18 w 97"/>
                <a:gd name="T15" fmla="*/ 43 h 97"/>
                <a:gd name="T16" fmla="*/ 13 w 97"/>
                <a:gd name="T17" fmla="*/ 45 h 97"/>
                <a:gd name="T18" fmla="*/ 1 w 97"/>
                <a:gd name="T19" fmla="*/ 38 h 97"/>
                <a:gd name="T20" fmla="*/ 48 w 97"/>
                <a:gd name="T21" fmla="*/ 0 h 97"/>
                <a:gd name="T22" fmla="*/ 57 w 97"/>
                <a:gd name="T23" fmla="*/ 1 h 97"/>
                <a:gd name="T24" fmla="*/ 81 w 97"/>
                <a:gd name="T25" fmla="*/ 12 h 97"/>
                <a:gd name="T26" fmla="*/ 61 w 97"/>
                <a:gd name="T27" fmla="*/ 27 h 97"/>
                <a:gd name="T28" fmla="*/ 60 w 97"/>
                <a:gd name="T29" fmla="*/ 26 h 97"/>
                <a:gd name="T30" fmla="*/ 57 w 97"/>
                <a:gd name="T31" fmla="*/ 1 h 97"/>
                <a:gd name="T32" fmla="*/ 86 w 97"/>
                <a:gd name="T33" fmla="*/ 17 h 97"/>
                <a:gd name="T34" fmla="*/ 65 w 97"/>
                <a:gd name="T35" fmla="*/ 33 h 97"/>
                <a:gd name="T36" fmla="*/ 65 w 97"/>
                <a:gd name="T37" fmla="*/ 33 h 97"/>
                <a:gd name="T38" fmla="*/ 59 w 97"/>
                <a:gd name="T39" fmla="*/ 40 h 97"/>
                <a:gd name="T40" fmla="*/ 59 w 97"/>
                <a:gd name="T41" fmla="*/ 45 h 97"/>
                <a:gd name="T42" fmla="*/ 57 w 97"/>
                <a:gd name="T43" fmla="*/ 63 h 97"/>
                <a:gd name="T44" fmla="*/ 60 w 97"/>
                <a:gd name="T45" fmla="*/ 68 h 97"/>
                <a:gd name="T46" fmla="*/ 89 w 97"/>
                <a:gd name="T47" fmla="*/ 75 h 97"/>
                <a:gd name="T48" fmla="*/ 97 w 97"/>
                <a:gd name="T49" fmla="*/ 48 h 97"/>
                <a:gd name="T50" fmla="*/ 86 w 97"/>
                <a:gd name="T51" fmla="*/ 17 h 97"/>
                <a:gd name="T52" fmla="*/ 85 w 97"/>
                <a:gd name="T53" fmla="*/ 81 h 97"/>
                <a:gd name="T54" fmla="*/ 49 w 97"/>
                <a:gd name="T55" fmla="*/ 97 h 97"/>
                <a:gd name="T56" fmla="*/ 54 w 97"/>
                <a:gd name="T57" fmla="*/ 77 h 97"/>
                <a:gd name="T58" fmla="*/ 58 w 97"/>
                <a:gd name="T59" fmla="*/ 74 h 97"/>
                <a:gd name="T60" fmla="*/ 85 w 97"/>
                <a:gd name="T61" fmla="*/ 81 h 97"/>
                <a:gd name="T62" fmla="*/ 42 w 97"/>
                <a:gd name="T63" fmla="*/ 97 h 97"/>
                <a:gd name="T64" fmla="*/ 1 w 97"/>
                <a:gd name="T65" fmla="*/ 60 h 97"/>
                <a:gd name="T66" fmla="*/ 12 w 97"/>
                <a:gd name="T67" fmla="*/ 57 h 97"/>
                <a:gd name="T68" fmla="*/ 18 w 97"/>
                <a:gd name="T69" fmla="*/ 59 h 97"/>
                <a:gd name="T70" fmla="*/ 21 w 97"/>
                <a:gd name="T71" fmla="*/ 58 h 97"/>
                <a:gd name="T72" fmla="*/ 45 w 97"/>
                <a:gd name="T73" fmla="*/ 70 h 97"/>
                <a:gd name="T74" fmla="*/ 48 w 97"/>
                <a:gd name="T75" fmla="*/ 75 h 97"/>
                <a:gd name="T76" fmla="*/ 42 w 97"/>
                <a:gd name="T77" fmla="*/ 97 h 97"/>
                <a:gd name="T78" fmla="*/ 0 w 97"/>
                <a:gd name="T79" fmla="*/ 53 h 97"/>
                <a:gd name="T80" fmla="*/ 8 w 97"/>
                <a:gd name="T81" fmla="*/ 51 h 97"/>
                <a:gd name="T82" fmla="*/ 0 w 97"/>
                <a:gd name="T83" fmla="*/ 45 h 97"/>
                <a:gd name="T84" fmla="*/ 0 w 97"/>
                <a:gd name="T85" fmla="*/ 48 h 97"/>
                <a:gd name="T86" fmla="*/ 0 w 97"/>
                <a:gd name="T87" fmla="*/ 53 h 97"/>
                <a:gd name="T88" fmla="*/ 52 w 97"/>
                <a:gd name="T89" fmla="*/ 40 h 97"/>
                <a:gd name="T90" fmla="*/ 40 w 97"/>
                <a:gd name="T91" fmla="*/ 46 h 97"/>
                <a:gd name="T92" fmla="*/ 25 w 97"/>
                <a:gd name="T93" fmla="*/ 52 h 97"/>
                <a:gd name="T94" fmla="*/ 25 w 97"/>
                <a:gd name="T95" fmla="*/ 52 h 97"/>
                <a:gd name="T96" fmla="*/ 48 w 97"/>
                <a:gd name="T97" fmla="*/ 63 h 97"/>
                <a:gd name="T98" fmla="*/ 50 w 97"/>
                <a:gd name="T99" fmla="*/ 62 h 97"/>
                <a:gd name="T100" fmla="*/ 52 w 97"/>
                <a:gd name="T101" fmla="*/ 44 h 97"/>
                <a:gd name="T102" fmla="*/ 52 w 97"/>
                <a:gd name="T103" fmla="*/ 4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 h="97">
                  <a:moveTo>
                    <a:pt x="48" y="0"/>
                  </a:moveTo>
                  <a:cubicBezTo>
                    <a:pt x="49" y="0"/>
                    <a:pt x="50" y="0"/>
                    <a:pt x="50" y="0"/>
                  </a:cubicBezTo>
                  <a:cubicBezTo>
                    <a:pt x="52" y="9"/>
                    <a:pt x="53" y="18"/>
                    <a:pt x="53" y="27"/>
                  </a:cubicBezTo>
                  <a:cubicBezTo>
                    <a:pt x="51" y="28"/>
                    <a:pt x="49" y="30"/>
                    <a:pt x="49" y="33"/>
                  </a:cubicBezTo>
                  <a:cubicBezTo>
                    <a:pt x="49" y="33"/>
                    <a:pt x="49" y="34"/>
                    <a:pt x="49" y="34"/>
                  </a:cubicBezTo>
                  <a:cubicBezTo>
                    <a:pt x="45" y="36"/>
                    <a:pt x="41" y="38"/>
                    <a:pt x="37" y="40"/>
                  </a:cubicBezTo>
                  <a:cubicBezTo>
                    <a:pt x="33" y="42"/>
                    <a:pt x="28" y="44"/>
                    <a:pt x="23" y="46"/>
                  </a:cubicBezTo>
                  <a:cubicBezTo>
                    <a:pt x="22" y="44"/>
                    <a:pt x="20" y="43"/>
                    <a:pt x="18" y="43"/>
                  </a:cubicBezTo>
                  <a:cubicBezTo>
                    <a:pt x="16" y="43"/>
                    <a:pt x="14" y="44"/>
                    <a:pt x="13" y="45"/>
                  </a:cubicBezTo>
                  <a:cubicBezTo>
                    <a:pt x="9" y="43"/>
                    <a:pt x="5" y="40"/>
                    <a:pt x="1" y="38"/>
                  </a:cubicBezTo>
                  <a:cubicBezTo>
                    <a:pt x="6" y="16"/>
                    <a:pt x="25" y="0"/>
                    <a:pt x="48" y="0"/>
                  </a:cubicBezTo>
                  <a:close/>
                  <a:moveTo>
                    <a:pt x="57" y="1"/>
                  </a:moveTo>
                  <a:cubicBezTo>
                    <a:pt x="66" y="2"/>
                    <a:pt x="74" y="6"/>
                    <a:pt x="81" y="12"/>
                  </a:cubicBezTo>
                  <a:cubicBezTo>
                    <a:pt x="75" y="17"/>
                    <a:pt x="68" y="22"/>
                    <a:pt x="61" y="27"/>
                  </a:cubicBezTo>
                  <a:cubicBezTo>
                    <a:pt x="61" y="26"/>
                    <a:pt x="60" y="26"/>
                    <a:pt x="60" y="26"/>
                  </a:cubicBezTo>
                  <a:cubicBezTo>
                    <a:pt x="60" y="17"/>
                    <a:pt x="59" y="9"/>
                    <a:pt x="57" y="1"/>
                  </a:cubicBezTo>
                  <a:close/>
                  <a:moveTo>
                    <a:pt x="86" y="17"/>
                  </a:moveTo>
                  <a:cubicBezTo>
                    <a:pt x="79" y="23"/>
                    <a:pt x="72" y="28"/>
                    <a:pt x="65" y="33"/>
                  </a:cubicBezTo>
                  <a:cubicBezTo>
                    <a:pt x="65" y="33"/>
                    <a:pt x="65" y="33"/>
                    <a:pt x="65" y="33"/>
                  </a:cubicBezTo>
                  <a:cubicBezTo>
                    <a:pt x="65" y="36"/>
                    <a:pt x="62" y="39"/>
                    <a:pt x="59" y="40"/>
                  </a:cubicBezTo>
                  <a:cubicBezTo>
                    <a:pt x="59" y="42"/>
                    <a:pt x="59" y="43"/>
                    <a:pt x="59" y="45"/>
                  </a:cubicBezTo>
                  <a:cubicBezTo>
                    <a:pt x="59" y="51"/>
                    <a:pt x="58" y="57"/>
                    <a:pt x="57" y="63"/>
                  </a:cubicBezTo>
                  <a:cubicBezTo>
                    <a:pt x="59" y="64"/>
                    <a:pt x="60" y="66"/>
                    <a:pt x="60" y="68"/>
                  </a:cubicBezTo>
                  <a:cubicBezTo>
                    <a:pt x="70" y="71"/>
                    <a:pt x="80" y="73"/>
                    <a:pt x="89" y="75"/>
                  </a:cubicBezTo>
                  <a:cubicBezTo>
                    <a:pt x="94" y="67"/>
                    <a:pt x="97" y="58"/>
                    <a:pt x="97" y="48"/>
                  </a:cubicBezTo>
                  <a:cubicBezTo>
                    <a:pt x="97" y="36"/>
                    <a:pt x="93" y="25"/>
                    <a:pt x="86" y="17"/>
                  </a:cubicBezTo>
                  <a:close/>
                  <a:moveTo>
                    <a:pt x="85" y="81"/>
                  </a:moveTo>
                  <a:cubicBezTo>
                    <a:pt x="76" y="91"/>
                    <a:pt x="63" y="97"/>
                    <a:pt x="49" y="97"/>
                  </a:cubicBezTo>
                  <a:cubicBezTo>
                    <a:pt x="51" y="90"/>
                    <a:pt x="53" y="83"/>
                    <a:pt x="54" y="77"/>
                  </a:cubicBezTo>
                  <a:cubicBezTo>
                    <a:pt x="56" y="76"/>
                    <a:pt x="57" y="75"/>
                    <a:pt x="58" y="74"/>
                  </a:cubicBezTo>
                  <a:cubicBezTo>
                    <a:pt x="67" y="77"/>
                    <a:pt x="76" y="79"/>
                    <a:pt x="85" y="81"/>
                  </a:cubicBezTo>
                  <a:close/>
                  <a:moveTo>
                    <a:pt x="42" y="97"/>
                  </a:moveTo>
                  <a:cubicBezTo>
                    <a:pt x="22" y="94"/>
                    <a:pt x="6" y="79"/>
                    <a:pt x="1" y="60"/>
                  </a:cubicBezTo>
                  <a:cubicBezTo>
                    <a:pt x="5" y="59"/>
                    <a:pt x="9" y="58"/>
                    <a:pt x="12" y="57"/>
                  </a:cubicBezTo>
                  <a:cubicBezTo>
                    <a:pt x="14" y="58"/>
                    <a:pt x="16" y="59"/>
                    <a:pt x="18" y="59"/>
                  </a:cubicBezTo>
                  <a:cubicBezTo>
                    <a:pt x="19" y="59"/>
                    <a:pt x="20" y="58"/>
                    <a:pt x="21" y="58"/>
                  </a:cubicBezTo>
                  <a:cubicBezTo>
                    <a:pt x="29" y="62"/>
                    <a:pt x="37" y="66"/>
                    <a:pt x="45" y="70"/>
                  </a:cubicBezTo>
                  <a:cubicBezTo>
                    <a:pt x="45" y="72"/>
                    <a:pt x="46" y="73"/>
                    <a:pt x="48" y="75"/>
                  </a:cubicBezTo>
                  <a:cubicBezTo>
                    <a:pt x="46" y="82"/>
                    <a:pt x="44" y="89"/>
                    <a:pt x="42" y="97"/>
                  </a:cubicBezTo>
                  <a:close/>
                  <a:moveTo>
                    <a:pt x="0" y="53"/>
                  </a:moveTo>
                  <a:cubicBezTo>
                    <a:pt x="3" y="52"/>
                    <a:pt x="5" y="51"/>
                    <a:pt x="8" y="51"/>
                  </a:cubicBezTo>
                  <a:cubicBezTo>
                    <a:pt x="5" y="49"/>
                    <a:pt x="3" y="47"/>
                    <a:pt x="0" y="45"/>
                  </a:cubicBezTo>
                  <a:cubicBezTo>
                    <a:pt x="0" y="46"/>
                    <a:pt x="0" y="47"/>
                    <a:pt x="0" y="48"/>
                  </a:cubicBezTo>
                  <a:cubicBezTo>
                    <a:pt x="0" y="50"/>
                    <a:pt x="0" y="51"/>
                    <a:pt x="0" y="53"/>
                  </a:cubicBezTo>
                  <a:close/>
                  <a:moveTo>
                    <a:pt x="52" y="40"/>
                  </a:moveTo>
                  <a:cubicBezTo>
                    <a:pt x="48" y="42"/>
                    <a:pt x="44" y="44"/>
                    <a:pt x="40" y="46"/>
                  </a:cubicBezTo>
                  <a:cubicBezTo>
                    <a:pt x="35" y="48"/>
                    <a:pt x="30" y="50"/>
                    <a:pt x="25" y="52"/>
                  </a:cubicBezTo>
                  <a:cubicBezTo>
                    <a:pt x="25" y="52"/>
                    <a:pt x="25" y="52"/>
                    <a:pt x="25" y="52"/>
                  </a:cubicBezTo>
                  <a:cubicBezTo>
                    <a:pt x="33" y="56"/>
                    <a:pt x="40" y="60"/>
                    <a:pt x="48" y="63"/>
                  </a:cubicBezTo>
                  <a:cubicBezTo>
                    <a:pt x="48" y="63"/>
                    <a:pt x="49" y="62"/>
                    <a:pt x="50" y="62"/>
                  </a:cubicBezTo>
                  <a:cubicBezTo>
                    <a:pt x="51" y="56"/>
                    <a:pt x="52" y="50"/>
                    <a:pt x="52" y="44"/>
                  </a:cubicBezTo>
                  <a:cubicBezTo>
                    <a:pt x="52" y="43"/>
                    <a:pt x="52" y="42"/>
                    <a:pt x="52" y="40"/>
                  </a:cubicBezTo>
                  <a:close/>
                </a:path>
              </a:pathLst>
            </a:custGeom>
            <a:solidFill>
              <a:schemeClr val="bg1"/>
            </a:solidFill>
            <a:ln>
              <a:noFill/>
            </a:ln>
          </p:spPr>
          <p:txBody>
            <a:bodyPr vert="horz" wrap="square" lIns="91440" tIns="45720" rIns="91440" bIns="45720" numCol="1" anchor="t" anchorCtr="0" compatLnSpc="1"/>
            <a:lstStyle/>
            <a:p>
              <a:endParaRPr lang="zh-CN" altLang="en-US">
                <a:solidFill>
                  <a:schemeClr val="bg1"/>
                </a:solidFill>
                <a:latin typeface="Arial" panose="020B0604020202020204" pitchFamily="34" charset="0"/>
                <a:cs typeface="Arial" panose="020B0604020202020204" pitchFamily="34" charset="0"/>
              </a:endParaRPr>
            </a:p>
          </p:txBody>
        </p:sp>
      </p:grpSp>
      <p:grpSp>
        <p:nvGrpSpPr>
          <p:cNvPr id="11" name="组合 10"/>
          <p:cNvGrpSpPr/>
          <p:nvPr/>
        </p:nvGrpSpPr>
        <p:grpSpPr>
          <a:xfrm>
            <a:off x="966486" y="2740638"/>
            <a:ext cx="9369519" cy="1087000"/>
            <a:chOff x="949774" y="2662385"/>
            <a:chExt cx="9370739" cy="1087000"/>
          </a:xfrm>
        </p:grpSpPr>
        <p:sp>
          <p:nvSpPr>
            <p:cNvPr id="81" name="Notched Right Arrow 24"/>
            <p:cNvSpPr/>
            <p:nvPr/>
          </p:nvSpPr>
          <p:spPr>
            <a:xfrm rot="10800000">
              <a:off x="949774" y="2662385"/>
              <a:ext cx="9370739" cy="1087000"/>
            </a:xfrm>
            <a:prstGeom prst="notchedRightArrow">
              <a:avLst>
                <a:gd name="adj1" fmla="val 100000"/>
                <a:gd name="adj2" fmla="val 46000"/>
              </a:avLst>
            </a:prstGeom>
            <a:solidFill>
              <a:srgbClr val="CBC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dirty="0">
                <a:solidFill>
                  <a:schemeClr val="tx1">
                    <a:lumMod val="85000"/>
                    <a:lumOff val="15000"/>
                  </a:schemeClr>
                </a:solidFill>
              </a:endParaRPr>
            </a:p>
          </p:txBody>
        </p:sp>
        <p:sp>
          <p:nvSpPr>
            <p:cNvPr id="83" name="Oval 31"/>
            <p:cNvSpPr>
              <a:spLocks noChangeAspect="1"/>
            </p:cNvSpPr>
            <p:nvPr/>
          </p:nvSpPr>
          <p:spPr>
            <a:xfrm>
              <a:off x="1337222" y="2858763"/>
              <a:ext cx="694248" cy="694244"/>
            </a:xfrm>
            <a:prstGeom prst="ellipse">
              <a:avLst/>
            </a:prstGeom>
            <a:solidFill>
              <a:srgbClr val="CBCBCB"/>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85000"/>
                      <a:lumOff val="15000"/>
                    </a:schemeClr>
                  </a:solidFill>
                  <a:latin typeface="Impact" panose="020B0806030902050204" pitchFamily="34" charset="0"/>
                </a:rPr>
                <a:t>02</a:t>
              </a:r>
            </a:p>
          </p:txBody>
        </p:sp>
      </p:grpSp>
      <p:sp>
        <p:nvSpPr>
          <p:cNvPr id="57" name="TextBox 59"/>
          <p:cNvSpPr txBox="1">
            <a:spLocks noChangeArrowheads="1"/>
          </p:cNvSpPr>
          <p:nvPr/>
        </p:nvSpPr>
        <p:spPr bwMode="auto">
          <a:xfrm flipH="1">
            <a:off x="7224069" y="2851194"/>
            <a:ext cx="2395013" cy="400101"/>
          </a:xfrm>
          <a:prstGeom prst="rect">
            <a:avLst/>
          </a:prstGeom>
          <a:noFill/>
          <a:ln>
            <a:noFill/>
          </a:ln>
        </p:spPr>
        <p:txBody>
          <a:bodyPr wrap="square" lIns="91431" tIns="45716" rIns="91431" bIns="4571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a:defRPr/>
            </a:pP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点击添加关键字</a:t>
            </a:r>
            <a:endParaRPr lang="en-US" altLang="ko-KR" sz="2000" kern="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58" name="矩形 57"/>
          <p:cNvSpPr>
            <a:spLocks noChangeArrowheads="1"/>
          </p:cNvSpPr>
          <p:nvPr/>
        </p:nvSpPr>
        <p:spPr bwMode="auto">
          <a:xfrm>
            <a:off x="2069299" y="3207338"/>
            <a:ext cx="7549783" cy="548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p>
            <a:pPr algn="r">
              <a:lnSpc>
                <a:spcPct val="114000"/>
              </a:lnSpc>
            </a:pPr>
            <a:r>
              <a:rPr lang="zh-CN" altLang="en-US" sz="1300" dirty="0">
                <a:solidFill>
                  <a:schemeClr val="tx1">
                    <a:lumMod val="85000"/>
                    <a:lumOff val="15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综合描述说明，在此录入上述图表的综合描述说明，在此录入上述图表的综合描述说明，在此录入上述图表的综合描述说明，在此录入上述图表的综合描述说明。</a:t>
            </a:r>
            <a:endParaRPr lang="zh-CN" altLang="en-US" sz="1300" dirty="0">
              <a:solidFill>
                <a:schemeClr val="tx1">
                  <a:lumMod val="85000"/>
                  <a:lumOff val="15000"/>
                </a:schemeClr>
              </a:solidFill>
            </a:endParaRPr>
          </a:p>
        </p:txBody>
      </p:sp>
      <p:sp>
        <p:nvSpPr>
          <p:cNvPr id="54" name="任意多边形 53"/>
          <p:cNvSpPr/>
          <p:nvPr/>
        </p:nvSpPr>
        <p:spPr>
          <a:xfrm rot="5400000">
            <a:off x="11112830" y="3282758"/>
            <a:ext cx="5988" cy="2760"/>
          </a:xfrm>
          <a:custGeom>
            <a:avLst/>
            <a:gdLst>
              <a:gd name="connsiteX0" fmla="*/ 0 w 5988"/>
              <a:gd name="connsiteY0" fmla="*/ 0 h 2760"/>
              <a:gd name="connsiteX1" fmla="*/ 3001 w 5988"/>
              <a:gd name="connsiteY1" fmla="*/ 2375 h 2760"/>
              <a:gd name="connsiteX2" fmla="*/ 5988 w 5988"/>
              <a:gd name="connsiteY2" fmla="*/ 11 h 2760"/>
              <a:gd name="connsiteX3" fmla="*/ 3000 w 5988"/>
              <a:gd name="connsiteY3" fmla="*/ 2760 h 2760"/>
              <a:gd name="connsiteX4" fmla="*/ 0 w 5988"/>
              <a:gd name="connsiteY4" fmla="*/ 0 h 2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8" h="2760">
                <a:moveTo>
                  <a:pt x="0" y="0"/>
                </a:moveTo>
                <a:lnTo>
                  <a:pt x="3001" y="2375"/>
                </a:lnTo>
                <a:lnTo>
                  <a:pt x="5988" y="11"/>
                </a:lnTo>
                <a:lnTo>
                  <a:pt x="3000" y="2760"/>
                </a:lnTo>
                <a:lnTo>
                  <a:pt x="0" y="0"/>
                </a:lnTo>
                <a:close/>
              </a:path>
            </a:pathLst>
          </a:custGeom>
          <a:solidFill>
            <a:srgbClr val="B7B32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a:endParaRPr lang="en-US" sz="4265" dirty="0">
              <a:solidFill>
                <a:schemeClr val="bg1"/>
              </a:solidFill>
            </a:endParaRPr>
          </a:p>
        </p:txBody>
      </p:sp>
      <p:grpSp>
        <p:nvGrpSpPr>
          <p:cNvPr id="24" name="组合 23"/>
          <p:cNvGrpSpPr/>
          <p:nvPr/>
        </p:nvGrpSpPr>
        <p:grpSpPr>
          <a:xfrm>
            <a:off x="10040635" y="2740640"/>
            <a:ext cx="2150381" cy="1087001"/>
            <a:chOff x="10041147" y="2673080"/>
            <a:chExt cx="2150661" cy="1087001"/>
          </a:xfrm>
        </p:grpSpPr>
        <p:sp>
          <p:nvSpPr>
            <p:cNvPr id="51" name="任意多边形 50"/>
            <p:cNvSpPr/>
            <p:nvPr/>
          </p:nvSpPr>
          <p:spPr>
            <a:xfrm rot="5400000">
              <a:off x="10572977" y="2141250"/>
              <a:ext cx="1087001" cy="2150661"/>
            </a:xfrm>
            <a:custGeom>
              <a:avLst/>
              <a:gdLst>
                <a:gd name="connsiteX0" fmla="*/ 0 w 1087001"/>
                <a:gd name="connsiteY0" fmla="*/ 1651026 h 2150661"/>
                <a:gd name="connsiteX1" fmla="*/ 0 w 1087001"/>
                <a:gd name="connsiteY1" fmla="*/ 0 h 2150661"/>
                <a:gd name="connsiteX2" fmla="*/ 1087001 w 1087001"/>
                <a:gd name="connsiteY2" fmla="*/ 0 h 2150661"/>
                <a:gd name="connsiteX3" fmla="*/ 1087001 w 1087001"/>
                <a:gd name="connsiteY3" fmla="*/ 1720529 h 2150661"/>
                <a:gd name="connsiteX4" fmla="*/ 1087000 w 1087001"/>
                <a:gd name="connsiteY4" fmla="*/ 1720530 h 2150661"/>
                <a:gd name="connsiteX5" fmla="*/ 1087000 w 1087001"/>
                <a:gd name="connsiteY5" fmla="*/ 1651026 h 2150661"/>
                <a:gd name="connsiteX6" fmla="*/ 546488 w 1087001"/>
                <a:gd name="connsiteY6" fmla="*/ 2148297 h 2150661"/>
                <a:gd name="connsiteX7" fmla="*/ 543501 w 1087001"/>
                <a:gd name="connsiteY7" fmla="*/ 2150661 h 2150661"/>
                <a:gd name="connsiteX8" fmla="*/ 540500 w 1087001"/>
                <a:gd name="connsiteY8" fmla="*/ 2148286 h 2150661"/>
                <a:gd name="connsiteX9" fmla="*/ 0 w 1087001"/>
                <a:gd name="connsiteY9" fmla="*/ 1651026 h 2150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7001" h="2150661">
                  <a:moveTo>
                    <a:pt x="0" y="1651026"/>
                  </a:moveTo>
                  <a:lnTo>
                    <a:pt x="0" y="0"/>
                  </a:lnTo>
                  <a:lnTo>
                    <a:pt x="1087001" y="0"/>
                  </a:lnTo>
                  <a:lnTo>
                    <a:pt x="1087001" y="1720529"/>
                  </a:lnTo>
                  <a:lnTo>
                    <a:pt x="1087000" y="1720530"/>
                  </a:lnTo>
                  <a:lnTo>
                    <a:pt x="1087000" y="1651026"/>
                  </a:lnTo>
                  <a:lnTo>
                    <a:pt x="546488" y="2148297"/>
                  </a:lnTo>
                  <a:lnTo>
                    <a:pt x="543501" y="2150661"/>
                  </a:lnTo>
                  <a:lnTo>
                    <a:pt x="540500" y="2148286"/>
                  </a:lnTo>
                  <a:lnTo>
                    <a:pt x="0" y="165102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a:endParaRPr lang="en-US" sz="4265" dirty="0">
                <a:solidFill>
                  <a:schemeClr val="bg1"/>
                </a:solidFill>
              </a:endParaRPr>
            </a:p>
          </p:txBody>
        </p:sp>
        <p:sp>
          <p:nvSpPr>
            <p:cNvPr id="60" name="任意多边形 59"/>
            <p:cNvSpPr/>
            <p:nvPr/>
          </p:nvSpPr>
          <p:spPr bwMode="auto">
            <a:xfrm>
              <a:off x="10719564" y="2955283"/>
              <a:ext cx="697574" cy="522594"/>
            </a:xfrm>
            <a:custGeom>
              <a:avLst/>
              <a:gdLst>
                <a:gd name="connsiteX0" fmla="*/ 152941 w 574972"/>
                <a:gd name="connsiteY0" fmla="*/ 323694 h 399845"/>
                <a:gd name="connsiteX1" fmla="*/ 152941 w 574972"/>
                <a:gd name="connsiteY1" fmla="*/ 399844 h 399845"/>
                <a:gd name="connsiteX2" fmla="*/ 61228 w 574972"/>
                <a:gd name="connsiteY2" fmla="*/ 399844 h 399845"/>
                <a:gd name="connsiteX3" fmla="*/ 61228 w 574972"/>
                <a:gd name="connsiteY3" fmla="*/ 398217 h 399845"/>
                <a:gd name="connsiteX4" fmla="*/ 65606 w 574972"/>
                <a:gd name="connsiteY4" fmla="*/ 394470 h 399845"/>
                <a:gd name="connsiteX5" fmla="*/ 121790 w 574972"/>
                <a:gd name="connsiteY5" fmla="*/ 346388 h 399845"/>
                <a:gd name="connsiteX6" fmla="*/ 145086 w 574972"/>
                <a:gd name="connsiteY6" fmla="*/ 328444 h 399845"/>
                <a:gd name="connsiteX7" fmla="*/ 147415 w 574972"/>
                <a:gd name="connsiteY7" fmla="*/ 328444 h 399845"/>
                <a:gd name="connsiteX8" fmla="*/ 270881 w 574972"/>
                <a:gd name="connsiteY8" fmla="*/ 219691 h 399845"/>
                <a:gd name="connsiteX9" fmla="*/ 270881 w 574972"/>
                <a:gd name="connsiteY9" fmla="*/ 399845 h 399845"/>
                <a:gd name="connsiteX10" fmla="*/ 179168 w 574972"/>
                <a:gd name="connsiteY10" fmla="*/ 399845 h 399845"/>
                <a:gd name="connsiteX11" fmla="*/ 179168 w 574972"/>
                <a:gd name="connsiteY11" fmla="*/ 296830 h 399845"/>
                <a:gd name="connsiteX12" fmla="*/ 185489 w 574972"/>
                <a:gd name="connsiteY12" fmla="*/ 291396 h 399845"/>
                <a:gd name="connsiteX13" fmla="*/ 216939 w 574972"/>
                <a:gd name="connsiteY13" fmla="*/ 264361 h 399845"/>
                <a:gd name="connsiteX14" fmla="*/ 226257 w 574972"/>
                <a:gd name="connsiteY14" fmla="*/ 259235 h 399845"/>
                <a:gd name="connsiteX15" fmla="*/ 240235 w 574972"/>
                <a:gd name="connsiteY15" fmla="*/ 246418 h 399845"/>
                <a:gd name="connsiteX16" fmla="*/ 263531 w 574972"/>
                <a:gd name="connsiteY16" fmla="*/ 225912 h 399845"/>
                <a:gd name="connsiteX17" fmla="*/ 297108 w 574972"/>
                <a:gd name="connsiteY17" fmla="*/ 209429 h 399845"/>
                <a:gd name="connsiteX18" fmla="*/ 300913 w 574972"/>
                <a:gd name="connsiteY18" fmla="*/ 213616 h 399845"/>
                <a:gd name="connsiteX19" fmla="*/ 309758 w 574972"/>
                <a:gd name="connsiteY19" fmla="*/ 223349 h 399845"/>
                <a:gd name="connsiteX20" fmla="*/ 333054 w 574972"/>
                <a:gd name="connsiteY20" fmla="*/ 248982 h 399845"/>
                <a:gd name="connsiteX21" fmla="*/ 342372 w 574972"/>
                <a:gd name="connsiteY21" fmla="*/ 256672 h 399845"/>
                <a:gd name="connsiteX22" fmla="*/ 344702 w 574972"/>
                <a:gd name="connsiteY22" fmla="*/ 261799 h 399845"/>
                <a:gd name="connsiteX23" fmla="*/ 370328 w 574972"/>
                <a:gd name="connsiteY23" fmla="*/ 264362 h 399845"/>
                <a:gd name="connsiteX24" fmla="*/ 379646 w 574972"/>
                <a:gd name="connsiteY24" fmla="*/ 256672 h 399845"/>
                <a:gd name="connsiteX25" fmla="*/ 388821 w 574972"/>
                <a:gd name="connsiteY25" fmla="*/ 248907 h 399845"/>
                <a:gd name="connsiteX26" fmla="*/ 388821 w 574972"/>
                <a:gd name="connsiteY26" fmla="*/ 399844 h 399845"/>
                <a:gd name="connsiteX27" fmla="*/ 297108 w 574972"/>
                <a:gd name="connsiteY27" fmla="*/ 399844 h 399845"/>
                <a:gd name="connsiteX28" fmla="*/ 506761 w 574972"/>
                <a:gd name="connsiteY28" fmla="*/ 139370 h 399845"/>
                <a:gd name="connsiteX29" fmla="*/ 506761 w 574972"/>
                <a:gd name="connsiteY29" fmla="*/ 399844 h 399845"/>
                <a:gd name="connsiteX30" fmla="*/ 415048 w 574972"/>
                <a:gd name="connsiteY30" fmla="*/ 399844 h 399845"/>
                <a:gd name="connsiteX31" fmla="*/ 415048 w 574972"/>
                <a:gd name="connsiteY31" fmla="*/ 222112 h 399845"/>
                <a:gd name="connsiteX32" fmla="*/ 418375 w 574972"/>
                <a:gd name="connsiteY32" fmla="*/ 219183 h 399845"/>
                <a:gd name="connsiteX33" fmla="*/ 428203 w 574972"/>
                <a:gd name="connsiteY33" fmla="*/ 210532 h 399845"/>
                <a:gd name="connsiteX34" fmla="*/ 458488 w 574972"/>
                <a:gd name="connsiteY34" fmla="*/ 184898 h 399845"/>
                <a:gd name="connsiteX35" fmla="*/ 496198 w 574972"/>
                <a:gd name="connsiteY35" fmla="*/ 149332 h 399845"/>
                <a:gd name="connsiteX36" fmla="*/ 463151 w 574972"/>
                <a:gd name="connsiteY36" fmla="*/ 0 h 399845"/>
                <a:gd name="connsiteX37" fmla="*/ 533039 w 574972"/>
                <a:gd name="connsiteY37" fmla="*/ 0 h 399845"/>
                <a:gd name="connsiteX38" fmla="*/ 554006 w 574972"/>
                <a:gd name="connsiteY38" fmla="*/ 0 h 399845"/>
                <a:gd name="connsiteX39" fmla="*/ 567983 w 574972"/>
                <a:gd name="connsiteY39" fmla="*/ 5127 h 399845"/>
                <a:gd name="connsiteX40" fmla="*/ 574972 w 574972"/>
                <a:gd name="connsiteY40" fmla="*/ 20506 h 399845"/>
                <a:gd name="connsiteX41" fmla="*/ 574972 w 574972"/>
                <a:gd name="connsiteY41" fmla="*/ 117913 h 399845"/>
                <a:gd name="connsiteX42" fmla="*/ 554006 w 574972"/>
                <a:gd name="connsiteY42" fmla="*/ 138419 h 399845"/>
                <a:gd name="connsiteX43" fmla="*/ 535369 w 574972"/>
                <a:gd name="connsiteY43" fmla="*/ 117913 h 399845"/>
                <a:gd name="connsiteX44" fmla="*/ 535369 w 574972"/>
                <a:gd name="connsiteY44" fmla="*/ 66646 h 399845"/>
                <a:gd name="connsiteX45" fmla="*/ 533039 w 574972"/>
                <a:gd name="connsiteY45" fmla="*/ 69209 h 399845"/>
                <a:gd name="connsiteX46" fmla="*/ 467811 w 574972"/>
                <a:gd name="connsiteY46" fmla="*/ 130729 h 399845"/>
                <a:gd name="connsiteX47" fmla="*/ 437526 w 574972"/>
                <a:gd name="connsiteY47" fmla="*/ 156362 h 399845"/>
                <a:gd name="connsiteX48" fmla="*/ 414230 w 574972"/>
                <a:gd name="connsiteY48" fmla="*/ 176869 h 399845"/>
                <a:gd name="connsiteX49" fmla="*/ 383945 w 574972"/>
                <a:gd name="connsiteY49" fmla="*/ 202502 h 399845"/>
                <a:gd name="connsiteX50" fmla="*/ 374627 w 574972"/>
                <a:gd name="connsiteY50" fmla="*/ 210192 h 399845"/>
                <a:gd name="connsiteX51" fmla="*/ 349001 w 574972"/>
                <a:gd name="connsiteY51" fmla="*/ 207629 h 399845"/>
                <a:gd name="connsiteX52" fmla="*/ 346671 w 574972"/>
                <a:gd name="connsiteY52" fmla="*/ 202502 h 399845"/>
                <a:gd name="connsiteX53" fmla="*/ 337353 w 574972"/>
                <a:gd name="connsiteY53" fmla="*/ 194812 h 399845"/>
                <a:gd name="connsiteX54" fmla="*/ 314057 w 574972"/>
                <a:gd name="connsiteY54" fmla="*/ 169179 h 399845"/>
                <a:gd name="connsiteX55" fmla="*/ 293091 w 574972"/>
                <a:gd name="connsiteY55" fmla="*/ 146109 h 399845"/>
                <a:gd name="connsiteX56" fmla="*/ 262806 w 574972"/>
                <a:gd name="connsiteY56" fmla="*/ 171742 h 399845"/>
                <a:gd name="connsiteX57" fmla="*/ 239510 w 574972"/>
                <a:gd name="connsiteY57" fmla="*/ 192249 h 399845"/>
                <a:gd name="connsiteX58" fmla="*/ 225532 w 574972"/>
                <a:gd name="connsiteY58" fmla="*/ 205065 h 399845"/>
                <a:gd name="connsiteX59" fmla="*/ 216214 w 574972"/>
                <a:gd name="connsiteY59" fmla="*/ 210192 h 399845"/>
                <a:gd name="connsiteX60" fmla="*/ 141666 w 574972"/>
                <a:gd name="connsiteY60" fmla="*/ 274275 h 399845"/>
                <a:gd name="connsiteX61" fmla="*/ 139337 w 574972"/>
                <a:gd name="connsiteY61" fmla="*/ 274275 h 399845"/>
                <a:gd name="connsiteX62" fmla="*/ 116041 w 574972"/>
                <a:gd name="connsiteY62" fmla="*/ 292218 h 399845"/>
                <a:gd name="connsiteX63" fmla="*/ 32175 w 574972"/>
                <a:gd name="connsiteY63" fmla="*/ 363992 h 399845"/>
                <a:gd name="connsiteX64" fmla="*/ 22856 w 574972"/>
                <a:gd name="connsiteY64" fmla="*/ 366555 h 399845"/>
                <a:gd name="connsiteX65" fmla="*/ 4220 w 574972"/>
                <a:gd name="connsiteY65" fmla="*/ 358865 h 399845"/>
                <a:gd name="connsiteX66" fmla="*/ 6549 w 574972"/>
                <a:gd name="connsiteY66" fmla="*/ 328105 h 399845"/>
                <a:gd name="connsiteX67" fmla="*/ 18197 w 574972"/>
                <a:gd name="connsiteY67" fmla="*/ 317851 h 399845"/>
                <a:gd name="connsiteX68" fmla="*/ 116041 w 574972"/>
                <a:gd name="connsiteY68" fmla="*/ 238389 h 399845"/>
                <a:gd name="connsiteX69" fmla="*/ 139337 w 574972"/>
                <a:gd name="connsiteY69" fmla="*/ 220445 h 399845"/>
                <a:gd name="connsiteX70" fmla="*/ 141666 w 574972"/>
                <a:gd name="connsiteY70" fmla="*/ 217882 h 399845"/>
                <a:gd name="connsiteX71" fmla="*/ 216214 w 574972"/>
                <a:gd name="connsiteY71" fmla="*/ 156362 h 399845"/>
                <a:gd name="connsiteX72" fmla="*/ 223203 w 574972"/>
                <a:gd name="connsiteY72" fmla="*/ 148672 h 399845"/>
                <a:gd name="connsiteX73" fmla="*/ 239510 w 574972"/>
                <a:gd name="connsiteY73" fmla="*/ 138419 h 399845"/>
                <a:gd name="connsiteX74" fmla="*/ 262806 w 574972"/>
                <a:gd name="connsiteY74" fmla="*/ 117913 h 399845"/>
                <a:gd name="connsiteX75" fmla="*/ 283772 w 574972"/>
                <a:gd name="connsiteY75" fmla="*/ 99969 h 399845"/>
                <a:gd name="connsiteX76" fmla="*/ 309398 w 574972"/>
                <a:gd name="connsiteY76" fmla="*/ 102533 h 399845"/>
                <a:gd name="connsiteX77" fmla="*/ 314057 w 574972"/>
                <a:gd name="connsiteY77" fmla="*/ 107659 h 399845"/>
                <a:gd name="connsiteX78" fmla="*/ 337353 w 574972"/>
                <a:gd name="connsiteY78" fmla="*/ 133292 h 399845"/>
                <a:gd name="connsiteX79" fmla="*/ 346671 w 574972"/>
                <a:gd name="connsiteY79" fmla="*/ 140982 h 399845"/>
                <a:gd name="connsiteX80" fmla="*/ 365308 w 574972"/>
                <a:gd name="connsiteY80" fmla="*/ 161489 h 399845"/>
                <a:gd name="connsiteX81" fmla="*/ 383945 w 574972"/>
                <a:gd name="connsiteY81" fmla="*/ 146109 h 399845"/>
                <a:gd name="connsiteX82" fmla="*/ 414230 w 574972"/>
                <a:gd name="connsiteY82" fmla="*/ 120476 h 399845"/>
                <a:gd name="connsiteX83" fmla="*/ 437526 w 574972"/>
                <a:gd name="connsiteY83" fmla="*/ 99969 h 399845"/>
                <a:gd name="connsiteX84" fmla="*/ 477129 w 574972"/>
                <a:gd name="connsiteY84" fmla="*/ 61520 h 399845"/>
                <a:gd name="connsiteX85" fmla="*/ 498095 w 574972"/>
                <a:gd name="connsiteY85" fmla="*/ 43576 h 399845"/>
                <a:gd name="connsiteX86" fmla="*/ 486447 w 574972"/>
                <a:gd name="connsiteY86" fmla="*/ 43576 h 399845"/>
                <a:gd name="connsiteX87" fmla="*/ 463151 w 574972"/>
                <a:gd name="connsiteY87" fmla="*/ 43576 h 399845"/>
                <a:gd name="connsiteX88" fmla="*/ 456163 w 574972"/>
                <a:gd name="connsiteY88" fmla="*/ 41013 h 399845"/>
                <a:gd name="connsiteX89" fmla="*/ 442185 w 574972"/>
                <a:gd name="connsiteY89" fmla="*/ 20506 h 399845"/>
                <a:gd name="connsiteX90" fmla="*/ 453833 w 574972"/>
                <a:gd name="connsiteY90" fmla="*/ 2563 h 399845"/>
                <a:gd name="connsiteX91" fmla="*/ 456163 w 574972"/>
                <a:gd name="connsiteY91" fmla="*/ 2563 h 399845"/>
                <a:gd name="connsiteX92" fmla="*/ 463151 w 574972"/>
                <a:gd name="connsiteY92" fmla="*/ 0 h 399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74972" h="399845">
                  <a:moveTo>
                    <a:pt x="152941" y="323694"/>
                  </a:moveTo>
                  <a:lnTo>
                    <a:pt x="152941" y="399844"/>
                  </a:lnTo>
                  <a:lnTo>
                    <a:pt x="61228" y="399844"/>
                  </a:lnTo>
                  <a:lnTo>
                    <a:pt x="61228" y="398217"/>
                  </a:lnTo>
                  <a:lnTo>
                    <a:pt x="65606" y="394470"/>
                  </a:lnTo>
                  <a:cubicBezTo>
                    <a:pt x="121790" y="346388"/>
                    <a:pt x="121790" y="346388"/>
                    <a:pt x="121790" y="346388"/>
                  </a:cubicBezTo>
                  <a:cubicBezTo>
                    <a:pt x="145086" y="328444"/>
                    <a:pt x="145086" y="328444"/>
                    <a:pt x="145086" y="328444"/>
                  </a:cubicBezTo>
                  <a:cubicBezTo>
                    <a:pt x="147415" y="328444"/>
                    <a:pt x="147415" y="328444"/>
                    <a:pt x="147415" y="328444"/>
                  </a:cubicBezTo>
                  <a:close/>
                  <a:moveTo>
                    <a:pt x="270881" y="219691"/>
                  </a:moveTo>
                  <a:lnTo>
                    <a:pt x="270881" y="399845"/>
                  </a:lnTo>
                  <a:lnTo>
                    <a:pt x="179168" y="399845"/>
                  </a:lnTo>
                  <a:lnTo>
                    <a:pt x="179168" y="296830"/>
                  </a:lnTo>
                  <a:lnTo>
                    <a:pt x="185489" y="291396"/>
                  </a:lnTo>
                  <a:cubicBezTo>
                    <a:pt x="216939" y="264361"/>
                    <a:pt x="216939" y="264361"/>
                    <a:pt x="216939" y="264361"/>
                  </a:cubicBezTo>
                  <a:cubicBezTo>
                    <a:pt x="226257" y="259235"/>
                    <a:pt x="226257" y="259235"/>
                    <a:pt x="226257" y="259235"/>
                  </a:cubicBezTo>
                  <a:cubicBezTo>
                    <a:pt x="240235" y="246418"/>
                    <a:pt x="240235" y="246418"/>
                    <a:pt x="240235" y="246418"/>
                  </a:cubicBezTo>
                  <a:cubicBezTo>
                    <a:pt x="263531" y="225912"/>
                    <a:pt x="263531" y="225912"/>
                    <a:pt x="263531" y="225912"/>
                  </a:cubicBezTo>
                  <a:close/>
                  <a:moveTo>
                    <a:pt x="297108" y="209429"/>
                  </a:moveTo>
                  <a:lnTo>
                    <a:pt x="300913" y="213616"/>
                  </a:lnTo>
                  <a:cubicBezTo>
                    <a:pt x="309758" y="223349"/>
                    <a:pt x="309758" y="223349"/>
                    <a:pt x="309758" y="223349"/>
                  </a:cubicBezTo>
                  <a:cubicBezTo>
                    <a:pt x="333054" y="248982"/>
                    <a:pt x="333054" y="248982"/>
                    <a:pt x="333054" y="248982"/>
                  </a:cubicBezTo>
                  <a:cubicBezTo>
                    <a:pt x="342372" y="256672"/>
                    <a:pt x="342372" y="256672"/>
                    <a:pt x="342372" y="256672"/>
                  </a:cubicBezTo>
                  <a:cubicBezTo>
                    <a:pt x="344702" y="261799"/>
                    <a:pt x="344702" y="261799"/>
                    <a:pt x="344702" y="261799"/>
                  </a:cubicBezTo>
                  <a:cubicBezTo>
                    <a:pt x="351691" y="269489"/>
                    <a:pt x="363339" y="269489"/>
                    <a:pt x="370328" y="264362"/>
                  </a:cubicBezTo>
                  <a:cubicBezTo>
                    <a:pt x="379646" y="256672"/>
                    <a:pt x="379646" y="256672"/>
                    <a:pt x="379646" y="256672"/>
                  </a:cubicBezTo>
                  <a:lnTo>
                    <a:pt x="388821" y="248907"/>
                  </a:lnTo>
                  <a:lnTo>
                    <a:pt x="388821" y="399844"/>
                  </a:lnTo>
                  <a:lnTo>
                    <a:pt x="297108" y="399844"/>
                  </a:lnTo>
                  <a:close/>
                  <a:moveTo>
                    <a:pt x="506761" y="139370"/>
                  </a:moveTo>
                  <a:lnTo>
                    <a:pt x="506761" y="399844"/>
                  </a:lnTo>
                  <a:lnTo>
                    <a:pt x="415048" y="399844"/>
                  </a:lnTo>
                  <a:lnTo>
                    <a:pt x="415048" y="222112"/>
                  </a:lnTo>
                  <a:lnTo>
                    <a:pt x="418375" y="219183"/>
                  </a:lnTo>
                  <a:cubicBezTo>
                    <a:pt x="428203" y="210532"/>
                    <a:pt x="428203" y="210532"/>
                    <a:pt x="428203" y="210532"/>
                  </a:cubicBezTo>
                  <a:cubicBezTo>
                    <a:pt x="458488" y="184898"/>
                    <a:pt x="458488" y="184898"/>
                    <a:pt x="458488" y="184898"/>
                  </a:cubicBezTo>
                  <a:cubicBezTo>
                    <a:pt x="474795" y="169518"/>
                    <a:pt x="487025" y="157984"/>
                    <a:pt x="496198" y="149332"/>
                  </a:cubicBezTo>
                  <a:close/>
                  <a:moveTo>
                    <a:pt x="463151" y="0"/>
                  </a:moveTo>
                  <a:cubicBezTo>
                    <a:pt x="463151" y="0"/>
                    <a:pt x="463151" y="0"/>
                    <a:pt x="533039" y="0"/>
                  </a:cubicBezTo>
                  <a:cubicBezTo>
                    <a:pt x="533039" y="0"/>
                    <a:pt x="533039" y="0"/>
                    <a:pt x="554006" y="0"/>
                  </a:cubicBezTo>
                  <a:cubicBezTo>
                    <a:pt x="558665" y="0"/>
                    <a:pt x="563324" y="2563"/>
                    <a:pt x="567983" y="5127"/>
                  </a:cubicBezTo>
                  <a:cubicBezTo>
                    <a:pt x="572643" y="10253"/>
                    <a:pt x="574972" y="15380"/>
                    <a:pt x="574972" y="20506"/>
                  </a:cubicBezTo>
                  <a:lnTo>
                    <a:pt x="574972" y="117913"/>
                  </a:lnTo>
                  <a:cubicBezTo>
                    <a:pt x="574972" y="128166"/>
                    <a:pt x="565654" y="138419"/>
                    <a:pt x="554006" y="138419"/>
                  </a:cubicBezTo>
                  <a:cubicBezTo>
                    <a:pt x="542358" y="138419"/>
                    <a:pt x="535369" y="128166"/>
                    <a:pt x="535369" y="117913"/>
                  </a:cubicBezTo>
                  <a:cubicBezTo>
                    <a:pt x="535369" y="117913"/>
                    <a:pt x="535369" y="117913"/>
                    <a:pt x="535369" y="66646"/>
                  </a:cubicBezTo>
                  <a:cubicBezTo>
                    <a:pt x="535369" y="66646"/>
                    <a:pt x="535369" y="66646"/>
                    <a:pt x="533039" y="69209"/>
                  </a:cubicBezTo>
                  <a:cubicBezTo>
                    <a:pt x="533039" y="69209"/>
                    <a:pt x="533039" y="69209"/>
                    <a:pt x="467811" y="130729"/>
                  </a:cubicBezTo>
                  <a:cubicBezTo>
                    <a:pt x="467811" y="130729"/>
                    <a:pt x="467811" y="130729"/>
                    <a:pt x="437526" y="156362"/>
                  </a:cubicBezTo>
                  <a:cubicBezTo>
                    <a:pt x="437526" y="156362"/>
                    <a:pt x="437526" y="156362"/>
                    <a:pt x="414230" y="176869"/>
                  </a:cubicBezTo>
                  <a:cubicBezTo>
                    <a:pt x="414230" y="176869"/>
                    <a:pt x="414230" y="176869"/>
                    <a:pt x="383945" y="202502"/>
                  </a:cubicBezTo>
                  <a:cubicBezTo>
                    <a:pt x="383945" y="202502"/>
                    <a:pt x="383945" y="202502"/>
                    <a:pt x="374627" y="210192"/>
                  </a:cubicBezTo>
                  <a:cubicBezTo>
                    <a:pt x="367638" y="215319"/>
                    <a:pt x="355990" y="215319"/>
                    <a:pt x="349001" y="207629"/>
                  </a:cubicBezTo>
                  <a:cubicBezTo>
                    <a:pt x="349001" y="207629"/>
                    <a:pt x="349001" y="207629"/>
                    <a:pt x="346671" y="202502"/>
                  </a:cubicBezTo>
                  <a:cubicBezTo>
                    <a:pt x="346671" y="202502"/>
                    <a:pt x="346671" y="202502"/>
                    <a:pt x="337353" y="194812"/>
                  </a:cubicBezTo>
                  <a:cubicBezTo>
                    <a:pt x="337353" y="194812"/>
                    <a:pt x="337353" y="194812"/>
                    <a:pt x="314057" y="169179"/>
                  </a:cubicBezTo>
                  <a:cubicBezTo>
                    <a:pt x="314057" y="169179"/>
                    <a:pt x="314057" y="169179"/>
                    <a:pt x="293091" y="146109"/>
                  </a:cubicBezTo>
                  <a:cubicBezTo>
                    <a:pt x="293091" y="146109"/>
                    <a:pt x="293091" y="146109"/>
                    <a:pt x="262806" y="171742"/>
                  </a:cubicBezTo>
                  <a:cubicBezTo>
                    <a:pt x="262806" y="171742"/>
                    <a:pt x="262806" y="171742"/>
                    <a:pt x="239510" y="192249"/>
                  </a:cubicBezTo>
                  <a:cubicBezTo>
                    <a:pt x="239510" y="192249"/>
                    <a:pt x="239510" y="192249"/>
                    <a:pt x="225532" y="205065"/>
                  </a:cubicBezTo>
                  <a:cubicBezTo>
                    <a:pt x="225532" y="205065"/>
                    <a:pt x="225532" y="205065"/>
                    <a:pt x="216214" y="210192"/>
                  </a:cubicBezTo>
                  <a:cubicBezTo>
                    <a:pt x="216214" y="210192"/>
                    <a:pt x="216214" y="210192"/>
                    <a:pt x="141666" y="274275"/>
                  </a:cubicBezTo>
                  <a:cubicBezTo>
                    <a:pt x="141666" y="274275"/>
                    <a:pt x="141666" y="274275"/>
                    <a:pt x="139337" y="274275"/>
                  </a:cubicBezTo>
                  <a:cubicBezTo>
                    <a:pt x="139337" y="274275"/>
                    <a:pt x="139337" y="274275"/>
                    <a:pt x="116041" y="292218"/>
                  </a:cubicBezTo>
                  <a:cubicBezTo>
                    <a:pt x="116041" y="292218"/>
                    <a:pt x="116041" y="292218"/>
                    <a:pt x="32175" y="363992"/>
                  </a:cubicBezTo>
                  <a:cubicBezTo>
                    <a:pt x="29845" y="366555"/>
                    <a:pt x="25186" y="366555"/>
                    <a:pt x="22856" y="366555"/>
                  </a:cubicBezTo>
                  <a:cubicBezTo>
                    <a:pt x="15868" y="369118"/>
                    <a:pt x="8879" y="366555"/>
                    <a:pt x="4220" y="358865"/>
                  </a:cubicBezTo>
                  <a:cubicBezTo>
                    <a:pt x="-2769" y="348612"/>
                    <a:pt x="-440" y="335795"/>
                    <a:pt x="6549" y="328105"/>
                  </a:cubicBezTo>
                  <a:cubicBezTo>
                    <a:pt x="6549" y="328105"/>
                    <a:pt x="6549" y="328105"/>
                    <a:pt x="18197" y="317851"/>
                  </a:cubicBezTo>
                  <a:cubicBezTo>
                    <a:pt x="18197" y="317851"/>
                    <a:pt x="18197" y="317851"/>
                    <a:pt x="116041" y="238389"/>
                  </a:cubicBezTo>
                  <a:cubicBezTo>
                    <a:pt x="116041" y="238389"/>
                    <a:pt x="116041" y="238389"/>
                    <a:pt x="139337" y="220445"/>
                  </a:cubicBezTo>
                  <a:cubicBezTo>
                    <a:pt x="139337" y="220445"/>
                    <a:pt x="139337" y="220445"/>
                    <a:pt x="141666" y="217882"/>
                  </a:cubicBezTo>
                  <a:cubicBezTo>
                    <a:pt x="141666" y="217882"/>
                    <a:pt x="141666" y="217882"/>
                    <a:pt x="216214" y="156362"/>
                  </a:cubicBezTo>
                  <a:cubicBezTo>
                    <a:pt x="216214" y="156362"/>
                    <a:pt x="216214" y="156362"/>
                    <a:pt x="223203" y="148672"/>
                  </a:cubicBezTo>
                  <a:cubicBezTo>
                    <a:pt x="223203" y="148672"/>
                    <a:pt x="223203" y="148672"/>
                    <a:pt x="239510" y="138419"/>
                  </a:cubicBezTo>
                  <a:cubicBezTo>
                    <a:pt x="239510" y="138419"/>
                    <a:pt x="239510" y="138419"/>
                    <a:pt x="262806" y="117913"/>
                  </a:cubicBezTo>
                  <a:cubicBezTo>
                    <a:pt x="262806" y="117913"/>
                    <a:pt x="262806" y="117913"/>
                    <a:pt x="283772" y="99969"/>
                  </a:cubicBezTo>
                  <a:cubicBezTo>
                    <a:pt x="293091" y="92279"/>
                    <a:pt x="302409" y="94843"/>
                    <a:pt x="309398" y="102533"/>
                  </a:cubicBezTo>
                  <a:cubicBezTo>
                    <a:pt x="309398" y="102533"/>
                    <a:pt x="309398" y="102533"/>
                    <a:pt x="314057" y="107659"/>
                  </a:cubicBezTo>
                  <a:cubicBezTo>
                    <a:pt x="314057" y="107659"/>
                    <a:pt x="314057" y="107659"/>
                    <a:pt x="337353" y="133292"/>
                  </a:cubicBezTo>
                  <a:cubicBezTo>
                    <a:pt x="337353" y="133292"/>
                    <a:pt x="337353" y="133292"/>
                    <a:pt x="346671" y="140982"/>
                  </a:cubicBezTo>
                  <a:cubicBezTo>
                    <a:pt x="346671" y="140982"/>
                    <a:pt x="346671" y="140982"/>
                    <a:pt x="365308" y="161489"/>
                  </a:cubicBezTo>
                  <a:cubicBezTo>
                    <a:pt x="365308" y="161489"/>
                    <a:pt x="365308" y="161489"/>
                    <a:pt x="383945" y="146109"/>
                  </a:cubicBezTo>
                  <a:cubicBezTo>
                    <a:pt x="383945" y="146109"/>
                    <a:pt x="383945" y="146109"/>
                    <a:pt x="414230" y="120476"/>
                  </a:cubicBezTo>
                  <a:cubicBezTo>
                    <a:pt x="414230" y="120476"/>
                    <a:pt x="414230" y="120476"/>
                    <a:pt x="437526" y="99969"/>
                  </a:cubicBezTo>
                  <a:cubicBezTo>
                    <a:pt x="437526" y="99969"/>
                    <a:pt x="437526" y="99969"/>
                    <a:pt x="477129" y="61520"/>
                  </a:cubicBezTo>
                  <a:cubicBezTo>
                    <a:pt x="477129" y="61520"/>
                    <a:pt x="477129" y="61520"/>
                    <a:pt x="498095" y="43576"/>
                  </a:cubicBezTo>
                  <a:cubicBezTo>
                    <a:pt x="498095" y="43576"/>
                    <a:pt x="498095" y="43576"/>
                    <a:pt x="486447" y="43576"/>
                  </a:cubicBezTo>
                  <a:cubicBezTo>
                    <a:pt x="486447" y="43576"/>
                    <a:pt x="486447" y="43576"/>
                    <a:pt x="463151" y="43576"/>
                  </a:cubicBezTo>
                  <a:cubicBezTo>
                    <a:pt x="460822" y="43576"/>
                    <a:pt x="458492" y="43576"/>
                    <a:pt x="456163" y="41013"/>
                  </a:cubicBezTo>
                  <a:cubicBezTo>
                    <a:pt x="449174" y="38450"/>
                    <a:pt x="442185" y="30760"/>
                    <a:pt x="442185" y="20506"/>
                  </a:cubicBezTo>
                  <a:cubicBezTo>
                    <a:pt x="442185" y="12816"/>
                    <a:pt x="446844" y="5127"/>
                    <a:pt x="453833" y="2563"/>
                  </a:cubicBezTo>
                  <a:cubicBezTo>
                    <a:pt x="453833" y="2563"/>
                    <a:pt x="456163" y="2563"/>
                    <a:pt x="456163" y="2563"/>
                  </a:cubicBezTo>
                  <a:cubicBezTo>
                    <a:pt x="458492" y="0"/>
                    <a:pt x="460822" y="0"/>
                    <a:pt x="463151" y="0"/>
                  </a:cubicBezTo>
                  <a:close/>
                </a:path>
              </a:pathLst>
            </a:custGeom>
            <a:solidFill>
              <a:schemeClr val="bg1"/>
            </a:solidFill>
            <a:ln>
              <a:noFill/>
            </a:ln>
          </p:spPr>
          <p:txBody>
            <a:bodyPr vert="horz" wrap="square" lIns="91440" tIns="45720" rIns="91440" bIns="45720" numCol="1" anchor="t" anchorCtr="0" compatLnSpc="1">
              <a:noAutofit/>
            </a:bodyPr>
            <a:lstStyle/>
            <a:p>
              <a:endPar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3" name="组合 12"/>
          <p:cNvGrpSpPr/>
          <p:nvPr/>
        </p:nvGrpSpPr>
        <p:grpSpPr>
          <a:xfrm>
            <a:off x="966486" y="5227911"/>
            <a:ext cx="9369519" cy="1087000"/>
            <a:chOff x="949774" y="5192437"/>
            <a:chExt cx="9370739" cy="1087000"/>
          </a:xfrm>
        </p:grpSpPr>
        <p:sp>
          <p:nvSpPr>
            <p:cNvPr id="87" name="Notched Right Arrow 32"/>
            <p:cNvSpPr/>
            <p:nvPr/>
          </p:nvSpPr>
          <p:spPr>
            <a:xfrm rot="10800000">
              <a:off x="949774" y="5192437"/>
              <a:ext cx="9370739" cy="1087000"/>
            </a:xfrm>
            <a:prstGeom prst="notchedRightArrow">
              <a:avLst>
                <a:gd name="adj1" fmla="val 100000"/>
                <a:gd name="adj2" fmla="val 46000"/>
              </a:avLst>
            </a:prstGeom>
            <a:solidFill>
              <a:srgbClr val="CBC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dirty="0">
                <a:solidFill>
                  <a:schemeClr val="tx1">
                    <a:lumMod val="85000"/>
                    <a:lumOff val="15000"/>
                  </a:schemeClr>
                </a:solidFill>
              </a:endParaRPr>
            </a:p>
          </p:txBody>
        </p:sp>
        <p:sp>
          <p:nvSpPr>
            <p:cNvPr id="89" name="Oval 36"/>
            <p:cNvSpPr>
              <a:spLocks noChangeAspect="1"/>
            </p:cNvSpPr>
            <p:nvPr/>
          </p:nvSpPr>
          <p:spPr>
            <a:xfrm>
              <a:off x="1337222" y="5388816"/>
              <a:ext cx="694248" cy="694244"/>
            </a:xfrm>
            <a:prstGeom prst="ellipse">
              <a:avLst/>
            </a:prstGeom>
            <a:solidFill>
              <a:srgbClr val="CBCBCB"/>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85000"/>
                      <a:lumOff val="15000"/>
                    </a:schemeClr>
                  </a:solidFill>
                  <a:latin typeface="Impact" panose="020B0806030902050204" pitchFamily="34" charset="0"/>
                </a:rPr>
                <a:t>04</a:t>
              </a:r>
            </a:p>
          </p:txBody>
        </p:sp>
      </p:grpSp>
      <p:sp>
        <p:nvSpPr>
          <p:cNvPr id="44" name="TextBox 59"/>
          <p:cNvSpPr txBox="1">
            <a:spLocks noChangeArrowheads="1"/>
          </p:cNvSpPr>
          <p:nvPr/>
        </p:nvSpPr>
        <p:spPr bwMode="auto">
          <a:xfrm flipH="1">
            <a:off x="7224069" y="5333287"/>
            <a:ext cx="2395013" cy="400101"/>
          </a:xfrm>
          <a:prstGeom prst="rect">
            <a:avLst/>
          </a:prstGeom>
          <a:noFill/>
          <a:ln>
            <a:noFill/>
          </a:ln>
        </p:spPr>
        <p:txBody>
          <a:bodyPr wrap="square" lIns="91431" tIns="45716" rIns="91431" bIns="4571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a:defRPr/>
            </a:pP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点击添加关键字</a:t>
            </a:r>
            <a:endParaRPr lang="en-US" altLang="ko-KR" sz="2000" kern="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50" name="矩形 49"/>
          <p:cNvSpPr>
            <a:spLocks noChangeArrowheads="1"/>
          </p:cNvSpPr>
          <p:nvPr/>
        </p:nvSpPr>
        <p:spPr bwMode="auto">
          <a:xfrm>
            <a:off x="2069299" y="5689431"/>
            <a:ext cx="7549783" cy="548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p>
            <a:pPr algn="r">
              <a:lnSpc>
                <a:spcPct val="114000"/>
              </a:lnSpc>
            </a:pPr>
            <a:r>
              <a:rPr lang="zh-CN" altLang="en-US" sz="1300" dirty="0">
                <a:solidFill>
                  <a:schemeClr val="tx1">
                    <a:lumMod val="85000"/>
                    <a:lumOff val="15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综合描述说明，在此录入上述图表的综合描述说明，在此录入上述图表的综合描述说明，在此录入上述图表的综合描述说明，在此录入上述图表的综合描述说明。</a:t>
            </a:r>
            <a:endParaRPr lang="zh-CN" altLang="en-US" sz="1300" dirty="0">
              <a:solidFill>
                <a:schemeClr val="tx1">
                  <a:lumMod val="85000"/>
                  <a:lumOff val="15000"/>
                </a:schemeClr>
              </a:solidFill>
            </a:endParaRPr>
          </a:p>
        </p:txBody>
      </p:sp>
      <p:grpSp>
        <p:nvGrpSpPr>
          <p:cNvPr id="25" name="组合 24"/>
          <p:cNvGrpSpPr/>
          <p:nvPr/>
        </p:nvGrpSpPr>
        <p:grpSpPr>
          <a:xfrm>
            <a:off x="10040828" y="5229624"/>
            <a:ext cx="2150381" cy="1087001"/>
            <a:chOff x="10041340" y="5162064"/>
            <a:chExt cx="2150661" cy="1087001"/>
          </a:xfrm>
        </p:grpSpPr>
        <p:sp>
          <p:nvSpPr>
            <p:cNvPr id="69" name="任意多边形 68"/>
            <p:cNvSpPr/>
            <p:nvPr/>
          </p:nvSpPr>
          <p:spPr>
            <a:xfrm rot="5400000">
              <a:off x="10573170" y="4630234"/>
              <a:ext cx="1087001" cy="2150661"/>
            </a:xfrm>
            <a:custGeom>
              <a:avLst/>
              <a:gdLst>
                <a:gd name="connsiteX0" fmla="*/ 0 w 1087001"/>
                <a:gd name="connsiteY0" fmla="*/ 1651026 h 2150661"/>
                <a:gd name="connsiteX1" fmla="*/ 0 w 1087001"/>
                <a:gd name="connsiteY1" fmla="*/ 0 h 2150661"/>
                <a:gd name="connsiteX2" fmla="*/ 1087001 w 1087001"/>
                <a:gd name="connsiteY2" fmla="*/ 0 h 2150661"/>
                <a:gd name="connsiteX3" fmla="*/ 1087001 w 1087001"/>
                <a:gd name="connsiteY3" fmla="*/ 1720529 h 2150661"/>
                <a:gd name="connsiteX4" fmla="*/ 1087000 w 1087001"/>
                <a:gd name="connsiteY4" fmla="*/ 1720530 h 2150661"/>
                <a:gd name="connsiteX5" fmla="*/ 1087000 w 1087001"/>
                <a:gd name="connsiteY5" fmla="*/ 1651026 h 2150661"/>
                <a:gd name="connsiteX6" fmla="*/ 546488 w 1087001"/>
                <a:gd name="connsiteY6" fmla="*/ 2148297 h 2150661"/>
                <a:gd name="connsiteX7" fmla="*/ 543501 w 1087001"/>
                <a:gd name="connsiteY7" fmla="*/ 2150661 h 2150661"/>
                <a:gd name="connsiteX8" fmla="*/ 540500 w 1087001"/>
                <a:gd name="connsiteY8" fmla="*/ 2148286 h 2150661"/>
                <a:gd name="connsiteX9" fmla="*/ 0 w 1087001"/>
                <a:gd name="connsiteY9" fmla="*/ 1651026 h 2150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7001" h="2150661">
                  <a:moveTo>
                    <a:pt x="0" y="1651026"/>
                  </a:moveTo>
                  <a:lnTo>
                    <a:pt x="0" y="0"/>
                  </a:lnTo>
                  <a:lnTo>
                    <a:pt x="1087001" y="0"/>
                  </a:lnTo>
                  <a:lnTo>
                    <a:pt x="1087001" y="1720529"/>
                  </a:lnTo>
                  <a:lnTo>
                    <a:pt x="1087000" y="1720530"/>
                  </a:lnTo>
                  <a:lnTo>
                    <a:pt x="1087000" y="1651026"/>
                  </a:lnTo>
                  <a:lnTo>
                    <a:pt x="546488" y="2148297"/>
                  </a:lnTo>
                  <a:lnTo>
                    <a:pt x="543501" y="2150661"/>
                  </a:lnTo>
                  <a:lnTo>
                    <a:pt x="540500" y="2148286"/>
                  </a:lnTo>
                  <a:lnTo>
                    <a:pt x="0" y="165102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a:endParaRPr lang="en-US" sz="4265" dirty="0">
                <a:solidFill>
                  <a:schemeClr val="bg1"/>
                </a:solidFill>
              </a:endParaRPr>
            </a:p>
          </p:txBody>
        </p:sp>
        <p:sp>
          <p:nvSpPr>
            <p:cNvPr id="61" name="Freeform 168"/>
            <p:cNvSpPr>
              <a:spLocks noChangeAspect="1" noEditPoints="1"/>
            </p:cNvSpPr>
            <p:nvPr/>
          </p:nvSpPr>
          <p:spPr bwMode="auto">
            <a:xfrm>
              <a:off x="10755422" y="5420286"/>
              <a:ext cx="626245" cy="570557"/>
            </a:xfrm>
            <a:custGeom>
              <a:avLst/>
              <a:gdLst>
                <a:gd name="T0" fmla="*/ 4 w 94"/>
                <a:gd name="T1" fmla="*/ 19 h 81"/>
                <a:gd name="T2" fmla="*/ 46 w 94"/>
                <a:gd name="T3" fmla="*/ 19 h 81"/>
                <a:gd name="T4" fmla="*/ 50 w 94"/>
                <a:gd name="T5" fmla="*/ 16 h 81"/>
                <a:gd name="T6" fmla="*/ 73 w 94"/>
                <a:gd name="T7" fmla="*/ 0 h 81"/>
                <a:gd name="T8" fmla="*/ 73 w 94"/>
                <a:gd name="T9" fmla="*/ 33 h 81"/>
                <a:gd name="T10" fmla="*/ 73 w 94"/>
                <a:gd name="T11" fmla="*/ 66 h 81"/>
                <a:gd name="T12" fmla="*/ 50 w 94"/>
                <a:gd name="T13" fmla="*/ 49 h 81"/>
                <a:gd name="T14" fmla="*/ 46 w 94"/>
                <a:gd name="T15" fmla="*/ 47 h 81"/>
                <a:gd name="T16" fmla="*/ 33 w 94"/>
                <a:gd name="T17" fmla="*/ 47 h 81"/>
                <a:gd name="T18" fmla="*/ 40 w 94"/>
                <a:gd name="T19" fmla="*/ 70 h 81"/>
                <a:gd name="T20" fmla="*/ 45 w 94"/>
                <a:gd name="T21" fmla="*/ 70 h 81"/>
                <a:gd name="T22" fmla="*/ 45 w 94"/>
                <a:gd name="T23" fmla="*/ 81 h 81"/>
                <a:gd name="T24" fmla="*/ 43 w 94"/>
                <a:gd name="T25" fmla="*/ 81 h 81"/>
                <a:gd name="T26" fmla="*/ 21 w 94"/>
                <a:gd name="T27" fmla="*/ 81 h 81"/>
                <a:gd name="T28" fmla="*/ 11 w 94"/>
                <a:gd name="T29" fmla="*/ 47 h 81"/>
                <a:gd name="T30" fmla="*/ 4 w 94"/>
                <a:gd name="T31" fmla="*/ 47 h 81"/>
                <a:gd name="T32" fmla="*/ 4 w 94"/>
                <a:gd name="T33" fmla="*/ 19 h 81"/>
                <a:gd name="T34" fmla="*/ 87 w 94"/>
                <a:gd name="T35" fmla="*/ 23 h 81"/>
                <a:gd name="T36" fmla="*/ 94 w 94"/>
                <a:gd name="T37" fmla="*/ 33 h 81"/>
                <a:gd name="T38" fmla="*/ 87 w 94"/>
                <a:gd name="T39" fmla="*/ 43 h 81"/>
                <a:gd name="T40" fmla="*/ 87 w 94"/>
                <a:gd name="T41" fmla="*/ 66 h 81"/>
                <a:gd name="T42" fmla="*/ 78 w 94"/>
                <a:gd name="T43" fmla="*/ 66 h 81"/>
                <a:gd name="T44" fmla="*/ 78 w 94"/>
                <a:gd name="T45" fmla="*/ 0 h 81"/>
                <a:gd name="T46" fmla="*/ 87 w 94"/>
                <a:gd name="T47" fmla="*/ 0 h 81"/>
                <a:gd name="T48" fmla="*/ 87 w 94"/>
                <a:gd name="T49" fmla="*/ 23 h 81"/>
                <a:gd name="T50" fmla="*/ 46 w 94"/>
                <a:gd name="T51" fmla="*/ 49 h 81"/>
                <a:gd name="T52" fmla="*/ 37 w 94"/>
                <a:gd name="T53" fmla="*/ 49 h 81"/>
                <a:gd name="T54" fmla="*/ 40 w 94"/>
                <a:gd name="T55" fmla="*/ 61 h 81"/>
                <a:gd name="T56" fmla="*/ 43 w 94"/>
                <a:gd name="T57" fmla="*/ 61 h 81"/>
                <a:gd name="T58" fmla="*/ 43 w 94"/>
                <a:gd name="T59" fmla="*/ 57 h 81"/>
                <a:gd name="T60" fmla="*/ 46 w 94"/>
                <a:gd name="T61" fmla="*/ 4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4" h="81">
                  <a:moveTo>
                    <a:pt x="4" y="19"/>
                  </a:moveTo>
                  <a:cubicBezTo>
                    <a:pt x="46" y="19"/>
                    <a:pt x="46" y="19"/>
                    <a:pt x="46" y="19"/>
                  </a:cubicBezTo>
                  <a:cubicBezTo>
                    <a:pt x="50" y="16"/>
                    <a:pt x="50" y="16"/>
                    <a:pt x="50" y="16"/>
                  </a:cubicBezTo>
                  <a:cubicBezTo>
                    <a:pt x="73" y="0"/>
                    <a:pt x="73" y="0"/>
                    <a:pt x="73" y="0"/>
                  </a:cubicBezTo>
                  <a:cubicBezTo>
                    <a:pt x="73" y="33"/>
                    <a:pt x="73" y="33"/>
                    <a:pt x="73" y="33"/>
                  </a:cubicBezTo>
                  <a:cubicBezTo>
                    <a:pt x="73" y="66"/>
                    <a:pt x="73" y="66"/>
                    <a:pt x="73" y="66"/>
                  </a:cubicBezTo>
                  <a:cubicBezTo>
                    <a:pt x="50" y="49"/>
                    <a:pt x="50" y="49"/>
                    <a:pt x="50" y="49"/>
                  </a:cubicBezTo>
                  <a:cubicBezTo>
                    <a:pt x="46" y="47"/>
                    <a:pt x="46" y="47"/>
                    <a:pt x="46" y="47"/>
                  </a:cubicBezTo>
                  <a:cubicBezTo>
                    <a:pt x="33" y="47"/>
                    <a:pt x="33" y="47"/>
                    <a:pt x="33" y="47"/>
                  </a:cubicBezTo>
                  <a:cubicBezTo>
                    <a:pt x="40" y="70"/>
                    <a:pt x="40" y="70"/>
                    <a:pt x="40" y="70"/>
                  </a:cubicBezTo>
                  <a:cubicBezTo>
                    <a:pt x="45" y="70"/>
                    <a:pt x="45" y="70"/>
                    <a:pt x="45" y="70"/>
                  </a:cubicBezTo>
                  <a:cubicBezTo>
                    <a:pt x="45" y="81"/>
                    <a:pt x="45" y="81"/>
                    <a:pt x="45" y="81"/>
                  </a:cubicBezTo>
                  <a:cubicBezTo>
                    <a:pt x="43" y="81"/>
                    <a:pt x="43" y="81"/>
                    <a:pt x="43" y="81"/>
                  </a:cubicBezTo>
                  <a:cubicBezTo>
                    <a:pt x="21" y="81"/>
                    <a:pt x="21" y="81"/>
                    <a:pt x="21" y="81"/>
                  </a:cubicBezTo>
                  <a:cubicBezTo>
                    <a:pt x="11" y="47"/>
                    <a:pt x="11" y="47"/>
                    <a:pt x="11" y="47"/>
                  </a:cubicBezTo>
                  <a:cubicBezTo>
                    <a:pt x="4" y="47"/>
                    <a:pt x="4" y="47"/>
                    <a:pt x="4" y="47"/>
                  </a:cubicBezTo>
                  <a:cubicBezTo>
                    <a:pt x="0" y="37"/>
                    <a:pt x="0" y="28"/>
                    <a:pt x="4" y="19"/>
                  </a:cubicBezTo>
                  <a:close/>
                  <a:moveTo>
                    <a:pt x="87" y="23"/>
                  </a:moveTo>
                  <a:cubicBezTo>
                    <a:pt x="91" y="24"/>
                    <a:pt x="94" y="28"/>
                    <a:pt x="94" y="33"/>
                  </a:cubicBezTo>
                  <a:cubicBezTo>
                    <a:pt x="94" y="38"/>
                    <a:pt x="91" y="42"/>
                    <a:pt x="87" y="43"/>
                  </a:cubicBezTo>
                  <a:cubicBezTo>
                    <a:pt x="87" y="66"/>
                    <a:pt x="87" y="66"/>
                    <a:pt x="87" y="66"/>
                  </a:cubicBezTo>
                  <a:cubicBezTo>
                    <a:pt x="78" y="66"/>
                    <a:pt x="78" y="66"/>
                    <a:pt x="78" y="66"/>
                  </a:cubicBezTo>
                  <a:cubicBezTo>
                    <a:pt x="78" y="0"/>
                    <a:pt x="78" y="0"/>
                    <a:pt x="78" y="0"/>
                  </a:cubicBezTo>
                  <a:cubicBezTo>
                    <a:pt x="87" y="0"/>
                    <a:pt x="87" y="0"/>
                    <a:pt x="87" y="0"/>
                  </a:cubicBezTo>
                  <a:cubicBezTo>
                    <a:pt x="87" y="23"/>
                    <a:pt x="87" y="23"/>
                    <a:pt x="87" y="23"/>
                  </a:cubicBezTo>
                  <a:close/>
                  <a:moveTo>
                    <a:pt x="46" y="49"/>
                  </a:moveTo>
                  <a:cubicBezTo>
                    <a:pt x="37" y="49"/>
                    <a:pt x="37" y="49"/>
                    <a:pt x="37" y="49"/>
                  </a:cubicBezTo>
                  <a:cubicBezTo>
                    <a:pt x="40" y="61"/>
                    <a:pt x="40" y="61"/>
                    <a:pt x="40" y="61"/>
                  </a:cubicBezTo>
                  <a:cubicBezTo>
                    <a:pt x="43" y="61"/>
                    <a:pt x="43" y="61"/>
                    <a:pt x="43" y="61"/>
                  </a:cubicBezTo>
                  <a:cubicBezTo>
                    <a:pt x="43" y="57"/>
                    <a:pt x="43" y="57"/>
                    <a:pt x="43" y="57"/>
                  </a:cubicBezTo>
                  <a:lnTo>
                    <a:pt x="46" y="49"/>
                  </a:lnTo>
                  <a:close/>
                </a:path>
              </a:pathLst>
            </a:custGeom>
            <a:solidFill>
              <a:schemeClr val="bg1"/>
            </a:solidFill>
            <a:ln>
              <a:noFill/>
            </a:ln>
          </p:spPr>
          <p:txBody>
            <a:bodyPr vert="horz" wrap="square" lIns="91440" tIns="45720" rIns="91440" bIns="45720" numCol="1" anchor="t" anchorCtr="0" compatLnSpc="1"/>
            <a:lstStyle/>
            <a:p>
              <a:endParaRPr lang="zh-CN" altLang="en-US">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0" name="组合 9"/>
          <p:cNvGrpSpPr/>
          <p:nvPr/>
        </p:nvGrpSpPr>
        <p:grpSpPr>
          <a:xfrm>
            <a:off x="1839959" y="1497002"/>
            <a:ext cx="9369519" cy="1087001"/>
            <a:chOff x="1855445" y="1397359"/>
            <a:chExt cx="9370739" cy="1087001"/>
          </a:xfrm>
        </p:grpSpPr>
        <p:sp>
          <p:nvSpPr>
            <p:cNvPr id="42" name="Notched Right Arrow 20"/>
            <p:cNvSpPr/>
            <p:nvPr/>
          </p:nvSpPr>
          <p:spPr>
            <a:xfrm>
              <a:off x="1855445" y="1397359"/>
              <a:ext cx="9370739" cy="1087001"/>
            </a:xfrm>
            <a:prstGeom prst="notchedRightArrow">
              <a:avLst>
                <a:gd name="adj1" fmla="val 100000"/>
                <a:gd name="adj2" fmla="val 46001"/>
              </a:avLst>
            </a:prstGeom>
            <a:solidFill>
              <a:srgbClr val="CBC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dirty="0">
                <a:solidFill>
                  <a:schemeClr val="tx1">
                    <a:lumMod val="85000"/>
                    <a:lumOff val="15000"/>
                  </a:schemeClr>
                </a:solidFill>
              </a:endParaRPr>
            </a:p>
          </p:txBody>
        </p:sp>
        <p:sp>
          <p:nvSpPr>
            <p:cNvPr id="46" name="Oval 28"/>
            <p:cNvSpPr>
              <a:spLocks noChangeAspect="1"/>
            </p:cNvSpPr>
            <p:nvPr/>
          </p:nvSpPr>
          <p:spPr>
            <a:xfrm>
              <a:off x="10150853" y="1593737"/>
              <a:ext cx="694248" cy="694244"/>
            </a:xfrm>
            <a:prstGeom prst="ellipse">
              <a:avLst/>
            </a:prstGeom>
            <a:solidFill>
              <a:srgbClr val="CBCBCB"/>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85000"/>
                      <a:lumOff val="15000"/>
                    </a:schemeClr>
                  </a:solidFill>
                  <a:latin typeface="Impact" panose="020B0806030902050204" pitchFamily="34" charset="0"/>
                </a:rPr>
                <a:t>01</a:t>
              </a:r>
            </a:p>
          </p:txBody>
        </p:sp>
      </p:grpSp>
      <p:sp>
        <p:nvSpPr>
          <p:cNvPr id="55" name="TextBox 59"/>
          <p:cNvSpPr txBox="1">
            <a:spLocks noChangeArrowheads="1"/>
          </p:cNvSpPr>
          <p:nvPr/>
        </p:nvSpPr>
        <p:spPr bwMode="auto">
          <a:xfrm flipH="1">
            <a:off x="2499903" y="1610147"/>
            <a:ext cx="2395013" cy="400101"/>
          </a:xfrm>
          <a:prstGeom prst="rect">
            <a:avLst/>
          </a:prstGeom>
          <a:noFill/>
          <a:ln>
            <a:noFill/>
          </a:ln>
        </p:spPr>
        <p:txBody>
          <a:bodyPr wrap="square" lIns="91431" tIns="45716" rIns="91431" bIns="4571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defRPr/>
            </a:pPr>
            <a:r>
              <a:rPr lang="zh-CN" altLang="en-US" sz="2000" b="1" dirty="0">
                <a:solidFill>
                  <a:schemeClr val="tx1">
                    <a:lumMod val="85000"/>
                    <a:lumOff val="15000"/>
                  </a:schemeClr>
                </a:solidFill>
                <a:latin typeface="微软雅黑" panose="020B0503020204020204" pitchFamily="34" charset="-122"/>
                <a:ea typeface="微软雅黑" panose="020B0503020204020204" pitchFamily="34" charset="-122"/>
              </a:rPr>
              <a:t>点击添加关键字</a:t>
            </a:r>
            <a:endParaRPr lang="en-US" altLang="ko-KR" sz="2000" kern="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56" name="矩形 55"/>
          <p:cNvSpPr>
            <a:spLocks noChangeArrowheads="1"/>
          </p:cNvSpPr>
          <p:nvPr/>
        </p:nvSpPr>
        <p:spPr bwMode="auto">
          <a:xfrm>
            <a:off x="2513550" y="1966291"/>
            <a:ext cx="7549783" cy="548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p>
            <a:pPr>
              <a:lnSpc>
                <a:spcPct val="114000"/>
              </a:lnSpc>
            </a:pPr>
            <a:r>
              <a:rPr lang="zh-CN" altLang="en-US" sz="1300" dirty="0">
                <a:solidFill>
                  <a:schemeClr val="tx1">
                    <a:lumMod val="85000"/>
                    <a:lumOff val="15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综合描述说明，在此录入上述图表的综合描述说明，在此录入上述图表的综合描述说明，在此录入上述图表的综合描述说明，在此录入上述图表的综合描述说明。</a:t>
            </a:r>
            <a:endParaRPr lang="zh-CN" altLang="en-US" sz="1300" dirty="0">
              <a:solidFill>
                <a:schemeClr val="tx1">
                  <a:lumMod val="85000"/>
                  <a:lumOff val="15000"/>
                </a:schemeClr>
              </a:solidFill>
            </a:endParaRPr>
          </a:p>
        </p:txBody>
      </p:sp>
      <p:grpSp>
        <p:nvGrpSpPr>
          <p:cNvPr id="23" name="组合 22"/>
          <p:cNvGrpSpPr/>
          <p:nvPr/>
        </p:nvGrpSpPr>
        <p:grpSpPr>
          <a:xfrm>
            <a:off x="797" y="1497003"/>
            <a:ext cx="2134931" cy="1087000"/>
            <a:chOff x="1" y="1429445"/>
            <a:chExt cx="2135209" cy="1087000"/>
          </a:xfrm>
        </p:grpSpPr>
        <p:sp>
          <p:nvSpPr>
            <p:cNvPr id="45" name="任意多边形 44"/>
            <p:cNvSpPr/>
            <p:nvPr/>
          </p:nvSpPr>
          <p:spPr>
            <a:xfrm rot="16200000">
              <a:off x="524106" y="905340"/>
              <a:ext cx="1087000" cy="2135209"/>
            </a:xfrm>
            <a:custGeom>
              <a:avLst/>
              <a:gdLst>
                <a:gd name="connsiteX0" fmla="*/ 1087000 w 1087000"/>
                <a:gd name="connsiteY0" fmla="*/ 0 h 2135209"/>
                <a:gd name="connsiteX1" fmla="*/ 1087000 w 1087000"/>
                <a:gd name="connsiteY1" fmla="*/ 1635178 h 2135209"/>
                <a:gd name="connsiteX2" fmla="*/ 543500 w 1087000"/>
                <a:gd name="connsiteY2" fmla="*/ 2135209 h 2135209"/>
                <a:gd name="connsiteX3" fmla="*/ 0 w 1087000"/>
                <a:gd name="connsiteY3" fmla="*/ 1635178 h 2135209"/>
                <a:gd name="connsiteX4" fmla="*/ 0 w 1087000"/>
                <a:gd name="connsiteY4" fmla="*/ 0 h 2135209"/>
                <a:gd name="connsiteX5" fmla="*/ 1087000 w 1087000"/>
                <a:gd name="connsiteY5" fmla="*/ 0 h 213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7000" h="2135209">
                  <a:moveTo>
                    <a:pt x="1087000" y="0"/>
                  </a:moveTo>
                  <a:lnTo>
                    <a:pt x="1087000" y="1635178"/>
                  </a:lnTo>
                  <a:lnTo>
                    <a:pt x="543500" y="2135209"/>
                  </a:lnTo>
                  <a:lnTo>
                    <a:pt x="0" y="1635178"/>
                  </a:lnTo>
                  <a:lnTo>
                    <a:pt x="0" y="0"/>
                  </a:lnTo>
                  <a:lnTo>
                    <a:pt x="108700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rtlCol="0" anchor="ctr">
              <a:noAutofit/>
            </a:bodyPr>
            <a:lstStyle/>
            <a:p>
              <a:pPr algn="ctr"/>
              <a:endParaRPr lang="en-US" sz="5865" dirty="0"/>
            </a:p>
          </p:txBody>
        </p:sp>
        <p:sp>
          <p:nvSpPr>
            <p:cNvPr id="62" name="任意多边形 61"/>
            <p:cNvSpPr/>
            <p:nvPr/>
          </p:nvSpPr>
          <p:spPr bwMode="auto">
            <a:xfrm>
              <a:off x="786724" y="1653765"/>
              <a:ext cx="658017" cy="638359"/>
            </a:xfrm>
            <a:custGeom>
              <a:avLst/>
              <a:gdLst>
                <a:gd name="connsiteX0" fmla="*/ 262805 w 519288"/>
                <a:gd name="connsiteY0" fmla="*/ 111558 h 503774"/>
                <a:gd name="connsiteX1" fmla="*/ 439744 w 519288"/>
                <a:gd name="connsiteY1" fmla="*/ 276036 h 503774"/>
                <a:gd name="connsiteX2" fmla="*/ 439744 w 519288"/>
                <a:gd name="connsiteY2" fmla="*/ 484796 h 503774"/>
                <a:gd name="connsiteX3" fmla="*/ 433425 w 519288"/>
                <a:gd name="connsiteY3" fmla="*/ 503774 h 503774"/>
                <a:gd name="connsiteX4" fmla="*/ 414467 w 519288"/>
                <a:gd name="connsiteY4" fmla="*/ 503774 h 503774"/>
                <a:gd name="connsiteX5" fmla="*/ 319678 w 519288"/>
                <a:gd name="connsiteY5" fmla="*/ 503774 h 503774"/>
                <a:gd name="connsiteX6" fmla="*/ 313359 w 519288"/>
                <a:gd name="connsiteY6" fmla="*/ 503774 h 503774"/>
                <a:gd name="connsiteX7" fmla="*/ 307040 w 519288"/>
                <a:gd name="connsiteY7" fmla="*/ 497448 h 503774"/>
                <a:gd name="connsiteX8" fmla="*/ 307040 w 519288"/>
                <a:gd name="connsiteY8" fmla="*/ 396231 h 503774"/>
                <a:gd name="connsiteX9" fmla="*/ 212251 w 519288"/>
                <a:gd name="connsiteY9" fmla="*/ 396231 h 503774"/>
                <a:gd name="connsiteX10" fmla="*/ 212251 w 519288"/>
                <a:gd name="connsiteY10" fmla="*/ 497448 h 503774"/>
                <a:gd name="connsiteX11" fmla="*/ 212251 w 519288"/>
                <a:gd name="connsiteY11" fmla="*/ 503774 h 503774"/>
                <a:gd name="connsiteX12" fmla="*/ 199612 w 519288"/>
                <a:gd name="connsiteY12" fmla="*/ 503774 h 503774"/>
                <a:gd name="connsiteX13" fmla="*/ 104823 w 519288"/>
                <a:gd name="connsiteY13" fmla="*/ 503774 h 503774"/>
                <a:gd name="connsiteX14" fmla="*/ 92185 w 519288"/>
                <a:gd name="connsiteY14" fmla="*/ 503774 h 503774"/>
                <a:gd name="connsiteX15" fmla="*/ 79546 w 519288"/>
                <a:gd name="connsiteY15" fmla="*/ 484796 h 503774"/>
                <a:gd name="connsiteX16" fmla="*/ 79546 w 519288"/>
                <a:gd name="connsiteY16" fmla="*/ 276036 h 503774"/>
                <a:gd name="connsiteX17" fmla="*/ 259644 w 519288"/>
                <a:gd name="connsiteY17" fmla="*/ 0 h 503774"/>
                <a:gd name="connsiteX18" fmla="*/ 281809 w 519288"/>
                <a:gd name="connsiteY18" fmla="*/ 9516 h 503774"/>
                <a:gd name="connsiteX19" fmla="*/ 370468 w 519288"/>
                <a:gd name="connsiteY19" fmla="*/ 91992 h 503774"/>
                <a:gd name="connsiteX20" fmla="*/ 370468 w 519288"/>
                <a:gd name="connsiteY20" fmla="*/ 22205 h 503774"/>
                <a:gd name="connsiteX21" fmla="*/ 383134 w 519288"/>
                <a:gd name="connsiteY21" fmla="*/ 9516 h 503774"/>
                <a:gd name="connsiteX22" fmla="*/ 414798 w 519288"/>
                <a:gd name="connsiteY22" fmla="*/ 9516 h 503774"/>
                <a:gd name="connsiteX23" fmla="*/ 427463 w 519288"/>
                <a:gd name="connsiteY23" fmla="*/ 22205 h 503774"/>
                <a:gd name="connsiteX24" fmla="*/ 427463 w 519288"/>
                <a:gd name="connsiteY24" fmla="*/ 142746 h 503774"/>
                <a:gd name="connsiteX25" fmla="*/ 509789 w 519288"/>
                <a:gd name="connsiteY25" fmla="*/ 218877 h 503774"/>
                <a:gd name="connsiteX26" fmla="*/ 509789 w 519288"/>
                <a:gd name="connsiteY26" fmla="*/ 269631 h 503774"/>
                <a:gd name="connsiteX27" fmla="*/ 465460 w 519288"/>
                <a:gd name="connsiteY27" fmla="*/ 269631 h 503774"/>
                <a:gd name="connsiteX28" fmla="*/ 262810 w 519288"/>
                <a:gd name="connsiteY28" fmla="*/ 79303 h 503774"/>
                <a:gd name="connsiteX29" fmla="*/ 60161 w 519288"/>
                <a:gd name="connsiteY29" fmla="*/ 269631 h 503774"/>
                <a:gd name="connsiteX30" fmla="*/ 34830 w 519288"/>
                <a:gd name="connsiteY30" fmla="*/ 275975 h 503774"/>
                <a:gd name="connsiteX31" fmla="*/ 9499 w 519288"/>
                <a:gd name="connsiteY31" fmla="*/ 269631 h 503774"/>
                <a:gd name="connsiteX32" fmla="*/ 9499 w 519288"/>
                <a:gd name="connsiteY32" fmla="*/ 218877 h 503774"/>
                <a:gd name="connsiteX33" fmla="*/ 237479 w 519288"/>
                <a:gd name="connsiteY33" fmla="*/ 9516 h 503774"/>
                <a:gd name="connsiteX34" fmla="*/ 259644 w 519288"/>
                <a:gd name="connsiteY34" fmla="*/ 0 h 50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19288" h="503774">
                  <a:moveTo>
                    <a:pt x="262805" y="111558"/>
                  </a:moveTo>
                  <a:cubicBezTo>
                    <a:pt x="262805" y="111558"/>
                    <a:pt x="262805" y="111558"/>
                    <a:pt x="439744" y="276036"/>
                  </a:cubicBezTo>
                  <a:cubicBezTo>
                    <a:pt x="439744" y="276036"/>
                    <a:pt x="439744" y="276036"/>
                    <a:pt x="439744" y="484796"/>
                  </a:cubicBezTo>
                  <a:cubicBezTo>
                    <a:pt x="439744" y="497448"/>
                    <a:pt x="433425" y="503774"/>
                    <a:pt x="433425" y="503774"/>
                  </a:cubicBezTo>
                  <a:cubicBezTo>
                    <a:pt x="427106" y="503774"/>
                    <a:pt x="420786" y="503774"/>
                    <a:pt x="414467" y="503774"/>
                  </a:cubicBezTo>
                  <a:cubicBezTo>
                    <a:pt x="414467" y="503774"/>
                    <a:pt x="414467" y="503774"/>
                    <a:pt x="319678" y="503774"/>
                  </a:cubicBezTo>
                  <a:cubicBezTo>
                    <a:pt x="319678" y="503774"/>
                    <a:pt x="313359" y="503774"/>
                    <a:pt x="313359" y="503774"/>
                  </a:cubicBezTo>
                  <a:cubicBezTo>
                    <a:pt x="313359" y="503774"/>
                    <a:pt x="307040" y="497448"/>
                    <a:pt x="307040" y="497448"/>
                  </a:cubicBezTo>
                  <a:cubicBezTo>
                    <a:pt x="307040" y="497448"/>
                    <a:pt x="307040" y="497448"/>
                    <a:pt x="307040" y="396231"/>
                  </a:cubicBezTo>
                  <a:cubicBezTo>
                    <a:pt x="307040" y="396231"/>
                    <a:pt x="307040" y="396231"/>
                    <a:pt x="212251" y="396231"/>
                  </a:cubicBezTo>
                  <a:cubicBezTo>
                    <a:pt x="212251" y="396231"/>
                    <a:pt x="212251" y="396231"/>
                    <a:pt x="212251" y="497448"/>
                  </a:cubicBezTo>
                  <a:cubicBezTo>
                    <a:pt x="212251" y="497448"/>
                    <a:pt x="212251" y="503774"/>
                    <a:pt x="212251" y="503774"/>
                  </a:cubicBezTo>
                  <a:cubicBezTo>
                    <a:pt x="205931" y="503774"/>
                    <a:pt x="205931" y="503774"/>
                    <a:pt x="199612" y="503774"/>
                  </a:cubicBezTo>
                  <a:cubicBezTo>
                    <a:pt x="199612" y="503774"/>
                    <a:pt x="199612" y="503774"/>
                    <a:pt x="104823" y="503774"/>
                  </a:cubicBezTo>
                  <a:cubicBezTo>
                    <a:pt x="98504" y="503774"/>
                    <a:pt x="98504" y="503774"/>
                    <a:pt x="92185" y="503774"/>
                  </a:cubicBezTo>
                  <a:cubicBezTo>
                    <a:pt x="85865" y="503774"/>
                    <a:pt x="79546" y="497448"/>
                    <a:pt x="79546" y="484796"/>
                  </a:cubicBezTo>
                  <a:cubicBezTo>
                    <a:pt x="79546" y="484796"/>
                    <a:pt x="79546" y="484796"/>
                    <a:pt x="79546" y="276036"/>
                  </a:cubicBezTo>
                  <a:close/>
                  <a:moveTo>
                    <a:pt x="259644" y="0"/>
                  </a:moveTo>
                  <a:cubicBezTo>
                    <a:pt x="267560" y="0"/>
                    <a:pt x="275476" y="3172"/>
                    <a:pt x="281809" y="9516"/>
                  </a:cubicBezTo>
                  <a:cubicBezTo>
                    <a:pt x="281809" y="9516"/>
                    <a:pt x="281809" y="9516"/>
                    <a:pt x="370468" y="91992"/>
                  </a:cubicBezTo>
                  <a:cubicBezTo>
                    <a:pt x="370468" y="91992"/>
                    <a:pt x="370468" y="91992"/>
                    <a:pt x="370468" y="22205"/>
                  </a:cubicBezTo>
                  <a:cubicBezTo>
                    <a:pt x="370468" y="15861"/>
                    <a:pt x="376801" y="9516"/>
                    <a:pt x="383134" y="9516"/>
                  </a:cubicBezTo>
                  <a:cubicBezTo>
                    <a:pt x="383134" y="9516"/>
                    <a:pt x="383134" y="9516"/>
                    <a:pt x="414798" y="9516"/>
                  </a:cubicBezTo>
                  <a:cubicBezTo>
                    <a:pt x="421130" y="9516"/>
                    <a:pt x="427463" y="15861"/>
                    <a:pt x="427463" y="22205"/>
                  </a:cubicBezTo>
                  <a:cubicBezTo>
                    <a:pt x="427463" y="22205"/>
                    <a:pt x="427463" y="22205"/>
                    <a:pt x="427463" y="142746"/>
                  </a:cubicBezTo>
                  <a:cubicBezTo>
                    <a:pt x="427463" y="142746"/>
                    <a:pt x="427463" y="142746"/>
                    <a:pt x="509789" y="218877"/>
                  </a:cubicBezTo>
                  <a:cubicBezTo>
                    <a:pt x="522455" y="231565"/>
                    <a:pt x="522455" y="250598"/>
                    <a:pt x="509789" y="269631"/>
                  </a:cubicBezTo>
                  <a:cubicBezTo>
                    <a:pt x="503457" y="282319"/>
                    <a:pt x="478126" y="282319"/>
                    <a:pt x="465460" y="269631"/>
                  </a:cubicBezTo>
                  <a:cubicBezTo>
                    <a:pt x="465460" y="269631"/>
                    <a:pt x="465460" y="269631"/>
                    <a:pt x="262810" y="79303"/>
                  </a:cubicBezTo>
                  <a:cubicBezTo>
                    <a:pt x="262810" y="79303"/>
                    <a:pt x="262810" y="79303"/>
                    <a:pt x="60161" y="269631"/>
                  </a:cubicBezTo>
                  <a:cubicBezTo>
                    <a:pt x="53828" y="275975"/>
                    <a:pt x="41163" y="275975"/>
                    <a:pt x="34830" y="275975"/>
                  </a:cubicBezTo>
                  <a:cubicBezTo>
                    <a:pt x="28497" y="275975"/>
                    <a:pt x="15831" y="275975"/>
                    <a:pt x="9499" y="269631"/>
                  </a:cubicBezTo>
                  <a:cubicBezTo>
                    <a:pt x="-3167" y="250598"/>
                    <a:pt x="-3167" y="231565"/>
                    <a:pt x="9499" y="218877"/>
                  </a:cubicBezTo>
                  <a:cubicBezTo>
                    <a:pt x="9499" y="218877"/>
                    <a:pt x="9499" y="218877"/>
                    <a:pt x="237479" y="9516"/>
                  </a:cubicBezTo>
                  <a:cubicBezTo>
                    <a:pt x="243812" y="3172"/>
                    <a:pt x="251728" y="0"/>
                    <a:pt x="2596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425">
                <a:solidFill>
                  <a:schemeClr val="bg1"/>
                </a:solidFill>
              </a:endParaRPr>
            </a:p>
          </p:txBody>
        </p:sp>
      </p:gr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14:presetBounceEnd="40000">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14:bounceEnd="40000">
                                          <p:cBhvr additive="base">
                                            <p:cTn id="7" dur="400" fill="hold"/>
                                            <p:tgtEl>
                                              <p:spTgt spid="23"/>
                                            </p:tgtEl>
                                            <p:attrNameLst>
                                              <p:attrName>ppt_x</p:attrName>
                                            </p:attrNameLst>
                                          </p:cBhvr>
                                          <p:tavLst>
                                            <p:tav tm="0">
                                              <p:val>
                                                <p:strVal val="0-#ppt_w/2"/>
                                              </p:val>
                                            </p:tav>
                                            <p:tav tm="100000">
                                              <p:val>
                                                <p:strVal val="#ppt_x"/>
                                              </p:val>
                                            </p:tav>
                                          </p:tavLst>
                                        </p:anim>
                                        <p:anim calcmode="lin" valueType="num" p14:bounceEnd="40000">
                                          <p:cBhvr additive="base">
                                            <p:cTn id="8" dur="4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14:presetBounceEnd="40000">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14:bounceEnd="40000">
                                          <p:cBhvr additive="base">
                                            <p:cTn id="12" dur="600" fill="hold"/>
                                            <p:tgtEl>
                                              <p:spTgt spid="10"/>
                                            </p:tgtEl>
                                            <p:attrNameLst>
                                              <p:attrName>ppt_x</p:attrName>
                                            </p:attrNameLst>
                                          </p:cBhvr>
                                          <p:tavLst>
                                            <p:tav tm="0">
                                              <p:val>
                                                <p:strVal val="1+#ppt_w/2"/>
                                              </p:val>
                                            </p:tav>
                                            <p:tav tm="100000">
                                              <p:val>
                                                <p:strVal val="#ppt_x"/>
                                              </p:val>
                                            </p:tav>
                                          </p:tavLst>
                                        </p:anim>
                                        <p:anim calcmode="lin" valueType="num" p14:bounceEnd="40000">
                                          <p:cBhvr additive="base">
                                            <p:cTn id="13" dur="600" fill="hold"/>
                                            <p:tgtEl>
                                              <p:spTgt spid="10"/>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2" presetClass="entr" presetSubtype="8" fill="hold" grpId="0" nodeType="afterEffect">
                                      <p:stCondLst>
                                        <p:cond delay="0"/>
                                      </p:stCondLst>
                                      <p:childTnLst>
                                        <p:set>
                                          <p:cBhvr>
                                            <p:cTn id="16" dur="1" fill="hold">
                                              <p:stCondLst>
                                                <p:cond delay="0"/>
                                              </p:stCondLst>
                                            </p:cTn>
                                            <p:tgtEl>
                                              <p:spTgt spid="55"/>
                                            </p:tgtEl>
                                            <p:attrNameLst>
                                              <p:attrName>style.visibility</p:attrName>
                                            </p:attrNameLst>
                                          </p:cBhvr>
                                          <p:to>
                                            <p:strVal val="visible"/>
                                          </p:to>
                                        </p:set>
                                        <p:animEffect transition="in" filter="wipe(left)">
                                          <p:cBhvr>
                                            <p:cTn id="17" dur="500"/>
                                            <p:tgtEl>
                                              <p:spTgt spid="55"/>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56"/>
                                            </p:tgtEl>
                                            <p:attrNameLst>
                                              <p:attrName>style.visibility</p:attrName>
                                            </p:attrNameLst>
                                          </p:cBhvr>
                                          <p:to>
                                            <p:strVal val="visible"/>
                                          </p:to>
                                        </p:set>
                                        <p:animEffect transition="in" filter="wipe(left)">
                                          <p:cBhvr>
                                            <p:cTn id="20" dur="750"/>
                                            <p:tgtEl>
                                              <p:spTgt spid="56"/>
                                            </p:tgtEl>
                                          </p:cBhvr>
                                        </p:animEffect>
                                      </p:childTnLst>
                                    </p:cTn>
                                  </p:par>
                                </p:childTnLst>
                              </p:cTn>
                            </p:par>
                            <p:par>
                              <p:cTn id="21" fill="hold">
                                <p:stCondLst>
                                  <p:cond delay="2000"/>
                                </p:stCondLst>
                                <p:childTnLst>
                                  <p:par>
                                    <p:cTn id="22" presetID="2" presetClass="entr" presetSubtype="2" fill="hold" nodeType="afterEffect" p14:presetBounceEnd="40000">
                                      <p:stCondLst>
                                        <p:cond delay="0"/>
                                      </p:stCondLst>
                                      <p:childTnLst>
                                        <p:set>
                                          <p:cBhvr>
                                            <p:cTn id="23" dur="1" fill="hold">
                                              <p:stCondLst>
                                                <p:cond delay="0"/>
                                              </p:stCondLst>
                                            </p:cTn>
                                            <p:tgtEl>
                                              <p:spTgt spid="24"/>
                                            </p:tgtEl>
                                            <p:attrNameLst>
                                              <p:attrName>style.visibility</p:attrName>
                                            </p:attrNameLst>
                                          </p:cBhvr>
                                          <p:to>
                                            <p:strVal val="visible"/>
                                          </p:to>
                                        </p:set>
                                        <p:anim calcmode="lin" valueType="num" p14:bounceEnd="40000">
                                          <p:cBhvr additive="base">
                                            <p:cTn id="24" dur="400" fill="hold"/>
                                            <p:tgtEl>
                                              <p:spTgt spid="24"/>
                                            </p:tgtEl>
                                            <p:attrNameLst>
                                              <p:attrName>ppt_x</p:attrName>
                                            </p:attrNameLst>
                                          </p:cBhvr>
                                          <p:tavLst>
                                            <p:tav tm="0">
                                              <p:val>
                                                <p:strVal val="1+#ppt_w/2"/>
                                              </p:val>
                                            </p:tav>
                                            <p:tav tm="100000">
                                              <p:val>
                                                <p:strVal val="#ppt_x"/>
                                              </p:val>
                                            </p:tav>
                                          </p:tavLst>
                                        </p:anim>
                                        <p:anim calcmode="lin" valueType="num" p14:bounceEnd="40000">
                                          <p:cBhvr additive="base">
                                            <p:cTn id="25" dur="400" fill="hold"/>
                                            <p:tgtEl>
                                              <p:spTgt spid="24"/>
                                            </p:tgtEl>
                                            <p:attrNameLst>
                                              <p:attrName>ppt_y</p:attrName>
                                            </p:attrNameLst>
                                          </p:cBhvr>
                                          <p:tavLst>
                                            <p:tav tm="0">
                                              <p:val>
                                                <p:strVal val="#ppt_y"/>
                                              </p:val>
                                            </p:tav>
                                            <p:tav tm="100000">
                                              <p:val>
                                                <p:strVal val="#ppt_y"/>
                                              </p:val>
                                            </p:tav>
                                          </p:tavLst>
                                        </p:anim>
                                      </p:childTnLst>
                                    </p:cTn>
                                  </p:par>
                                </p:childTnLst>
                              </p:cTn>
                            </p:par>
                            <p:par>
                              <p:cTn id="26" fill="hold">
                                <p:stCondLst>
                                  <p:cond delay="2500"/>
                                </p:stCondLst>
                                <p:childTnLst>
                                  <p:par>
                                    <p:cTn id="27" presetID="2" presetClass="entr" presetSubtype="8" fill="hold" nodeType="afterEffect" p14:presetBounceEnd="40000">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14:bounceEnd="40000">
                                          <p:cBhvr additive="base">
                                            <p:cTn id="29" dur="600" fill="hold"/>
                                            <p:tgtEl>
                                              <p:spTgt spid="11"/>
                                            </p:tgtEl>
                                            <p:attrNameLst>
                                              <p:attrName>ppt_x</p:attrName>
                                            </p:attrNameLst>
                                          </p:cBhvr>
                                          <p:tavLst>
                                            <p:tav tm="0">
                                              <p:val>
                                                <p:strVal val="0-#ppt_w/2"/>
                                              </p:val>
                                            </p:tav>
                                            <p:tav tm="100000">
                                              <p:val>
                                                <p:strVal val="#ppt_x"/>
                                              </p:val>
                                            </p:tav>
                                          </p:tavLst>
                                        </p:anim>
                                        <p:anim calcmode="lin" valueType="num" p14:bounceEnd="40000">
                                          <p:cBhvr additive="base">
                                            <p:cTn id="30" dur="600" fill="hold"/>
                                            <p:tgtEl>
                                              <p:spTgt spid="11"/>
                                            </p:tgtEl>
                                            <p:attrNameLst>
                                              <p:attrName>ppt_y</p:attrName>
                                            </p:attrNameLst>
                                          </p:cBhvr>
                                          <p:tavLst>
                                            <p:tav tm="0">
                                              <p:val>
                                                <p:strVal val="#ppt_y"/>
                                              </p:val>
                                            </p:tav>
                                            <p:tav tm="100000">
                                              <p:val>
                                                <p:strVal val="#ppt_y"/>
                                              </p:val>
                                            </p:tav>
                                          </p:tavLst>
                                        </p:anim>
                                      </p:childTnLst>
                                    </p:cTn>
                                  </p:par>
                                </p:childTnLst>
                              </p:cTn>
                            </p:par>
                            <p:par>
                              <p:cTn id="31" fill="hold">
                                <p:stCondLst>
                                  <p:cond delay="3500"/>
                                </p:stCondLst>
                                <p:childTnLst>
                                  <p:par>
                                    <p:cTn id="32" presetID="22" presetClass="entr" presetSubtype="2" fill="hold" grpId="0"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wipe(right)">
                                          <p:cBhvr>
                                            <p:cTn id="34" dur="500"/>
                                            <p:tgtEl>
                                              <p:spTgt spid="57"/>
                                            </p:tgtEl>
                                          </p:cBhvr>
                                        </p:animEffect>
                                      </p:childTnLst>
                                    </p:cTn>
                                  </p:par>
                                  <p:par>
                                    <p:cTn id="35" presetID="22" presetClass="entr" presetSubtype="2"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wipe(right)">
                                          <p:cBhvr>
                                            <p:cTn id="37" dur="750"/>
                                            <p:tgtEl>
                                              <p:spTgt spid="58"/>
                                            </p:tgtEl>
                                          </p:cBhvr>
                                        </p:animEffect>
                                      </p:childTnLst>
                                    </p:cTn>
                                  </p:par>
                                </p:childTnLst>
                              </p:cTn>
                            </p:par>
                            <p:par>
                              <p:cTn id="38" fill="hold">
                                <p:stCondLst>
                                  <p:cond delay="4000"/>
                                </p:stCondLst>
                                <p:childTnLst>
                                  <p:par>
                                    <p:cTn id="39" presetID="2" presetClass="entr" presetSubtype="8" fill="hold" nodeType="afterEffect" p14:presetBounceEnd="40000">
                                      <p:stCondLst>
                                        <p:cond delay="0"/>
                                      </p:stCondLst>
                                      <p:childTnLst>
                                        <p:set>
                                          <p:cBhvr>
                                            <p:cTn id="40" dur="1" fill="hold">
                                              <p:stCondLst>
                                                <p:cond delay="0"/>
                                              </p:stCondLst>
                                            </p:cTn>
                                            <p:tgtEl>
                                              <p:spTgt spid="22"/>
                                            </p:tgtEl>
                                            <p:attrNameLst>
                                              <p:attrName>style.visibility</p:attrName>
                                            </p:attrNameLst>
                                          </p:cBhvr>
                                          <p:to>
                                            <p:strVal val="visible"/>
                                          </p:to>
                                        </p:set>
                                        <p:anim calcmode="lin" valueType="num" p14:bounceEnd="40000">
                                          <p:cBhvr additive="base">
                                            <p:cTn id="41" dur="400" fill="hold"/>
                                            <p:tgtEl>
                                              <p:spTgt spid="22"/>
                                            </p:tgtEl>
                                            <p:attrNameLst>
                                              <p:attrName>ppt_x</p:attrName>
                                            </p:attrNameLst>
                                          </p:cBhvr>
                                          <p:tavLst>
                                            <p:tav tm="0">
                                              <p:val>
                                                <p:strVal val="0-#ppt_w/2"/>
                                              </p:val>
                                            </p:tav>
                                            <p:tav tm="100000">
                                              <p:val>
                                                <p:strVal val="#ppt_x"/>
                                              </p:val>
                                            </p:tav>
                                          </p:tavLst>
                                        </p:anim>
                                        <p:anim calcmode="lin" valueType="num" p14:bounceEnd="40000">
                                          <p:cBhvr additive="base">
                                            <p:cTn id="42" dur="400" fill="hold"/>
                                            <p:tgtEl>
                                              <p:spTgt spid="22"/>
                                            </p:tgtEl>
                                            <p:attrNameLst>
                                              <p:attrName>ppt_y</p:attrName>
                                            </p:attrNameLst>
                                          </p:cBhvr>
                                          <p:tavLst>
                                            <p:tav tm="0">
                                              <p:val>
                                                <p:strVal val="#ppt_y"/>
                                              </p:val>
                                            </p:tav>
                                            <p:tav tm="100000">
                                              <p:val>
                                                <p:strVal val="#ppt_y"/>
                                              </p:val>
                                            </p:tav>
                                          </p:tavLst>
                                        </p:anim>
                                      </p:childTnLst>
                                    </p:cTn>
                                  </p:par>
                                </p:childTnLst>
                              </p:cTn>
                            </p:par>
                            <p:par>
                              <p:cTn id="43" fill="hold">
                                <p:stCondLst>
                                  <p:cond delay="4500"/>
                                </p:stCondLst>
                                <p:childTnLst>
                                  <p:par>
                                    <p:cTn id="44" presetID="2" presetClass="entr" presetSubtype="2" fill="hold" nodeType="afterEffect" p14:presetBounceEnd="40000">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14:bounceEnd="40000">
                                          <p:cBhvr additive="base">
                                            <p:cTn id="46" dur="600" fill="hold"/>
                                            <p:tgtEl>
                                              <p:spTgt spid="12"/>
                                            </p:tgtEl>
                                            <p:attrNameLst>
                                              <p:attrName>ppt_x</p:attrName>
                                            </p:attrNameLst>
                                          </p:cBhvr>
                                          <p:tavLst>
                                            <p:tav tm="0">
                                              <p:val>
                                                <p:strVal val="1+#ppt_w/2"/>
                                              </p:val>
                                            </p:tav>
                                            <p:tav tm="100000">
                                              <p:val>
                                                <p:strVal val="#ppt_x"/>
                                              </p:val>
                                            </p:tav>
                                          </p:tavLst>
                                        </p:anim>
                                        <p:anim calcmode="lin" valueType="num" p14:bounceEnd="40000">
                                          <p:cBhvr additive="base">
                                            <p:cTn id="47" dur="600" fill="hold"/>
                                            <p:tgtEl>
                                              <p:spTgt spid="12"/>
                                            </p:tgtEl>
                                            <p:attrNameLst>
                                              <p:attrName>ppt_y</p:attrName>
                                            </p:attrNameLst>
                                          </p:cBhvr>
                                          <p:tavLst>
                                            <p:tav tm="0">
                                              <p:val>
                                                <p:strVal val="#ppt_y"/>
                                              </p:val>
                                            </p:tav>
                                            <p:tav tm="100000">
                                              <p:val>
                                                <p:strVal val="#ppt_y"/>
                                              </p:val>
                                            </p:tav>
                                          </p:tavLst>
                                        </p:anim>
                                      </p:childTnLst>
                                    </p:cTn>
                                  </p:par>
                                </p:childTnLst>
                              </p:cTn>
                            </p:par>
                            <p:par>
                              <p:cTn id="48" fill="hold">
                                <p:stCondLst>
                                  <p:cond delay="5500"/>
                                </p:stCondLst>
                                <p:childTnLst>
                                  <p:par>
                                    <p:cTn id="49" presetID="22" presetClass="entr" presetSubtype="8" fill="hold" grpId="0" nodeType="after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wipe(left)">
                                          <p:cBhvr>
                                            <p:cTn id="51" dur="500"/>
                                            <p:tgtEl>
                                              <p:spTgt spid="36"/>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wipe(left)">
                                          <p:cBhvr>
                                            <p:cTn id="54" dur="750"/>
                                            <p:tgtEl>
                                              <p:spTgt spid="43"/>
                                            </p:tgtEl>
                                          </p:cBhvr>
                                        </p:animEffect>
                                      </p:childTnLst>
                                    </p:cTn>
                                  </p:par>
                                </p:childTnLst>
                              </p:cTn>
                            </p:par>
                            <p:par>
                              <p:cTn id="55" fill="hold">
                                <p:stCondLst>
                                  <p:cond delay="6000"/>
                                </p:stCondLst>
                                <p:childTnLst>
                                  <p:par>
                                    <p:cTn id="56" presetID="2" presetClass="entr" presetSubtype="2" fill="hold" nodeType="afterEffect" p14:presetBounceEnd="40000">
                                      <p:stCondLst>
                                        <p:cond delay="0"/>
                                      </p:stCondLst>
                                      <p:childTnLst>
                                        <p:set>
                                          <p:cBhvr>
                                            <p:cTn id="57" dur="1" fill="hold">
                                              <p:stCondLst>
                                                <p:cond delay="0"/>
                                              </p:stCondLst>
                                            </p:cTn>
                                            <p:tgtEl>
                                              <p:spTgt spid="25"/>
                                            </p:tgtEl>
                                            <p:attrNameLst>
                                              <p:attrName>style.visibility</p:attrName>
                                            </p:attrNameLst>
                                          </p:cBhvr>
                                          <p:to>
                                            <p:strVal val="visible"/>
                                          </p:to>
                                        </p:set>
                                        <p:anim calcmode="lin" valueType="num" p14:bounceEnd="40000">
                                          <p:cBhvr additive="base">
                                            <p:cTn id="58" dur="400" fill="hold"/>
                                            <p:tgtEl>
                                              <p:spTgt spid="25"/>
                                            </p:tgtEl>
                                            <p:attrNameLst>
                                              <p:attrName>ppt_x</p:attrName>
                                            </p:attrNameLst>
                                          </p:cBhvr>
                                          <p:tavLst>
                                            <p:tav tm="0">
                                              <p:val>
                                                <p:strVal val="1+#ppt_w/2"/>
                                              </p:val>
                                            </p:tav>
                                            <p:tav tm="100000">
                                              <p:val>
                                                <p:strVal val="#ppt_x"/>
                                              </p:val>
                                            </p:tav>
                                          </p:tavLst>
                                        </p:anim>
                                        <p:anim calcmode="lin" valueType="num" p14:bounceEnd="40000">
                                          <p:cBhvr additive="base">
                                            <p:cTn id="59" dur="400" fill="hold"/>
                                            <p:tgtEl>
                                              <p:spTgt spid="25"/>
                                            </p:tgtEl>
                                            <p:attrNameLst>
                                              <p:attrName>ppt_y</p:attrName>
                                            </p:attrNameLst>
                                          </p:cBhvr>
                                          <p:tavLst>
                                            <p:tav tm="0">
                                              <p:val>
                                                <p:strVal val="#ppt_y"/>
                                              </p:val>
                                            </p:tav>
                                            <p:tav tm="100000">
                                              <p:val>
                                                <p:strVal val="#ppt_y"/>
                                              </p:val>
                                            </p:tav>
                                          </p:tavLst>
                                        </p:anim>
                                      </p:childTnLst>
                                    </p:cTn>
                                  </p:par>
                                </p:childTnLst>
                              </p:cTn>
                            </p:par>
                            <p:par>
                              <p:cTn id="60" fill="hold">
                                <p:stCondLst>
                                  <p:cond delay="6500"/>
                                </p:stCondLst>
                                <p:childTnLst>
                                  <p:par>
                                    <p:cTn id="61" presetID="2" presetClass="entr" presetSubtype="8" fill="hold" nodeType="afterEffect" p14:presetBounceEnd="40000">
                                      <p:stCondLst>
                                        <p:cond delay="0"/>
                                      </p:stCondLst>
                                      <p:childTnLst>
                                        <p:set>
                                          <p:cBhvr>
                                            <p:cTn id="62" dur="1" fill="hold">
                                              <p:stCondLst>
                                                <p:cond delay="0"/>
                                              </p:stCondLst>
                                            </p:cTn>
                                            <p:tgtEl>
                                              <p:spTgt spid="13"/>
                                            </p:tgtEl>
                                            <p:attrNameLst>
                                              <p:attrName>style.visibility</p:attrName>
                                            </p:attrNameLst>
                                          </p:cBhvr>
                                          <p:to>
                                            <p:strVal val="visible"/>
                                          </p:to>
                                        </p:set>
                                        <p:anim calcmode="lin" valueType="num" p14:bounceEnd="40000">
                                          <p:cBhvr additive="base">
                                            <p:cTn id="63" dur="600" fill="hold"/>
                                            <p:tgtEl>
                                              <p:spTgt spid="13"/>
                                            </p:tgtEl>
                                            <p:attrNameLst>
                                              <p:attrName>ppt_x</p:attrName>
                                            </p:attrNameLst>
                                          </p:cBhvr>
                                          <p:tavLst>
                                            <p:tav tm="0">
                                              <p:val>
                                                <p:strVal val="0-#ppt_w/2"/>
                                              </p:val>
                                            </p:tav>
                                            <p:tav tm="100000">
                                              <p:val>
                                                <p:strVal val="#ppt_x"/>
                                              </p:val>
                                            </p:tav>
                                          </p:tavLst>
                                        </p:anim>
                                        <p:anim calcmode="lin" valueType="num" p14:bounceEnd="40000">
                                          <p:cBhvr additive="base">
                                            <p:cTn id="64" dur="600" fill="hold"/>
                                            <p:tgtEl>
                                              <p:spTgt spid="13"/>
                                            </p:tgtEl>
                                            <p:attrNameLst>
                                              <p:attrName>ppt_y</p:attrName>
                                            </p:attrNameLst>
                                          </p:cBhvr>
                                          <p:tavLst>
                                            <p:tav tm="0">
                                              <p:val>
                                                <p:strVal val="#ppt_y"/>
                                              </p:val>
                                            </p:tav>
                                            <p:tav tm="100000">
                                              <p:val>
                                                <p:strVal val="#ppt_y"/>
                                              </p:val>
                                            </p:tav>
                                          </p:tavLst>
                                        </p:anim>
                                      </p:childTnLst>
                                    </p:cTn>
                                  </p:par>
                                </p:childTnLst>
                              </p:cTn>
                            </p:par>
                            <p:par>
                              <p:cTn id="65" fill="hold">
                                <p:stCondLst>
                                  <p:cond delay="7500"/>
                                </p:stCondLst>
                                <p:childTnLst>
                                  <p:par>
                                    <p:cTn id="66" presetID="22" presetClass="entr" presetSubtype="2" fill="hold" grpId="0" nodeType="afterEffect">
                                      <p:stCondLst>
                                        <p:cond delay="0"/>
                                      </p:stCondLst>
                                      <p:childTnLst>
                                        <p:set>
                                          <p:cBhvr>
                                            <p:cTn id="67" dur="1" fill="hold">
                                              <p:stCondLst>
                                                <p:cond delay="0"/>
                                              </p:stCondLst>
                                            </p:cTn>
                                            <p:tgtEl>
                                              <p:spTgt spid="44"/>
                                            </p:tgtEl>
                                            <p:attrNameLst>
                                              <p:attrName>style.visibility</p:attrName>
                                            </p:attrNameLst>
                                          </p:cBhvr>
                                          <p:to>
                                            <p:strVal val="visible"/>
                                          </p:to>
                                        </p:set>
                                        <p:animEffect transition="in" filter="wipe(right)">
                                          <p:cBhvr>
                                            <p:cTn id="68" dur="500"/>
                                            <p:tgtEl>
                                              <p:spTgt spid="44"/>
                                            </p:tgtEl>
                                          </p:cBhvr>
                                        </p:animEffect>
                                      </p:childTnLst>
                                    </p:cTn>
                                  </p:par>
                                  <p:par>
                                    <p:cTn id="69" presetID="22" presetClass="entr" presetSubtype="2"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wipe(right)">
                                          <p:cBhvr>
                                            <p:cTn id="71" dur="7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43" grpId="0"/>
          <p:bldP spid="57" grpId="0"/>
          <p:bldP spid="58" grpId="0"/>
          <p:bldP spid="44" grpId="0"/>
          <p:bldP spid="50" grpId="0"/>
          <p:bldP spid="55" grpId="0"/>
          <p:bldP spid="56"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400" fill="hold"/>
                                            <p:tgtEl>
                                              <p:spTgt spid="23"/>
                                            </p:tgtEl>
                                            <p:attrNameLst>
                                              <p:attrName>ppt_x</p:attrName>
                                            </p:attrNameLst>
                                          </p:cBhvr>
                                          <p:tavLst>
                                            <p:tav tm="0">
                                              <p:val>
                                                <p:strVal val="0-#ppt_w/2"/>
                                              </p:val>
                                            </p:tav>
                                            <p:tav tm="100000">
                                              <p:val>
                                                <p:strVal val="#ppt_x"/>
                                              </p:val>
                                            </p:tav>
                                          </p:tavLst>
                                        </p:anim>
                                        <p:anim calcmode="lin" valueType="num">
                                          <p:cBhvr additive="base">
                                            <p:cTn id="8" dur="400" fill="hold"/>
                                            <p:tgtEl>
                                              <p:spTgt spid="2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600" fill="hold"/>
                                            <p:tgtEl>
                                              <p:spTgt spid="10"/>
                                            </p:tgtEl>
                                            <p:attrNameLst>
                                              <p:attrName>ppt_x</p:attrName>
                                            </p:attrNameLst>
                                          </p:cBhvr>
                                          <p:tavLst>
                                            <p:tav tm="0">
                                              <p:val>
                                                <p:strVal val="1+#ppt_w/2"/>
                                              </p:val>
                                            </p:tav>
                                            <p:tav tm="100000">
                                              <p:val>
                                                <p:strVal val="#ppt_x"/>
                                              </p:val>
                                            </p:tav>
                                          </p:tavLst>
                                        </p:anim>
                                        <p:anim calcmode="lin" valueType="num">
                                          <p:cBhvr additive="base">
                                            <p:cTn id="13" dur="600" fill="hold"/>
                                            <p:tgtEl>
                                              <p:spTgt spid="10"/>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2" presetClass="entr" presetSubtype="8" fill="hold" grpId="0" nodeType="afterEffect">
                                      <p:stCondLst>
                                        <p:cond delay="0"/>
                                      </p:stCondLst>
                                      <p:childTnLst>
                                        <p:set>
                                          <p:cBhvr>
                                            <p:cTn id="16" dur="1" fill="hold">
                                              <p:stCondLst>
                                                <p:cond delay="0"/>
                                              </p:stCondLst>
                                            </p:cTn>
                                            <p:tgtEl>
                                              <p:spTgt spid="55"/>
                                            </p:tgtEl>
                                            <p:attrNameLst>
                                              <p:attrName>style.visibility</p:attrName>
                                            </p:attrNameLst>
                                          </p:cBhvr>
                                          <p:to>
                                            <p:strVal val="visible"/>
                                          </p:to>
                                        </p:set>
                                        <p:animEffect transition="in" filter="wipe(left)">
                                          <p:cBhvr>
                                            <p:cTn id="17" dur="500"/>
                                            <p:tgtEl>
                                              <p:spTgt spid="55"/>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56"/>
                                            </p:tgtEl>
                                            <p:attrNameLst>
                                              <p:attrName>style.visibility</p:attrName>
                                            </p:attrNameLst>
                                          </p:cBhvr>
                                          <p:to>
                                            <p:strVal val="visible"/>
                                          </p:to>
                                        </p:set>
                                        <p:animEffect transition="in" filter="wipe(left)">
                                          <p:cBhvr>
                                            <p:cTn id="20" dur="750"/>
                                            <p:tgtEl>
                                              <p:spTgt spid="56"/>
                                            </p:tgtEl>
                                          </p:cBhvr>
                                        </p:animEffect>
                                      </p:childTnLst>
                                    </p:cTn>
                                  </p:par>
                                </p:childTnLst>
                              </p:cTn>
                            </p:par>
                            <p:par>
                              <p:cTn id="21" fill="hold">
                                <p:stCondLst>
                                  <p:cond delay="2000"/>
                                </p:stCondLst>
                                <p:childTnLst>
                                  <p:par>
                                    <p:cTn id="22" presetID="2" presetClass="entr" presetSubtype="2" fill="hold" nodeType="afterEffect">
                                      <p:stCondLst>
                                        <p:cond delay="0"/>
                                      </p:stCondLst>
                                      <p:childTnLst>
                                        <p:set>
                                          <p:cBhvr>
                                            <p:cTn id="23" dur="1" fill="hold">
                                              <p:stCondLst>
                                                <p:cond delay="0"/>
                                              </p:stCondLst>
                                            </p:cTn>
                                            <p:tgtEl>
                                              <p:spTgt spid="24"/>
                                            </p:tgtEl>
                                            <p:attrNameLst>
                                              <p:attrName>style.visibility</p:attrName>
                                            </p:attrNameLst>
                                          </p:cBhvr>
                                          <p:to>
                                            <p:strVal val="visible"/>
                                          </p:to>
                                        </p:set>
                                        <p:anim calcmode="lin" valueType="num">
                                          <p:cBhvr additive="base">
                                            <p:cTn id="24" dur="400" fill="hold"/>
                                            <p:tgtEl>
                                              <p:spTgt spid="24"/>
                                            </p:tgtEl>
                                            <p:attrNameLst>
                                              <p:attrName>ppt_x</p:attrName>
                                            </p:attrNameLst>
                                          </p:cBhvr>
                                          <p:tavLst>
                                            <p:tav tm="0">
                                              <p:val>
                                                <p:strVal val="1+#ppt_w/2"/>
                                              </p:val>
                                            </p:tav>
                                            <p:tav tm="100000">
                                              <p:val>
                                                <p:strVal val="#ppt_x"/>
                                              </p:val>
                                            </p:tav>
                                          </p:tavLst>
                                        </p:anim>
                                        <p:anim calcmode="lin" valueType="num">
                                          <p:cBhvr additive="base">
                                            <p:cTn id="25" dur="400" fill="hold"/>
                                            <p:tgtEl>
                                              <p:spTgt spid="24"/>
                                            </p:tgtEl>
                                            <p:attrNameLst>
                                              <p:attrName>ppt_y</p:attrName>
                                            </p:attrNameLst>
                                          </p:cBhvr>
                                          <p:tavLst>
                                            <p:tav tm="0">
                                              <p:val>
                                                <p:strVal val="#ppt_y"/>
                                              </p:val>
                                            </p:tav>
                                            <p:tav tm="100000">
                                              <p:val>
                                                <p:strVal val="#ppt_y"/>
                                              </p:val>
                                            </p:tav>
                                          </p:tavLst>
                                        </p:anim>
                                      </p:childTnLst>
                                    </p:cTn>
                                  </p:par>
                                </p:childTnLst>
                              </p:cTn>
                            </p:par>
                            <p:par>
                              <p:cTn id="26" fill="hold">
                                <p:stCondLst>
                                  <p:cond delay="2500"/>
                                </p:stCondLst>
                                <p:childTnLst>
                                  <p:par>
                                    <p:cTn id="27" presetID="2" presetClass="entr" presetSubtype="8" fill="hold" nodeType="after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600" fill="hold"/>
                                            <p:tgtEl>
                                              <p:spTgt spid="11"/>
                                            </p:tgtEl>
                                            <p:attrNameLst>
                                              <p:attrName>ppt_x</p:attrName>
                                            </p:attrNameLst>
                                          </p:cBhvr>
                                          <p:tavLst>
                                            <p:tav tm="0">
                                              <p:val>
                                                <p:strVal val="0-#ppt_w/2"/>
                                              </p:val>
                                            </p:tav>
                                            <p:tav tm="100000">
                                              <p:val>
                                                <p:strVal val="#ppt_x"/>
                                              </p:val>
                                            </p:tav>
                                          </p:tavLst>
                                        </p:anim>
                                        <p:anim calcmode="lin" valueType="num">
                                          <p:cBhvr additive="base">
                                            <p:cTn id="30" dur="600" fill="hold"/>
                                            <p:tgtEl>
                                              <p:spTgt spid="11"/>
                                            </p:tgtEl>
                                            <p:attrNameLst>
                                              <p:attrName>ppt_y</p:attrName>
                                            </p:attrNameLst>
                                          </p:cBhvr>
                                          <p:tavLst>
                                            <p:tav tm="0">
                                              <p:val>
                                                <p:strVal val="#ppt_y"/>
                                              </p:val>
                                            </p:tav>
                                            <p:tav tm="100000">
                                              <p:val>
                                                <p:strVal val="#ppt_y"/>
                                              </p:val>
                                            </p:tav>
                                          </p:tavLst>
                                        </p:anim>
                                      </p:childTnLst>
                                    </p:cTn>
                                  </p:par>
                                </p:childTnLst>
                              </p:cTn>
                            </p:par>
                            <p:par>
                              <p:cTn id="31" fill="hold">
                                <p:stCondLst>
                                  <p:cond delay="3500"/>
                                </p:stCondLst>
                                <p:childTnLst>
                                  <p:par>
                                    <p:cTn id="32" presetID="22" presetClass="entr" presetSubtype="2" fill="hold" grpId="0" nodeType="after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wipe(right)">
                                          <p:cBhvr>
                                            <p:cTn id="34" dur="500"/>
                                            <p:tgtEl>
                                              <p:spTgt spid="57"/>
                                            </p:tgtEl>
                                          </p:cBhvr>
                                        </p:animEffect>
                                      </p:childTnLst>
                                    </p:cTn>
                                  </p:par>
                                  <p:par>
                                    <p:cTn id="35" presetID="22" presetClass="entr" presetSubtype="2"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wipe(right)">
                                          <p:cBhvr>
                                            <p:cTn id="37" dur="750"/>
                                            <p:tgtEl>
                                              <p:spTgt spid="58"/>
                                            </p:tgtEl>
                                          </p:cBhvr>
                                        </p:animEffect>
                                      </p:childTnLst>
                                    </p:cTn>
                                  </p:par>
                                </p:childTnLst>
                              </p:cTn>
                            </p:par>
                            <p:par>
                              <p:cTn id="38" fill="hold">
                                <p:stCondLst>
                                  <p:cond delay="4000"/>
                                </p:stCondLst>
                                <p:childTnLst>
                                  <p:par>
                                    <p:cTn id="39" presetID="2" presetClass="entr" presetSubtype="8" fill="hold" nodeType="afterEffect">
                                      <p:stCondLst>
                                        <p:cond delay="0"/>
                                      </p:stCondLst>
                                      <p:childTnLst>
                                        <p:set>
                                          <p:cBhvr>
                                            <p:cTn id="40" dur="1" fill="hold">
                                              <p:stCondLst>
                                                <p:cond delay="0"/>
                                              </p:stCondLst>
                                            </p:cTn>
                                            <p:tgtEl>
                                              <p:spTgt spid="22"/>
                                            </p:tgtEl>
                                            <p:attrNameLst>
                                              <p:attrName>style.visibility</p:attrName>
                                            </p:attrNameLst>
                                          </p:cBhvr>
                                          <p:to>
                                            <p:strVal val="visible"/>
                                          </p:to>
                                        </p:set>
                                        <p:anim calcmode="lin" valueType="num">
                                          <p:cBhvr additive="base">
                                            <p:cTn id="41" dur="400" fill="hold"/>
                                            <p:tgtEl>
                                              <p:spTgt spid="22"/>
                                            </p:tgtEl>
                                            <p:attrNameLst>
                                              <p:attrName>ppt_x</p:attrName>
                                            </p:attrNameLst>
                                          </p:cBhvr>
                                          <p:tavLst>
                                            <p:tav tm="0">
                                              <p:val>
                                                <p:strVal val="0-#ppt_w/2"/>
                                              </p:val>
                                            </p:tav>
                                            <p:tav tm="100000">
                                              <p:val>
                                                <p:strVal val="#ppt_x"/>
                                              </p:val>
                                            </p:tav>
                                          </p:tavLst>
                                        </p:anim>
                                        <p:anim calcmode="lin" valueType="num">
                                          <p:cBhvr additive="base">
                                            <p:cTn id="42" dur="400" fill="hold"/>
                                            <p:tgtEl>
                                              <p:spTgt spid="22"/>
                                            </p:tgtEl>
                                            <p:attrNameLst>
                                              <p:attrName>ppt_y</p:attrName>
                                            </p:attrNameLst>
                                          </p:cBhvr>
                                          <p:tavLst>
                                            <p:tav tm="0">
                                              <p:val>
                                                <p:strVal val="#ppt_y"/>
                                              </p:val>
                                            </p:tav>
                                            <p:tav tm="100000">
                                              <p:val>
                                                <p:strVal val="#ppt_y"/>
                                              </p:val>
                                            </p:tav>
                                          </p:tavLst>
                                        </p:anim>
                                      </p:childTnLst>
                                    </p:cTn>
                                  </p:par>
                                </p:childTnLst>
                              </p:cTn>
                            </p:par>
                            <p:par>
                              <p:cTn id="43" fill="hold">
                                <p:stCondLst>
                                  <p:cond delay="4500"/>
                                </p:stCondLst>
                                <p:childTnLst>
                                  <p:par>
                                    <p:cTn id="44" presetID="2" presetClass="entr" presetSubtype="2" fill="hold" nodeType="afterEffect">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cBhvr additive="base">
                                            <p:cTn id="46" dur="600" fill="hold"/>
                                            <p:tgtEl>
                                              <p:spTgt spid="12"/>
                                            </p:tgtEl>
                                            <p:attrNameLst>
                                              <p:attrName>ppt_x</p:attrName>
                                            </p:attrNameLst>
                                          </p:cBhvr>
                                          <p:tavLst>
                                            <p:tav tm="0">
                                              <p:val>
                                                <p:strVal val="1+#ppt_w/2"/>
                                              </p:val>
                                            </p:tav>
                                            <p:tav tm="100000">
                                              <p:val>
                                                <p:strVal val="#ppt_x"/>
                                              </p:val>
                                            </p:tav>
                                          </p:tavLst>
                                        </p:anim>
                                        <p:anim calcmode="lin" valueType="num">
                                          <p:cBhvr additive="base">
                                            <p:cTn id="47" dur="600" fill="hold"/>
                                            <p:tgtEl>
                                              <p:spTgt spid="12"/>
                                            </p:tgtEl>
                                            <p:attrNameLst>
                                              <p:attrName>ppt_y</p:attrName>
                                            </p:attrNameLst>
                                          </p:cBhvr>
                                          <p:tavLst>
                                            <p:tav tm="0">
                                              <p:val>
                                                <p:strVal val="#ppt_y"/>
                                              </p:val>
                                            </p:tav>
                                            <p:tav tm="100000">
                                              <p:val>
                                                <p:strVal val="#ppt_y"/>
                                              </p:val>
                                            </p:tav>
                                          </p:tavLst>
                                        </p:anim>
                                      </p:childTnLst>
                                    </p:cTn>
                                  </p:par>
                                </p:childTnLst>
                              </p:cTn>
                            </p:par>
                            <p:par>
                              <p:cTn id="48" fill="hold">
                                <p:stCondLst>
                                  <p:cond delay="5500"/>
                                </p:stCondLst>
                                <p:childTnLst>
                                  <p:par>
                                    <p:cTn id="49" presetID="22" presetClass="entr" presetSubtype="8" fill="hold" grpId="0" nodeType="after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wipe(left)">
                                          <p:cBhvr>
                                            <p:cTn id="51" dur="500"/>
                                            <p:tgtEl>
                                              <p:spTgt spid="36"/>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wipe(left)">
                                          <p:cBhvr>
                                            <p:cTn id="54" dur="750"/>
                                            <p:tgtEl>
                                              <p:spTgt spid="43"/>
                                            </p:tgtEl>
                                          </p:cBhvr>
                                        </p:animEffect>
                                      </p:childTnLst>
                                    </p:cTn>
                                  </p:par>
                                </p:childTnLst>
                              </p:cTn>
                            </p:par>
                            <p:par>
                              <p:cTn id="55" fill="hold">
                                <p:stCondLst>
                                  <p:cond delay="6000"/>
                                </p:stCondLst>
                                <p:childTnLst>
                                  <p:par>
                                    <p:cTn id="56" presetID="2" presetClass="entr" presetSubtype="2" fill="hold" nodeType="afterEffect">
                                      <p:stCondLst>
                                        <p:cond delay="0"/>
                                      </p:stCondLst>
                                      <p:childTnLst>
                                        <p:set>
                                          <p:cBhvr>
                                            <p:cTn id="57" dur="1" fill="hold">
                                              <p:stCondLst>
                                                <p:cond delay="0"/>
                                              </p:stCondLst>
                                            </p:cTn>
                                            <p:tgtEl>
                                              <p:spTgt spid="25"/>
                                            </p:tgtEl>
                                            <p:attrNameLst>
                                              <p:attrName>style.visibility</p:attrName>
                                            </p:attrNameLst>
                                          </p:cBhvr>
                                          <p:to>
                                            <p:strVal val="visible"/>
                                          </p:to>
                                        </p:set>
                                        <p:anim calcmode="lin" valueType="num">
                                          <p:cBhvr additive="base">
                                            <p:cTn id="58" dur="400" fill="hold"/>
                                            <p:tgtEl>
                                              <p:spTgt spid="25"/>
                                            </p:tgtEl>
                                            <p:attrNameLst>
                                              <p:attrName>ppt_x</p:attrName>
                                            </p:attrNameLst>
                                          </p:cBhvr>
                                          <p:tavLst>
                                            <p:tav tm="0">
                                              <p:val>
                                                <p:strVal val="1+#ppt_w/2"/>
                                              </p:val>
                                            </p:tav>
                                            <p:tav tm="100000">
                                              <p:val>
                                                <p:strVal val="#ppt_x"/>
                                              </p:val>
                                            </p:tav>
                                          </p:tavLst>
                                        </p:anim>
                                        <p:anim calcmode="lin" valueType="num">
                                          <p:cBhvr additive="base">
                                            <p:cTn id="59" dur="400" fill="hold"/>
                                            <p:tgtEl>
                                              <p:spTgt spid="25"/>
                                            </p:tgtEl>
                                            <p:attrNameLst>
                                              <p:attrName>ppt_y</p:attrName>
                                            </p:attrNameLst>
                                          </p:cBhvr>
                                          <p:tavLst>
                                            <p:tav tm="0">
                                              <p:val>
                                                <p:strVal val="#ppt_y"/>
                                              </p:val>
                                            </p:tav>
                                            <p:tav tm="100000">
                                              <p:val>
                                                <p:strVal val="#ppt_y"/>
                                              </p:val>
                                            </p:tav>
                                          </p:tavLst>
                                        </p:anim>
                                      </p:childTnLst>
                                    </p:cTn>
                                  </p:par>
                                </p:childTnLst>
                              </p:cTn>
                            </p:par>
                            <p:par>
                              <p:cTn id="60" fill="hold">
                                <p:stCondLst>
                                  <p:cond delay="6500"/>
                                </p:stCondLst>
                                <p:childTnLst>
                                  <p:par>
                                    <p:cTn id="61" presetID="2" presetClass="entr" presetSubtype="8" fill="hold" nodeType="afterEffect">
                                      <p:stCondLst>
                                        <p:cond delay="0"/>
                                      </p:stCondLst>
                                      <p:childTnLst>
                                        <p:set>
                                          <p:cBhvr>
                                            <p:cTn id="62" dur="1" fill="hold">
                                              <p:stCondLst>
                                                <p:cond delay="0"/>
                                              </p:stCondLst>
                                            </p:cTn>
                                            <p:tgtEl>
                                              <p:spTgt spid="13"/>
                                            </p:tgtEl>
                                            <p:attrNameLst>
                                              <p:attrName>style.visibility</p:attrName>
                                            </p:attrNameLst>
                                          </p:cBhvr>
                                          <p:to>
                                            <p:strVal val="visible"/>
                                          </p:to>
                                        </p:set>
                                        <p:anim calcmode="lin" valueType="num">
                                          <p:cBhvr additive="base">
                                            <p:cTn id="63" dur="600" fill="hold"/>
                                            <p:tgtEl>
                                              <p:spTgt spid="13"/>
                                            </p:tgtEl>
                                            <p:attrNameLst>
                                              <p:attrName>ppt_x</p:attrName>
                                            </p:attrNameLst>
                                          </p:cBhvr>
                                          <p:tavLst>
                                            <p:tav tm="0">
                                              <p:val>
                                                <p:strVal val="0-#ppt_w/2"/>
                                              </p:val>
                                            </p:tav>
                                            <p:tav tm="100000">
                                              <p:val>
                                                <p:strVal val="#ppt_x"/>
                                              </p:val>
                                            </p:tav>
                                          </p:tavLst>
                                        </p:anim>
                                        <p:anim calcmode="lin" valueType="num">
                                          <p:cBhvr additive="base">
                                            <p:cTn id="64" dur="600" fill="hold"/>
                                            <p:tgtEl>
                                              <p:spTgt spid="13"/>
                                            </p:tgtEl>
                                            <p:attrNameLst>
                                              <p:attrName>ppt_y</p:attrName>
                                            </p:attrNameLst>
                                          </p:cBhvr>
                                          <p:tavLst>
                                            <p:tav tm="0">
                                              <p:val>
                                                <p:strVal val="#ppt_y"/>
                                              </p:val>
                                            </p:tav>
                                            <p:tav tm="100000">
                                              <p:val>
                                                <p:strVal val="#ppt_y"/>
                                              </p:val>
                                            </p:tav>
                                          </p:tavLst>
                                        </p:anim>
                                      </p:childTnLst>
                                    </p:cTn>
                                  </p:par>
                                </p:childTnLst>
                              </p:cTn>
                            </p:par>
                            <p:par>
                              <p:cTn id="65" fill="hold">
                                <p:stCondLst>
                                  <p:cond delay="7500"/>
                                </p:stCondLst>
                                <p:childTnLst>
                                  <p:par>
                                    <p:cTn id="66" presetID="22" presetClass="entr" presetSubtype="2" fill="hold" grpId="0" nodeType="afterEffect">
                                      <p:stCondLst>
                                        <p:cond delay="0"/>
                                      </p:stCondLst>
                                      <p:childTnLst>
                                        <p:set>
                                          <p:cBhvr>
                                            <p:cTn id="67" dur="1" fill="hold">
                                              <p:stCondLst>
                                                <p:cond delay="0"/>
                                              </p:stCondLst>
                                            </p:cTn>
                                            <p:tgtEl>
                                              <p:spTgt spid="44"/>
                                            </p:tgtEl>
                                            <p:attrNameLst>
                                              <p:attrName>style.visibility</p:attrName>
                                            </p:attrNameLst>
                                          </p:cBhvr>
                                          <p:to>
                                            <p:strVal val="visible"/>
                                          </p:to>
                                        </p:set>
                                        <p:animEffect transition="in" filter="wipe(right)">
                                          <p:cBhvr>
                                            <p:cTn id="68" dur="500"/>
                                            <p:tgtEl>
                                              <p:spTgt spid="44"/>
                                            </p:tgtEl>
                                          </p:cBhvr>
                                        </p:animEffect>
                                      </p:childTnLst>
                                    </p:cTn>
                                  </p:par>
                                  <p:par>
                                    <p:cTn id="69" presetID="22" presetClass="entr" presetSubtype="2"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wipe(right)">
                                          <p:cBhvr>
                                            <p:cTn id="71" dur="7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43" grpId="0"/>
          <p:bldP spid="57" grpId="0"/>
          <p:bldP spid="58" grpId="0"/>
          <p:bldP spid="44" grpId="0"/>
          <p:bldP spid="50" grpId="0"/>
          <p:bldP spid="55" grpId="0"/>
          <p:bldP spid="56" grpId="0"/>
        </p:bldLst>
      </p:timing>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1619461" y="1448006"/>
            <a:ext cx="0" cy="384042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57799" y="1867278"/>
            <a:ext cx="861662" cy="369332"/>
          </a:xfrm>
          <a:prstGeom prst="rect">
            <a:avLst/>
          </a:prstGeom>
          <a:noFill/>
        </p:spPr>
        <p:txBody>
          <a:bodyPr wrap="none" lIns="121908" tIns="60954" rIns="121908" bIns="60954" rtlCol="0">
            <a:spAutoFit/>
          </a:bodyPr>
          <a:lstStyle/>
          <a:p>
            <a:pPr algn="r"/>
            <a:r>
              <a:rPr lang="zh-CN" altLang="en-US" sz="1600" dirty="0">
                <a:solidFill>
                  <a:schemeClr val="bg1">
                    <a:lumMod val="65000"/>
                  </a:schemeClr>
                </a:solidFill>
              </a:rPr>
              <a:t>业务一</a:t>
            </a:r>
          </a:p>
        </p:txBody>
      </p:sp>
      <p:sp>
        <p:nvSpPr>
          <p:cNvPr id="8" name="TextBox 7"/>
          <p:cNvSpPr txBox="1"/>
          <p:nvPr/>
        </p:nvSpPr>
        <p:spPr>
          <a:xfrm>
            <a:off x="750749" y="2673043"/>
            <a:ext cx="861662" cy="369332"/>
          </a:xfrm>
          <a:prstGeom prst="rect">
            <a:avLst/>
          </a:prstGeom>
          <a:noFill/>
        </p:spPr>
        <p:txBody>
          <a:bodyPr wrap="none" lIns="121908" tIns="60954" rIns="121908" bIns="60954" rtlCol="0">
            <a:spAutoFit/>
          </a:bodyPr>
          <a:lstStyle/>
          <a:p>
            <a:pPr algn="r"/>
            <a:r>
              <a:rPr lang="zh-CN" altLang="en-US" sz="1600" dirty="0">
                <a:solidFill>
                  <a:schemeClr val="bg1">
                    <a:lumMod val="65000"/>
                  </a:schemeClr>
                </a:solidFill>
              </a:rPr>
              <a:t>业务二</a:t>
            </a:r>
          </a:p>
        </p:txBody>
      </p:sp>
      <p:sp>
        <p:nvSpPr>
          <p:cNvPr id="9" name="TextBox 8"/>
          <p:cNvSpPr txBox="1"/>
          <p:nvPr/>
        </p:nvSpPr>
        <p:spPr>
          <a:xfrm>
            <a:off x="757799" y="3473133"/>
            <a:ext cx="861662" cy="369332"/>
          </a:xfrm>
          <a:prstGeom prst="rect">
            <a:avLst/>
          </a:prstGeom>
          <a:noFill/>
        </p:spPr>
        <p:txBody>
          <a:bodyPr wrap="none" lIns="121908" tIns="60954" rIns="121908" bIns="60954" rtlCol="0">
            <a:spAutoFit/>
          </a:bodyPr>
          <a:lstStyle/>
          <a:p>
            <a:pPr algn="r"/>
            <a:r>
              <a:rPr lang="zh-CN" altLang="en-US" sz="1600" dirty="0">
                <a:solidFill>
                  <a:schemeClr val="bg1">
                    <a:lumMod val="65000"/>
                  </a:schemeClr>
                </a:solidFill>
              </a:rPr>
              <a:t>业务三</a:t>
            </a:r>
          </a:p>
        </p:txBody>
      </p:sp>
      <p:sp>
        <p:nvSpPr>
          <p:cNvPr id="10" name="TextBox 9"/>
          <p:cNvSpPr txBox="1"/>
          <p:nvPr/>
        </p:nvSpPr>
        <p:spPr>
          <a:xfrm>
            <a:off x="764849" y="4337229"/>
            <a:ext cx="861662" cy="369332"/>
          </a:xfrm>
          <a:prstGeom prst="rect">
            <a:avLst/>
          </a:prstGeom>
          <a:noFill/>
        </p:spPr>
        <p:txBody>
          <a:bodyPr wrap="none" lIns="121908" tIns="60954" rIns="121908" bIns="60954" rtlCol="0">
            <a:spAutoFit/>
          </a:bodyPr>
          <a:lstStyle/>
          <a:p>
            <a:pPr algn="r"/>
            <a:r>
              <a:rPr lang="zh-CN" altLang="en-US" sz="1600" dirty="0">
                <a:solidFill>
                  <a:schemeClr val="bg1">
                    <a:lumMod val="65000"/>
                  </a:schemeClr>
                </a:solidFill>
              </a:rPr>
              <a:t>业务四</a:t>
            </a:r>
          </a:p>
        </p:txBody>
      </p:sp>
      <p:sp>
        <p:nvSpPr>
          <p:cNvPr id="11" name="矩形 10"/>
          <p:cNvSpPr/>
          <p:nvPr/>
        </p:nvSpPr>
        <p:spPr>
          <a:xfrm>
            <a:off x="1626511" y="1771267"/>
            <a:ext cx="2879945" cy="28803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p>
        </p:txBody>
      </p:sp>
      <p:sp>
        <p:nvSpPr>
          <p:cNvPr id="12" name="矩形 11"/>
          <p:cNvSpPr/>
          <p:nvPr/>
        </p:nvSpPr>
        <p:spPr>
          <a:xfrm>
            <a:off x="1626511" y="2059299"/>
            <a:ext cx="4382907" cy="2880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p>
        </p:txBody>
      </p:sp>
      <p:sp>
        <p:nvSpPr>
          <p:cNvPr id="21" name="矩形 20"/>
          <p:cNvSpPr/>
          <p:nvPr/>
        </p:nvSpPr>
        <p:spPr>
          <a:xfrm>
            <a:off x="1626512" y="2603359"/>
            <a:ext cx="2191453" cy="28803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p>
        </p:txBody>
      </p:sp>
      <p:sp>
        <p:nvSpPr>
          <p:cNvPr id="22" name="矩形 21"/>
          <p:cNvSpPr/>
          <p:nvPr/>
        </p:nvSpPr>
        <p:spPr>
          <a:xfrm>
            <a:off x="1626510" y="2891391"/>
            <a:ext cx="3263938" cy="2880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p>
        </p:txBody>
      </p:sp>
      <p:sp>
        <p:nvSpPr>
          <p:cNvPr id="24" name="矩形 23"/>
          <p:cNvSpPr/>
          <p:nvPr/>
        </p:nvSpPr>
        <p:spPr>
          <a:xfrm>
            <a:off x="1626510" y="3435451"/>
            <a:ext cx="3551932" cy="28803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p>
        </p:txBody>
      </p:sp>
      <p:sp>
        <p:nvSpPr>
          <p:cNvPr id="25" name="矩形 24"/>
          <p:cNvSpPr/>
          <p:nvPr/>
        </p:nvSpPr>
        <p:spPr>
          <a:xfrm>
            <a:off x="1626511" y="3723483"/>
            <a:ext cx="3935925" cy="2880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p>
        </p:txBody>
      </p:sp>
      <p:sp>
        <p:nvSpPr>
          <p:cNvPr id="27" name="矩形 26"/>
          <p:cNvSpPr/>
          <p:nvPr/>
        </p:nvSpPr>
        <p:spPr>
          <a:xfrm>
            <a:off x="1626511" y="4267544"/>
            <a:ext cx="2687949" cy="28803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p>
        </p:txBody>
      </p:sp>
      <p:sp>
        <p:nvSpPr>
          <p:cNvPr id="28" name="矩形 27"/>
          <p:cNvSpPr/>
          <p:nvPr/>
        </p:nvSpPr>
        <p:spPr>
          <a:xfrm>
            <a:off x="1626511" y="4555576"/>
            <a:ext cx="4991905" cy="2880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p>
        </p:txBody>
      </p:sp>
      <p:sp>
        <p:nvSpPr>
          <p:cNvPr id="29" name="TextBox 28"/>
          <p:cNvSpPr txBox="1"/>
          <p:nvPr/>
        </p:nvSpPr>
        <p:spPr>
          <a:xfrm>
            <a:off x="4504258" y="1682611"/>
            <a:ext cx="656567" cy="369320"/>
          </a:xfrm>
          <a:prstGeom prst="rect">
            <a:avLst/>
          </a:prstGeom>
          <a:noFill/>
        </p:spPr>
        <p:txBody>
          <a:bodyPr wrap="none" lIns="121908" tIns="60954" rIns="121908" bIns="60954" rtlCol="0">
            <a:spAutoFit/>
          </a:bodyPr>
          <a:lstStyle/>
          <a:p>
            <a:pPr algn="r"/>
            <a:r>
              <a:rPr lang="en-US" altLang="zh-CN" sz="1600" dirty="0">
                <a:solidFill>
                  <a:schemeClr val="bg1">
                    <a:lumMod val="65000"/>
                  </a:schemeClr>
                </a:solidFill>
              </a:rPr>
              <a:t>60%</a:t>
            </a:r>
            <a:endParaRPr lang="zh-CN" altLang="en-US" sz="1600" dirty="0">
              <a:solidFill>
                <a:schemeClr val="bg1">
                  <a:lumMod val="65000"/>
                </a:schemeClr>
              </a:solidFill>
            </a:endParaRPr>
          </a:p>
        </p:txBody>
      </p:sp>
      <p:sp>
        <p:nvSpPr>
          <p:cNvPr id="30" name="TextBox 29"/>
          <p:cNvSpPr txBox="1"/>
          <p:nvPr/>
        </p:nvSpPr>
        <p:spPr>
          <a:xfrm>
            <a:off x="6007219" y="2051943"/>
            <a:ext cx="656567" cy="369320"/>
          </a:xfrm>
          <a:prstGeom prst="rect">
            <a:avLst/>
          </a:prstGeom>
          <a:noFill/>
        </p:spPr>
        <p:txBody>
          <a:bodyPr wrap="none" lIns="121908" tIns="60954" rIns="121908" bIns="60954" rtlCol="0">
            <a:spAutoFit/>
          </a:bodyPr>
          <a:lstStyle/>
          <a:p>
            <a:pPr algn="r"/>
            <a:r>
              <a:rPr lang="en-US" altLang="zh-CN" sz="1600" dirty="0">
                <a:solidFill>
                  <a:schemeClr val="accent1"/>
                </a:solidFill>
              </a:rPr>
              <a:t>80%</a:t>
            </a:r>
            <a:endParaRPr lang="zh-CN" altLang="en-US" sz="1600" dirty="0">
              <a:solidFill>
                <a:schemeClr val="accent1"/>
              </a:solidFill>
            </a:endParaRPr>
          </a:p>
        </p:txBody>
      </p:sp>
      <p:sp>
        <p:nvSpPr>
          <p:cNvPr id="31" name="TextBox 30"/>
          <p:cNvSpPr txBox="1"/>
          <p:nvPr/>
        </p:nvSpPr>
        <p:spPr>
          <a:xfrm>
            <a:off x="6661587" y="4488273"/>
            <a:ext cx="656567" cy="369320"/>
          </a:xfrm>
          <a:prstGeom prst="rect">
            <a:avLst/>
          </a:prstGeom>
          <a:noFill/>
        </p:spPr>
        <p:txBody>
          <a:bodyPr wrap="none" lIns="121908" tIns="60954" rIns="121908" bIns="60954" rtlCol="0">
            <a:spAutoFit/>
          </a:bodyPr>
          <a:lstStyle/>
          <a:p>
            <a:pPr algn="r"/>
            <a:r>
              <a:rPr lang="en-US" altLang="zh-CN" sz="1600" dirty="0">
                <a:solidFill>
                  <a:schemeClr val="accent1"/>
                </a:solidFill>
              </a:rPr>
              <a:t>95%</a:t>
            </a:r>
            <a:endParaRPr lang="zh-CN" altLang="en-US" sz="1600" dirty="0">
              <a:solidFill>
                <a:schemeClr val="accent1"/>
              </a:solidFill>
            </a:endParaRPr>
          </a:p>
        </p:txBody>
      </p:sp>
      <p:sp>
        <p:nvSpPr>
          <p:cNvPr id="32" name="TextBox 31"/>
          <p:cNvSpPr txBox="1"/>
          <p:nvPr/>
        </p:nvSpPr>
        <p:spPr>
          <a:xfrm>
            <a:off x="4312261" y="4226894"/>
            <a:ext cx="656567" cy="369320"/>
          </a:xfrm>
          <a:prstGeom prst="rect">
            <a:avLst/>
          </a:prstGeom>
          <a:noFill/>
        </p:spPr>
        <p:txBody>
          <a:bodyPr wrap="none" lIns="121908" tIns="60954" rIns="121908" bIns="60954" rtlCol="0">
            <a:spAutoFit/>
          </a:bodyPr>
          <a:lstStyle/>
          <a:p>
            <a:pPr algn="r"/>
            <a:r>
              <a:rPr lang="en-US" altLang="zh-CN" sz="1600" dirty="0">
                <a:solidFill>
                  <a:schemeClr val="bg1">
                    <a:lumMod val="65000"/>
                  </a:schemeClr>
                </a:solidFill>
              </a:rPr>
              <a:t>56%</a:t>
            </a:r>
            <a:endParaRPr lang="zh-CN" altLang="en-US" sz="1600" dirty="0">
              <a:solidFill>
                <a:schemeClr val="bg1">
                  <a:lumMod val="65000"/>
                </a:schemeClr>
              </a:solidFill>
            </a:endParaRPr>
          </a:p>
        </p:txBody>
      </p:sp>
      <p:sp>
        <p:nvSpPr>
          <p:cNvPr id="33" name="TextBox 32"/>
          <p:cNvSpPr txBox="1"/>
          <p:nvPr/>
        </p:nvSpPr>
        <p:spPr>
          <a:xfrm>
            <a:off x="5176245" y="3394801"/>
            <a:ext cx="656567" cy="369320"/>
          </a:xfrm>
          <a:prstGeom prst="rect">
            <a:avLst/>
          </a:prstGeom>
          <a:noFill/>
        </p:spPr>
        <p:txBody>
          <a:bodyPr wrap="none" lIns="121908" tIns="60954" rIns="121908" bIns="60954" rtlCol="0">
            <a:spAutoFit/>
          </a:bodyPr>
          <a:lstStyle/>
          <a:p>
            <a:pPr algn="r"/>
            <a:r>
              <a:rPr lang="en-US" altLang="zh-CN" sz="1600" dirty="0">
                <a:solidFill>
                  <a:schemeClr val="bg1">
                    <a:lumMod val="65000"/>
                  </a:schemeClr>
                </a:solidFill>
              </a:rPr>
              <a:t>70%</a:t>
            </a:r>
            <a:endParaRPr lang="zh-CN" altLang="en-US" sz="1600" dirty="0">
              <a:solidFill>
                <a:schemeClr val="bg1">
                  <a:lumMod val="65000"/>
                </a:schemeClr>
              </a:solidFill>
            </a:endParaRPr>
          </a:p>
        </p:txBody>
      </p:sp>
      <p:sp>
        <p:nvSpPr>
          <p:cNvPr id="34" name="TextBox 33"/>
          <p:cNvSpPr txBox="1"/>
          <p:nvPr/>
        </p:nvSpPr>
        <p:spPr>
          <a:xfrm>
            <a:off x="3815766" y="2562709"/>
            <a:ext cx="656567" cy="369320"/>
          </a:xfrm>
          <a:prstGeom prst="rect">
            <a:avLst/>
          </a:prstGeom>
          <a:noFill/>
        </p:spPr>
        <p:txBody>
          <a:bodyPr wrap="none" lIns="121908" tIns="60954" rIns="121908" bIns="60954" rtlCol="0">
            <a:spAutoFit/>
          </a:bodyPr>
          <a:lstStyle/>
          <a:p>
            <a:pPr algn="r"/>
            <a:r>
              <a:rPr lang="en-US" altLang="zh-CN" sz="1600" dirty="0">
                <a:solidFill>
                  <a:schemeClr val="bg1">
                    <a:lumMod val="65000"/>
                  </a:schemeClr>
                </a:solidFill>
              </a:rPr>
              <a:t>40%</a:t>
            </a:r>
            <a:endParaRPr lang="zh-CN" altLang="en-US" sz="1600" dirty="0">
              <a:solidFill>
                <a:schemeClr val="bg1">
                  <a:lumMod val="65000"/>
                </a:schemeClr>
              </a:solidFill>
            </a:endParaRPr>
          </a:p>
        </p:txBody>
      </p:sp>
      <p:sp>
        <p:nvSpPr>
          <p:cNvPr id="35" name="TextBox 34"/>
          <p:cNvSpPr txBox="1"/>
          <p:nvPr/>
        </p:nvSpPr>
        <p:spPr>
          <a:xfrm>
            <a:off x="5619083" y="3691481"/>
            <a:ext cx="656567" cy="369320"/>
          </a:xfrm>
          <a:prstGeom prst="rect">
            <a:avLst/>
          </a:prstGeom>
          <a:noFill/>
        </p:spPr>
        <p:txBody>
          <a:bodyPr wrap="none" lIns="121908" tIns="60954" rIns="121908" bIns="60954" rtlCol="0">
            <a:spAutoFit/>
          </a:bodyPr>
          <a:lstStyle/>
          <a:p>
            <a:pPr algn="r"/>
            <a:r>
              <a:rPr lang="en-US" altLang="zh-CN" sz="1600" dirty="0">
                <a:solidFill>
                  <a:schemeClr val="accent1"/>
                </a:solidFill>
              </a:rPr>
              <a:t>75%</a:t>
            </a:r>
            <a:endParaRPr lang="zh-CN" altLang="en-US" sz="1600" dirty="0">
              <a:solidFill>
                <a:schemeClr val="accent1"/>
              </a:solidFill>
            </a:endParaRPr>
          </a:p>
        </p:txBody>
      </p:sp>
      <p:sp>
        <p:nvSpPr>
          <p:cNvPr id="36" name="TextBox 35"/>
          <p:cNvSpPr txBox="1"/>
          <p:nvPr/>
        </p:nvSpPr>
        <p:spPr>
          <a:xfrm>
            <a:off x="4903763" y="2857709"/>
            <a:ext cx="656567" cy="369320"/>
          </a:xfrm>
          <a:prstGeom prst="rect">
            <a:avLst/>
          </a:prstGeom>
          <a:noFill/>
        </p:spPr>
        <p:txBody>
          <a:bodyPr wrap="none" lIns="121908" tIns="60954" rIns="121908" bIns="60954" rtlCol="0">
            <a:spAutoFit/>
          </a:bodyPr>
          <a:lstStyle/>
          <a:p>
            <a:pPr algn="r"/>
            <a:r>
              <a:rPr lang="en-US" altLang="zh-CN" sz="1600" dirty="0">
                <a:solidFill>
                  <a:schemeClr val="accent1"/>
                </a:solidFill>
              </a:rPr>
              <a:t>65%</a:t>
            </a:r>
            <a:endParaRPr lang="zh-CN" altLang="en-US" sz="1600" dirty="0">
              <a:solidFill>
                <a:schemeClr val="accent1"/>
              </a:solidFill>
            </a:endParaRPr>
          </a:p>
        </p:txBody>
      </p:sp>
      <p:grpSp>
        <p:nvGrpSpPr>
          <p:cNvPr id="3" name="组合 2"/>
          <p:cNvGrpSpPr/>
          <p:nvPr/>
        </p:nvGrpSpPr>
        <p:grpSpPr>
          <a:xfrm>
            <a:off x="2577823" y="5384438"/>
            <a:ext cx="1235966" cy="292388"/>
            <a:chOff x="1933023" y="4038332"/>
            <a:chExt cx="927095" cy="219291"/>
          </a:xfrm>
        </p:grpSpPr>
        <p:sp>
          <p:nvSpPr>
            <p:cNvPr id="58" name="矩形 57"/>
            <p:cNvSpPr/>
            <p:nvPr/>
          </p:nvSpPr>
          <p:spPr>
            <a:xfrm>
              <a:off x="1933023" y="4104824"/>
              <a:ext cx="368875" cy="14401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TextBox 59"/>
            <p:cNvSpPr txBox="1"/>
            <p:nvPr/>
          </p:nvSpPr>
          <p:spPr>
            <a:xfrm>
              <a:off x="2346449" y="4038332"/>
              <a:ext cx="513669" cy="219291"/>
            </a:xfrm>
            <a:prstGeom prst="rect">
              <a:avLst/>
            </a:prstGeom>
            <a:noFill/>
          </p:spPr>
          <p:txBody>
            <a:bodyPr wrap="none" rtlCol="0">
              <a:spAutoFit/>
            </a:bodyPr>
            <a:lstStyle>
              <a:defPPr>
                <a:defRPr lang="zh-CN"/>
              </a:defPPr>
              <a:lvl1pPr algn="r">
                <a:defRPr sz="1200">
                  <a:solidFill>
                    <a:schemeClr val="tx1">
                      <a:lumMod val="50000"/>
                      <a:lumOff val="50000"/>
                    </a:schemeClr>
                  </a:solidFill>
                </a:defRPr>
              </a:lvl1pPr>
            </a:lstStyle>
            <a:p>
              <a:r>
                <a:rPr lang="zh-CN" altLang="en-US" sz="1300" dirty="0">
                  <a:solidFill>
                    <a:schemeClr val="bg1">
                      <a:lumMod val="65000"/>
                    </a:schemeClr>
                  </a:solidFill>
                </a:rPr>
                <a:t>计划数</a:t>
              </a:r>
            </a:p>
          </p:txBody>
        </p:sp>
      </p:grpSp>
      <p:grpSp>
        <p:nvGrpSpPr>
          <p:cNvPr id="5" name="组合 4"/>
          <p:cNvGrpSpPr/>
          <p:nvPr/>
        </p:nvGrpSpPr>
        <p:grpSpPr>
          <a:xfrm>
            <a:off x="4260572" y="5404957"/>
            <a:ext cx="1279795" cy="292388"/>
            <a:chOff x="3195248" y="4053721"/>
            <a:chExt cx="959971" cy="219291"/>
          </a:xfrm>
        </p:grpSpPr>
        <p:sp>
          <p:nvSpPr>
            <p:cNvPr id="59" name="矩形 58"/>
            <p:cNvSpPr/>
            <p:nvPr/>
          </p:nvSpPr>
          <p:spPr>
            <a:xfrm>
              <a:off x="3195248" y="4104824"/>
              <a:ext cx="368875" cy="1440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TextBox 60"/>
            <p:cNvSpPr txBox="1"/>
            <p:nvPr/>
          </p:nvSpPr>
          <p:spPr>
            <a:xfrm>
              <a:off x="3641550" y="4053721"/>
              <a:ext cx="513669" cy="219291"/>
            </a:xfrm>
            <a:prstGeom prst="rect">
              <a:avLst/>
            </a:prstGeom>
            <a:noFill/>
          </p:spPr>
          <p:txBody>
            <a:bodyPr wrap="none" rtlCol="0">
              <a:spAutoFit/>
            </a:bodyPr>
            <a:lstStyle>
              <a:defPPr>
                <a:defRPr lang="zh-CN"/>
              </a:defPPr>
              <a:lvl1pPr algn="r">
                <a:defRPr sz="1200">
                  <a:solidFill>
                    <a:schemeClr val="tx1">
                      <a:lumMod val="50000"/>
                      <a:lumOff val="50000"/>
                    </a:schemeClr>
                  </a:solidFill>
                </a:defRPr>
              </a:lvl1pPr>
            </a:lstStyle>
            <a:p>
              <a:r>
                <a:rPr lang="zh-CN" altLang="en-US" sz="1300" dirty="0">
                  <a:solidFill>
                    <a:schemeClr val="accent1"/>
                  </a:solidFill>
                </a:rPr>
                <a:t>实际数</a:t>
              </a:r>
            </a:p>
          </p:txBody>
        </p:sp>
      </p:grpSp>
      <p:pic>
        <p:nvPicPr>
          <p:cNvPr id="1026" name="Picture 2" descr="C:\Users\MDG\Desktop\4.jpg"/>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20413" b="7293"/>
          <a:stretch>
            <a:fillRect/>
          </a:stretch>
        </p:blipFill>
        <p:spPr bwMode="auto">
          <a:xfrm>
            <a:off x="7566619" y="1796819"/>
            <a:ext cx="3705380" cy="1685608"/>
          </a:xfrm>
          <a:prstGeom prst="rect">
            <a:avLst/>
          </a:prstGeom>
          <a:noFill/>
          <a:ln>
            <a:solidFill>
              <a:schemeClr val="bg1">
                <a:lumMod val="75000"/>
              </a:schemeClr>
            </a:solidFill>
          </a:ln>
          <a:extLst>
            <a:ext uri="{909E8E84-426E-40DD-AFC4-6F175D3DCCD1}">
              <a14:hiddenFill xmlns:a14="http://schemas.microsoft.com/office/drawing/2010/main" xmlns="">
                <a:solidFill>
                  <a:srgbClr val="FFFFFF"/>
                </a:solidFill>
              </a14:hiddenFill>
            </a:ext>
          </a:extLst>
        </p:spPr>
      </p:pic>
      <p:pic>
        <p:nvPicPr>
          <p:cNvPr id="1028" name="Picture 4" descr="C:\Users\MDG\Desktop\2.jp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t="16118" b="9780"/>
          <a:stretch>
            <a:fillRect/>
          </a:stretch>
        </p:blipFill>
        <p:spPr bwMode="auto">
          <a:xfrm>
            <a:off x="7574522" y="3627473"/>
            <a:ext cx="3705380" cy="1721741"/>
          </a:xfrm>
          <a:prstGeom prst="rect">
            <a:avLst/>
          </a:prstGeom>
          <a:noFill/>
          <a:ln>
            <a:solidFill>
              <a:schemeClr val="bg1">
                <a:lumMod val="75000"/>
              </a:schemeClr>
            </a:solidFill>
          </a:ln>
          <a:extLst>
            <a:ext uri="{909E8E84-426E-40DD-AFC4-6F175D3DCCD1}">
              <a14:hiddenFill xmlns:a14="http://schemas.microsoft.com/office/drawing/2010/main" xmlns="">
                <a:solidFill>
                  <a:srgbClr val="FFFFFF"/>
                </a:solidFill>
              </a14:hiddenFill>
            </a:ext>
          </a:extLst>
        </p:spPr>
      </p:pic>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2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4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6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0-#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par>
                          <p:cTn id="25" fill="hold">
                            <p:stCondLst>
                              <p:cond delay="1000"/>
                            </p:stCondLst>
                            <p:childTnLst>
                              <p:par>
                                <p:cTn id="26" presetID="22" presetClass="entr" presetSubtype="8" fill="hold" grpId="0"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par>
                                <p:cTn id="29" presetID="22" presetClass="entr" presetSubtype="8" fill="hold" grpId="0" nodeType="withEffect">
                                  <p:stCondLst>
                                    <p:cond delay="200"/>
                                  </p:stCondLst>
                                  <p:childTnLst>
                                    <p:set>
                                      <p:cBhvr>
                                        <p:cTn id="30" dur="1" fill="hold">
                                          <p:stCondLst>
                                            <p:cond delay="0"/>
                                          </p:stCondLst>
                                        </p:cTn>
                                        <p:tgtEl>
                                          <p:spTgt spid="21"/>
                                        </p:tgtEl>
                                        <p:attrNameLst>
                                          <p:attrName>style.visibility</p:attrName>
                                        </p:attrNameLst>
                                      </p:cBhvr>
                                      <p:to>
                                        <p:strVal val="visible"/>
                                      </p:to>
                                    </p:set>
                                    <p:animEffect transition="in" filter="wipe(left)">
                                      <p:cBhvr>
                                        <p:cTn id="31" dur="500"/>
                                        <p:tgtEl>
                                          <p:spTgt spid="21"/>
                                        </p:tgtEl>
                                      </p:cBhvr>
                                    </p:animEffect>
                                  </p:childTnLst>
                                </p:cTn>
                              </p:par>
                              <p:par>
                                <p:cTn id="32" presetID="22" presetClass="entr" presetSubtype="8" fill="hold" grpId="0" nodeType="withEffect">
                                  <p:stCondLst>
                                    <p:cond delay="400"/>
                                  </p:stCondLst>
                                  <p:childTnLst>
                                    <p:set>
                                      <p:cBhvr>
                                        <p:cTn id="33" dur="1" fill="hold">
                                          <p:stCondLst>
                                            <p:cond delay="0"/>
                                          </p:stCondLst>
                                        </p:cTn>
                                        <p:tgtEl>
                                          <p:spTgt spid="24"/>
                                        </p:tgtEl>
                                        <p:attrNameLst>
                                          <p:attrName>style.visibility</p:attrName>
                                        </p:attrNameLst>
                                      </p:cBhvr>
                                      <p:to>
                                        <p:strVal val="visible"/>
                                      </p:to>
                                    </p:set>
                                    <p:animEffect transition="in" filter="wipe(left)">
                                      <p:cBhvr>
                                        <p:cTn id="34" dur="500"/>
                                        <p:tgtEl>
                                          <p:spTgt spid="24"/>
                                        </p:tgtEl>
                                      </p:cBhvr>
                                    </p:animEffect>
                                  </p:childTnLst>
                                </p:cTn>
                              </p:par>
                              <p:par>
                                <p:cTn id="35" presetID="22" presetClass="entr" presetSubtype="8" fill="hold" grpId="0" nodeType="withEffect">
                                  <p:stCondLst>
                                    <p:cond delay="50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childTnLst>
                          </p:cTn>
                        </p:par>
                        <p:par>
                          <p:cTn id="38" fill="hold">
                            <p:stCondLst>
                              <p:cond delay="1500"/>
                            </p:stCondLst>
                            <p:childTnLst>
                              <p:par>
                                <p:cTn id="39" presetID="53" presetClass="entr" presetSubtype="16" fill="hold" grpId="0" nodeType="afterEffect">
                                  <p:stCondLst>
                                    <p:cond delay="0"/>
                                  </p:stCondLst>
                                  <p:childTnLst>
                                    <p:set>
                                      <p:cBhvr>
                                        <p:cTn id="40" dur="1" fill="hold">
                                          <p:stCondLst>
                                            <p:cond delay="0"/>
                                          </p:stCondLst>
                                        </p:cTn>
                                        <p:tgtEl>
                                          <p:spTgt spid="29"/>
                                        </p:tgtEl>
                                        <p:attrNameLst>
                                          <p:attrName>style.visibility</p:attrName>
                                        </p:attrNameLst>
                                      </p:cBhvr>
                                      <p:to>
                                        <p:strVal val="visible"/>
                                      </p:to>
                                    </p:set>
                                    <p:anim calcmode="lin" valueType="num">
                                      <p:cBhvr>
                                        <p:cTn id="41" dur="500" fill="hold"/>
                                        <p:tgtEl>
                                          <p:spTgt spid="29"/>
                                        </p:tgtEl>
                                        <p:attrNameLst>
                                          <p:attrName>ppt_w</p:attrName>
                                        </p:attrNameLst>
                                      </p:cBhvr>
                                      <p:tavLst>
                                        <p:tav tm="0">
                                          <p:val>
                                            <p:fltVal val="0"/>
                                          </p:val>
                                        </p:tav>
                                        <p:tav tm="100000">
                                          <p:val>
                                            <p:strVal val="#ppt_w"/>
                                          </p:val>
                                        </p:tav>
                                      </p:tavLst>
                                    </p:anim>
                                    <p:anim calcmode="lin" valueType="num">
                                      <p:cBhvr>
                                        <p:cTn id="42" dur="500" fill="hold"/>
                                        <p:tgtEl>
                                          <p:spTgt spid="29"/>
                                        </p:tgtEl>
                                        <p:attrNameLst>
                                          <p:attrName>ppt_h</p:attrName>
                                        </p:attrNameLst>
                                      </p:cBhvr>
                                      <p:tavLst>
                                        <p:tav tm="0">
                                          <p:val>
                                            <p:fltVal val="0"/>
                                          </p:val>
                                        </p:tav>
                                        <p:tav tm="100000">
                                          <p:val>
                                            <p:strVal val="#ppt_h"/>
                                          </p:val>
                                        </p:tav>
                                      </p:tavLst>
                                    </p:anim>
                                    <p:animEffect transition="in" filter="fade">
                                      <p:cBhvr>
                                        <p:cTn id="43" dur="500"/>
                                        <p:tgtEl>
                                          <p:spTgt spid="29"/>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34"/>
                                        </p:tgtEl>
                                        <p:attrNameLst>
                                          <p:attrName>style.visibility</p:attrName>
                                        </p:attrNameLst>
                                      </p:cBhvr>
                                      <p:to>
                                        <p:strVal val="visible"/>
                                      </p:to>
                                    </p:set>
                                    <p:anim calcmode="lin" valueType="num">
                                      <p:cBhvr>
                                        <p:cTn id="46" dur="500" fill="hold"/>
                                        <p:tgtEl>
                                          <p:spTgt spid="34"/>
                                        </p:tgtEl>
                                        <p:attrNameLst>
                                          <p:attrName>ppt_w</p:attrName>
                                        </p:attrNameLst>
                                      </p:cBhvr>
                                      <p:tavLst>
                                        <p:tav tm="0">
                                          <p:val>
                                            <p:fltVal val="0"/>
                                          </p:val>
                                        </p:tav>
                                        <p:tav tm="100000">
                                          <p:val>
                                            <p:strVal val="#ppt_w"/>
                                          </p:val>
                                        </p:tav>
                                      </p:tavLst>
                                    </p:anim>
                                    <p:anim calcmode="lin" valueType="num">
                                      <p:cBhvr>
                                        <p:cTn id="47" dur="500" fill="hold"/>
                                        <p:tgtEl>
                                          <p:spTgt spid="34"/>
                                        </p:tgtEl>
                                        <p:attrNameLst>
                                          <p:attrName>ppt_h</p:attrName>
                                        </p:attrNameLst>
                                      </p:cBhvr>
                                      <p:tavLst>
                                        <p:tav tm="0">
                                          <p:val>
                                            <p:fltVal val="0"/>
                                          </p:val>
                                        </p:tav>
                                        <p:tav tm="100000">
                                          <p:val>
                                            <p:strVal val="#ppt_h"/>
                                          </p:val>
                                        </p:tav>
                                      </p:tavLst>
                                    </p:anim>
                                    <p:animEffect transition="in" filter="fade">
                                      <p:cBhvr>
                                        <p:cTn id="48" dur="500"/>
                                        <p:tgtEl>
                                          <p:spTgt spid="34"/>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anim calcmode="lin" valueType="num">
                                      <p:cBhvr>
                                        <p:cTn id="51" dur="500" fill="hold"/>
                                        <p:tgtEl>
                                          <p:spTgt spid="33"/>
                                        </p:tgtEl>
                                        <p:attrNameLst>
                                          <p:attrName>ppt_w</p:attrName>
                                        </p:attrNameLst>
                                      </p:cBhvr>
                                      <p:tavLst>
                                        <p:tav tm="0">
                                          <p:val>
                                            <p:fltVal val="0"/>
                                          </p:val>
                                        </p:tav>
                                        <p:tav tm="100000">
                                          <p:val>
                                            <p:strVal val="#ppt_w"/>
                                          </p:val>
                                        </p:tav>
                                      </p:tavLst>
                                    </p:anim>
                                    <p:anim calcmode="lin" valueType="num">
                                      <p:cBhvr>
                                        <p:cTn id="52" dur="500" fill="hold"/>
                                        <p:tgtEl>
                                          <p:spTgt spid="33"/>
                                        </p:tgtEl>
                                        <p:attrNameLst>
                                          <p:attrName>ppt_h</p:attrName>
                                        </p:attrNameLst>
                                      </p:cBhvr>
                                      <p:tavLst>
                                        <p:tav tm="0">
                                          <p:val>
                                            <p:fltVal val="0"/>
                                          </p:val>
                                        </p:tav>
                                        <p:tav tm="100000">
                                          <p:val>
                                            <p:strVal val="#ppt_h"/>
                                          </p:val>
                                        </p:tav>
                                      </p:tavLst>
                                    </p:anim>
                                    <p:animEffect transition="in" filter="fade">
                                      <p:cBhvr>
                                        <p:cTn id="53" dur="500"/>
                                        <p:tgtEl>
                                          <p:spTgt spid="33"/>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32"/>
                                        </p:tgtEl>
                                        <p:attrNameLst>
                                          <p:attrName>style.visibility</p:attrName>
                                        </p:attrNameLst>
                                      </p:cBhvr>
                                      <p:to>
                                        <p:strVal val="visible"/>
                                      </p:to>
                                    </p:set>
                                    <p:anim calcmode="lin" valueType="num">
                                      <p:cBhvr>
                                        <p:cTn id="56" dur="500" fill="hold"/>
                                        <p:tgtEl>
                                          <p:spTgt spid="32"/>
                                        </p:tgtEl>
                                        <p:attrNameLst>
                                          <p:attrName>ppt_w</p:attrName>
                                        </p:attrNameLst>
                                      </p:cBhvr>
                                      <p:tavLst>
                                        <p:tav tm="0">
                                          <p:val>
                                            <p:fltVal val="0"/>
                                          </p:val>
                                        </p:tav>
                                        <p:tav tm="100000">
                                          <p:val>
                                            <p:strVal val="#ppt_w"/>
                                          </p:val>
                                        </p:tav>
                                      </p:tavLst>
                                    </p:anim>
                                    <p:anim calcmode="lin" valueType="num">
                                      <p:cBhvr>
                                        <p:cTn id="57" dur="500" fill="hold"/>
                                        <p:tgtEl>
                                          <p:spTgt spid="32"/>
                                        </p:tgtEl>
                                        <p:attrNameLst>
                                          <p:attrName>ppt_h</p:attrName>
                                        </p:attrNameLst>
                                      </p:cBhvr>
                                      <p:tavLst>
                                        <p:tav tm="0">
                                          <p:val>
                                            <p:fltVal val="0"/>
                                          </p:val>
                                        </p:tav>
                                        <p:tav tm="100000">
                                          <p:val>
                                            <p:strVal val="#ppt_h"/>
                                          </p:val>
                                        </p:tav>
                                      </p:tavLst>
                                    </p:anim>
                                    <p:animEffect transition="in" filter="fade">
                                      <p:cBhvr>
                                        <p:cTn id="58" dur="500"/>
                                        <p:tgtEl>
                                          <p:spTgt spid="32"/>
                                        </p:tgtEl>
                                      </p:cBhvr>
                                    </p:animEffect>
                                  </p:childTnLst>
                                </p:cTn>
                              </p:par>
                            </p:childTnLst>
                          </p:cTn>
                        </p:par>
                        <p:par>
                          <p:cTn id="59" fill="hold">
                            <p:stCondLst>
                              <p:cond delay="2000"/>
                            </p:stCondLst>
                            <p:childTnLst>
                              <p:par>
                                <p:cTn id="60" presetID="22" presetClass="entr" presetSubtype="8" fill="hold" grpId="0" nodeType="afterEffect">
                                  <p:stCondLst>
                                    <p:cond delay="0"/>
                                  </p:stCondLst>
                                  <p:childTnLst>
                                    <p:set>
                                      <p:cBhvr>
                                        <p:cTn id="61" dur="1" fill="hold">
                                          <p:stCondLst>
                                            <p:cond delay="0"/>
                                          </p:stCondLst>
                                        </p:cTn>
                                        <p:tgtEl>
                                          <p:spTgt spid="12"/>
                                        </p:tgtEl>
                                        <p:attrNameLst>
                                          <p:attrName>style.visibility</p:attrName>
                                        </p:attrNameLst>
                                      </p:cBhvr>
                                      <p:to>
                                        <p:strVal val="visible"/>
                                      </p:to>
                                    </p:set>
                                    <p:animEffect transition="in" filter="wipe(left)">
                                      <p:cBhvr>
                                        <p:cTn id="62" dur="500"/>
                                        <p:tgtEl>
                                          <p:spTgt spid="12"/>
                                        </p:tgtEl>
                                      </p:cBhvr>
                                    </p:animEffect>
                                  </p:childTnLst>
                                </p:cTn>
                              </p:par>
                              <p:par>
                                <p:cTn id="63" presetID="22" presetClass="entr" presetSubtype="8" fill="hold" grpId="0" nodeType="withEffect">
                                  <p:stCondLst>
                                    <p:cond delay="200"/>
                                  </p:stCondLst>
                                  <p:childTnLst>
                                    <p:set>
                                      <p:cBhvr>
                                        <p:cTn id="64" dur="1" fill="hold">
                                          <p:stCondLst>
                                            <p:cond delay="0"/>
                                          </p:stCondLst>
                                        </p:cTn>
                                        <p:tgtEl>
                                          <p:spTgt spid="22"/>
                                        </p:tgtEl>
                                        <p:attrNameLst>
                                          <p:attrName>style.visibility</p:attrName>
                                        </p:attrNameLst>
                                      </p:cBhvr>
                                      <p:to>
                                        <p:strVal val="visible"/>
                                      </p:to>
                                    </p:set>
                                    <p:animEffect transition="in" filter="wipe(left)">
                                      <p:cBhvr>
                                        <p:cTn id="65" dur="500"/>
                                        <p:tgtEl>
                                          <p:spTgt spid="22"/>
                                        </p:tgtEl>
                                      </p:cBhvr>
                                    </p:animEffect>
                                  </p:childTnLst>
                                </p:cTn>
                              </p:par>
                              <p:par>
                                <p:cTn id="66" presetID="22" presetClass="entr" presetSubtype="8" fill="hold" grpId="0" nodeType="withEffect">
                                  <p:stCondLst>
                                    <p:cond delay="400"/>
                                  </p:stCondLst>
                                  <p:childTnLst>
                                    <p:set>
                                      <p:cBhvr>
                                        <p:cTn id="67" dur="1" fill="hold">
                                          <p:stCondLst>
                                            <p:cond delay="0"/>
                                          </p:stCondLst>
                                        </p:cTn>
                                        <p:tgtEl>
                                          <p:spTgt spid="25"/>
                                        </p:tgtEl>
                                        <p:attrNameLst>
                                          <p:attrName>style.visibility</p:attrName>
                                        </p:attrNameLst>
                                      </p:cBhvr>
                                      <p:to>
                                        <p:strVal val="visible"/>
                                      </p:to>
                                    </p:set>
                                    <p:animEffect transition="in" filter="wipe(left)">
                                      <p:cBhvr>
                                        <p:cTn id="68" dur="500"/>
                                        <p:tgtEl>
                                          <p:spTgt spid="25"/>
                                        </p:tgtEl>
                                      </p:cBhvr>
                                    </p:animEffect>
                                  </p:childTnLst>
                                </p:cTn>
                              </p:par>
                              <p:par>
                                <p:cTn id="69" presetID="22" presetClass="entr" presetSubtype="8" fill="hold" grpId="0" nodeType="withEffect">
                                  <p:stCondLst>
                                    <p:cond delay="600"/>
                                  </p:stCondLst>
                                  <p:childTnLst>
                                    <p:set>
                                      <p:cBhvr>
                                        <p:cTn id="70" dur="1" fill="hold">
                                          <p:stCondLst>
                                            <p:cond delay="0"/>
                                          </p:stCondLst>
                                        </p:cTn>
                                        <p:tgtEl>
                                          <p:spTgt spid="28"/>
                                        </p:tgtEl>
                                        <p:attrNameLst>
                                          <p:attrName>style.visibility</p:attrName>
                                        </p:attrNameLst>
                                      </p:cBhvr>
                                      <p:to>
                                        <p:strVal val="visible"/>
                                      </p:to>
                                    </p:set>
                                    <p:animEffect transition="in" filter="wipe(left)">
                                      <p:cBhvr>
                                        <p:cTn id="71" dur="500"/>
                                        <p:tgtEl>
                                          <p:spTgt spid="28"/>
                                        </p:tgtEl>
                                      </p:cBhvr>
                                    </p:animEffect>
                                  </p:childTnLst>
                                </p:cTn>
                              </p:par>
                            </p:childTnLst>
                          </p:cTn>
                        </p:par>
                        <p:par>
                          <p:cTn id="72" fill="hold">
                            <p:stCondLst>
                              <p:cond delay="2500"/>
                            </p:stCondLst>
                            <p:childTnLst>
                              <p:par>
                                <p:cTn id="73" presetID="53" presetClass="entr" presetSubtype="16" fill="hold" grpId="0" nodeType="afterEffect">
                                  <p:stCondLst>
                                    <p:cond delay="0"/>
                                  </p:stCondLst>
                                  <p:childTnLst>
                                    <p:set>
                                      <p:cBhvr>
                                        <p:cTn id="74" dur="1" fill="hold">
                                          <p:stCondLst>
                                            <p:cond delay="0"/>
                                          </p:stCondLst>
                                        </p:cTn>
                                        <p:tgtEl>
                                          <p:spTgt spid="30"/>
                                        </p:tgtEl>
                                        <p:attrNameLst>
                                          <p:attrName>style.visibility</p:attrName>
                                        </p:attrNameLst>
                                      </p:cBhvr>
                                      <p:to>
                                        <p:strVal val="visible"/>
                                      </p:to>
                                    </p:set>
                                    <p:anim calcmode="lin" valueType="num">
                                      <p:cBhvr>
                                        <p:cTn id="75" dur="500" fill="hold"/>
                                        <p:tgtEl>
                                          <p:spTgt spid="30"/>
                                        </p:tgtEl>
                                        <p:attrNameLst>
                                          <p:attrName>ppt_w</p:attrName>
                                        </p:attrNameLst>
                                      </p:cBhvr>
                                      <p:tavLst>
                                        <p:tav tm="0">
                                          <p:val>
                                            <p:fltVal val="0"/>
                                          </p:val>
                                        </p:tav>
                                        <p:tav tm="100000">
                                          <p:val>
                                            <p:strVal val="#ppt_w"/>
                                          </p:val>
                                        </p:tav>
                                      </p:tavLst>
                                    </p:anim>
                                    <p:anim calcmode="lin" valueType="num">
                                      <p:cBhvr>
                                        <p:cTn id="76" dur="500" fill="hold"/>
                                        <p:tgtEl>
                                          <p:spTgt spid="30"/>
                                        </p:tgtEl>
                                        <p:attrNameLst>
                                          <p:attrName>ppt_h</p:attrName>
                                        </p:attrNameLst>
                                      </p:cBhvr>
                                      <p:tavLst>
                                        <p:tav tm="0">
                                          <p:val>
                                            <p:fltVal val="0"/>
                                          </p:val>
                                        </p:tav>
                                        <p:tav tm="100000">
                                          <p:val>
                                            <p:strVal val="#ppt_h"/>
                                          </p:val>
                                        </p:tav>
                                      </p:tavLst>
                                    </p:anim>
                                    <p:animEffect transition="in" filter="fade">
                                      <p:cBhvr>
                                        <p:cTn id="77" dur="500"/>
                                        <p:tgtEl>
                                          <p:spTgt spid="30"/>
                                        </p:tgtEl>
                                      </p:cBhvr>
                                    </p:animEffect>
                                  </p:childTnLst>
                                </p:cTn>
                              </p:par>
                              <p:par>
                                <p:cTn id="78" presetID="53" presetClass="entr" presetSubtype="16" fill="hold" grpId="0" nodeType="withEffect">
                                  <p:stCondLst>
                                    <p:cond delay="0"/>
                                  </p:stCondLst>
                                  <p:childTnLst>
                                    <p:set>
                                      <p:cBhvr>
                                        <p:cTn id="79" dur="1" fill="hold">
                                          <p:stCondLst>
                                            <p:cond delay="0"/>
                                          </p:stCondLst>
                                        </p:cTn>
                                        <p:tgtEl>
                                          <p:spTgt spid="36"/>
                                        </p:tgtEl>
                                        <p:attrNameLst>
                                          <p:attrName>style.visibility</p:attrName>
                                        </p:attrNameLst>
                                      </p:cBhvr>
                                      <p:to>
                                        <p:strVal val="visible"/>
                                      </p:to>
                                    </p:set>
                                    <p:anim calcmode="lin" valueType="num">
                                      <p:cBhvr>
                                        <p:cTn id="80" dur="500" fill="hold"/>
                                        <p:tgtEl>
                                          <p:spTgt spid="36"/>
                                        </p:tgtEl>
                                        <p:attrNameLst>
                                          <p:attrName>ppt_w</p:attrName>
                                        </p:attrNameLst>
                                      </p:cBhvr>
                                      <p:tavLst>
                                        <p:tav tm="0">
                                          <p:val>
                                            <p:fltVal val="0"/>
                                          </p:val>
                                        </p:tav>
                                        <p:tav tm="100000">
                                          <p:val>
                                            <p:strVal val="#ppt_w"/>
                                          </p:val>
                                        </p:tav>
                                      </p:tavLst>
                                    </p:anim>
                                    <p:anim calcmode="lin" valueType="num">
                                      <p:cBhvr>
                                        <p:cTn id="81" dur="500" fill="hold"/>
                                        <p:tgtEl>
                                          <p:spTgt spid="36"/>
                                        </p:tgtEl>
                                        <p:attrNameLst>
                                          <p:attrName>ppt_h</p:attrName>
                                        </p:attrNameLst>
                                      </p:cBhvr>
                                      <p:tavLst>
                                        <p:tav tm="0">
                                          <p:val>
                                            <p:fltVal val="0"/>
                                          </p:val>
                                        </p:tav>
                                        <p:tav tm="100000">
                                          <p:val>
                                            <p:strVal val="#ppt_h"/>
                                          </p:val>
                                        </p:tav>
                                      </p:tavLst>
                                    </p:anim>
                                    <p:animEffect transition="in" filter="fade">
                                      <p:cBhvr>
                                        <p:cTn id="82" dur="500"/>
                                        <p:tgtEl>
                                          <p:spTgt spid="36"/>
                                        </p:tgtEl>
                                      </p:cBhvr>
                                    </p:animEffect>
                                  </p:childTnLst>
                                </p:cTn>
                              </p:par>
                              <p:par>
                                <p:cTn id="83" presetID="53" presetClass="entr" presetSubtype="16" fill="hold" grpId="0" nodeType="withEffect">
                                  <p:stCondLst>
                                    <p:cond delay="0"/>
                                  </p:stCondLst>
                                  <p:childTnLst>
                                    <p:set>
                                      <p:cBhvr>
                                        <p:cTn id="84" dur="1" fill="hold">
                                          <p:stCondLst>
                                            <p:cond delay="0"/>
                                          </p:stCondLst>
                                        </p:cTn>
                                        <p:tgtEl>
                                          <p:spTgt spid="35"/>
                                        </p:tgtEl>
                                        <p:attrNameLst>
                                          <p:attrName>style.visibility</p:attrName>
                                        </p:attrNameLst>
                                      </p:cBhvr>
                                      <p:to>
                                        <p:strVal val="visible"/>
                                      </p:to>
                                    </p:set>
                                    <p:anim calcmode="lin" valueType="num">
                                      <p:cBhvr>
                                        <p:cTn id="85" dur="500" fill="hold"/>
                                        <p:tgtEl>
                                          <p:spTgt spid="35"/>
                                        </p:tgtEl>
                                        <p:attrNameLst>
                                          <p:attrName>ppt_w</p:attrName>
                                        </p:attrNameLst>
                                      </p:cBhvr>
                                      <p:tavLst>
                                        <p:tav tm="0">
                                          <p:val>
                                            <p:fltVal val="0"/>
                                          </p:val>
                                        </p:tav>
                                        <p:tav tm="100000">
                                          <p:val>
                                            <p:strVal val="#ppt_w"/>
                                          </p:val>
                                        </p:tav>
                                      </p:tavLst>
                                    </p:anim>
                                    <p:anim calcmode="lin" valueType="num">
                                      <p:cBhvr>
                                        <p:cTn id="86" dur="500" fill="hold"/>
                                        <p:tgtEl>
                                          <p:spTgt spid="35"/>
                                        </p:tgtEl>
                                        <p:attrNameLst>
                                          <p:attrName>ppt_h</p:attrName>
                                        </p:attrNameLst>
                                      </p:cBhvr>
                                      <p:tavLst>
                                        <p:tav tm="0">
                                          <p:val>
                                            <p:fltVal val="0"/>
                                          </p:val>
                                        </p:tav>
                                        <p:tav tm="100000">
                                          <p:val>
                                            <p:strVal val="#ppt_h"/>
                                          </p:val>
                                        </p:tav>
                                      </p:tavLst>
                                    </p:anim>
                                    <p:animEffect transition="in" filter="fade">
                                      <p:cBhvr>
                                        <p:cTn id="87" dur="500"/>
                                        <p:tgtEl>
                                          <p:spTgt spid="35"/>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31"/>
                                        </p:tgtEl>
                                        <p:attrNameLst>
                                          <p:attrName>style.visibility</p:attrName>
                                        </p:attrNameLst>
                                      </p:cBhvr>
                                      <p:to>
                                        <p:strVal val="visible"/>
                                      </p:to>
                                    </p:set>
                                    <p:anim calcmode="lin" valueType="num">
                                      <p:cBhvr>
                                        <p:cTn id="90" dur="500" fill="hold"/>
                                        <p:tgtEl>
                                          <p:spTgt spid="31"/>
                                        </p:tgtEl>
                                        <p:attrNameLst>
                                          <p:attrName>ppt_w</p:attrName>
                                        </p:attrNameLst>
                                      </p:cBhvr>
                                      <p:tavLst>
                                        <p:tav tm="0">
                                          <p:val>
                                            <p:fltVal val="0"/>
                                          </p:val>
                                        </p:tav>
                                        <p:tav tm="100000">
                                          <p:val>
                                            <p:strVal val="#ppt_w"/>
                                          </p:val>
                                        </p:tav>
                                      </p:tavLst>
                                    </p:anim>
                                    <p:anim calcmode="lin" valueType="num">
                                      <p:cBhvr>
                                        <p:cTn id="91" dur="500" fill="hold"/>
                                        <p:tgtEl>
                                          <p:spTgt spid="31"/>
                                        </p:tgtEl>
                                        <p:attrNameLst>
                                          <p:attrName>ppt_h</p:attrName>
                                        </p:attrNameLst>
                                      </p:cBhvr>
                                      <p:tavLst>
                                        <p:tav tm="0">
                                          <p:val>
                                            <p:fltVal val="0"/>
                                          </p:val>
                                        </p:tav>
                                        <p:tav tm="100000">
                                          <p:val>
                                            <p:strVal val="#ppt_h"/>
                                          </p:val>
                                        </p:tav>
                                      </p:tavLst>
                                    </p:anim>
                                    <p:animEffect transition="in" filter="fade">
                                      <p:cBhvr>
                                        <p:cTn id="92" dur="500"/>
                                        <p:tgtEl>
                                          <p:spTgt spid="31"/>
                                        </p:tgtEl>
                                      </p:cBhvr>
                                    </p:animEffect>
                                  </p:childTnLst>
                                </p:cTn>
                              </p:par>
                            </p:childTnLst>
                          </p:cTn>
                        </p:par>
                        <p:par>
                          <p:cTn id="93" fill="hold">
                            <p:stCondLst>
                              <p:cond delay="3000"/>
                            </p:stCondLst>
                            <p:childTnLst>
                              <p:par>
                                <p:cTn id="94" presetID="10" presetClass="entr" presetSubtype="0" fill="hold" nodeType="afterEffect">
                                  <p:stCondLst>
                                    <p:cond delay="0"/>
                                  </p:stCondLst>
                                  <p:childTnLst>
                                    <p:set>
                                      <p:cBhvr>
                                        <p:cTn id="95" dur="1" fill="hold">
                                          <p:stCondLst>
                                            <p:cond delay="0"/>
                                          </p:stCondLst>
                                        </p:cTn>
                                        <p:tgtEl>
                                          <p:spTgt spid="3"/>
                                        </p:tgtEl>
                                        <p:attrNameLst>
                                          <p:attrName>style.visibility</p:attrName>
                                        </p:attrNameLst>
                                      </p:cBhvr>
                                      <p:to>
                                        <p:strVal val="visible"/>
                                      </p:to>
                                    </p:set>
                                    <p:animEffect transition="in" filter="fade">
                                      <p:cBhvr>
                                        <p:cTn id="96" dur="500"/>
                                        <p:tgtEl>
                                          <p:spTgt spid="3"/>
                                        </p:tgtEl>
                                      </p:cBhvr>
                                    </p:animEffect>
                                  </p:childTnLst>
                                </p:cTn>
                              </p:par>
                              <p:par>
                                <p:cTn id="97" presetID="10" presetClass="entr" presetSubtype="0" fill="hold" nodeType="withEffect">
                                  <p:stCondLst>
                                    <p:cond delay="0"/>
                                  </p:stCondLst>
                                  <p:childTnLst>
                                    <p:set>
                                      <p:cBhvr>
                                        <p:cTn id="98" dur="1" fill="hold">
                                          <p:stCondLst>
                                            <p:cond delay="0"/>
                                          </p:stCondLst>
                                        </p:cTn>
                                        <p:tgtEl>
                                          <p:spTgt spid="5"/>
                                        </p:tgtEl>
                                        <p:attrNameLst>
                                          <p:attrName>style.visibility</p:attrName>
                                        </p:attrNameLst>
                                      </p:cBhvr>
                                      <p:to>
                                        <p:strVal val="visible"/>
                                      </p:to>
                                    </p:set>
                                    <p:animEffect transition="in" filter="fade">
                                      <p:cBhvr>
                                        <p:cTn id="99" dur="500"/>
                                        <p:tgtEl>
                                          <p:spTgt spid="5"/>
                                        </p:tgtEl>
                                      </p:cBhvr>
                                    </p:animEffect>
                                  </p:childTnLst>
                                </p:cTn>
                              </p:par>
                            </p:childTnLst>
                          </p:cTn>
                        </p:par>
                        <p:par>
                          <p:cTn id="100" fill="hold">
                            <p:stCondLst>
                              <p:cond delay="3500"/>
                            </p:stCondLst>
                            <p:childTnLst>
                              <p:par>
                                <p:cTn id="101" presetID="2" presetClass="entr" presetSubtype="1" fill="hold" nodeType="afterEffect">
                                  <p:stCondLst>
                                    <p:cond delay="0"/>
                                  </p:stCondLst>
                                  <p:childTnLst>
                                    <p:set>
                                      <p:cBhvr>
                                        <p:cTn id="102" dur="1" fill="hold">
                                          <p:stCondLst>
                                            <p:cond delay="0"/>
                                          </p:stCondLst>
                                        </p:cTn>
                                        <p:tgtEl>
                                          <p:spTgt spid="1026"/>
                                        </p:tgtEl>
                                        <p:attrNameLst>
                                          <p:attrName>style.visibility</p:attrName>
                                        </p:attrNameLst>
                                      </p:cBhvr>
                                      <p:to>
                                        <p:strVal val="visible"/>
                                      </p:to>
                                    </p:set>
                                    <p:anim calcmode="lin" valueType="num">
                                      <p:cBhvr additive="base">
                                        <p:cTn id="103" dur="500" fill="hold"/>
                                        <p:tgtEl>
                                          <p:spTgt spid="1026"/>
                                        </p:tgtEl>
                                        <p:attrNameLst>
                                          <p:attrName>ppt_x</p:attrName>
                                        </p:attrNameLst>
                                      </p:cBhvr>
                                      <p:tavLst>
                                        <p:tav tm="0">
                                          <p:val>
                                            <p:strVal val="#ppt_x"/>
                                          </p:val>
                                        </p:tav>
                                        <p:tav tm="100000">
                                          <p:val>
                                            <p:strVal val="#ppt_x"/>
                                          </p:val>
                                        </p:tav>
                                      </p:tavLst>
                                    </p:anim>
                                    <p:anim calcmode="lin" valueType="num">
                                      <p:cBhvr additive="base">
                                        <p:cTn id="104" dur="500" fill="hold"/>
                                        <p:tgtEl>
                                          <p:spTgt spid="1026"/>
                                        </p:tgtEl>
                                        <p:attrNameLst>
                                          <p:attrName>ppt_y</p:attrName>
                                        </p:attrNameLst>
                                      </p:cBhvr>
                                      <p:tavLst>
                                        <p:tav tm="0">
                                          <p:val>
                                            <p:strVal val="0-#ppt_h/2"/>
                                          </p:val>
                                        </p:tav>
                                        <p:tav tm="100000">
                                          <p:val>
                                            <p:strVal val="#ppt_y"/>
                                          </p:val>
                                        </p:tav>
                                      </p:tavLst>
                                    </p:anim>
                                  </p:childTnLst>
                                </p:cTn>
                              </p:par>
                              <p:par>
                                <p:cTn id="105" presetID="2" presetClass="entr" presetSubtype="4" fill="hold" nodeType="withEffect">
                                  <p:stCondLst>
                                    <p:cond delay="0"/>
                                  </p:stCondLst>
                                  <p:childTnLst>
                                    <p:set>
                                      <p:cBhvr>
                                        <p:cTn id="106" dur="1" fill="hold">
                                          <p:stCondLst>
                                            <p:cond delay="0"/>
                                          </p:stCondLst>
                                        </p:cTn>
                                        <p:tgtEl>
                                          <p:spTgt spid="1028"/>
                                        </p:tgtEl>
                                        <p:attrNameLst>
                                          <p:attrName>style.visibility</p:attrName>
                                        </p:attrNameLst>
                                      </p:cBhvr>
                                      <p:to>
                                        <p:strVal val="visible"/>
                                      </p:to>
                                    </p:set>
                                    <p:anim calcmode="lin" valueType="num">
                                      <p:cBhvr additive="base">
                                        <p:cTn id="107" dur="500" fill="hold"/>
                                        <p:tgtEl>
                                          <p:spTgt spid="1028"/>
                                        </p:tgtEl>
                                        <p:attrNameLst>
                                          <p:attrName>ppt_x</p:attrName>
                                        </p:attrNameLst>
                                      </p:cBhvr>
                                      <p:tavLst>
                                        <p:tav tm="0">
                                          <p:val>
                                            <p:strVal val="#ppt_x"/>
                                          </p:val>
                                        </p:tav>
                                        <p:tav tm="100000">
                                          <p:val>
                                            <p:strVal val="#ppt_x"/>
                                          </p:val>
                                        </p:tav>
                                      </p:tavLst>
                                    </p:anim>
                                    <p:anim calcmode="lin" valueType="num">
                                      <p:cBhvr additive="base">
                                        <p:cTn id="108"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animBg="1"/>
      <p:bldP spid="12" grpId="0" animBg="1"/>
      <p:bldP spid="21" grpId="0" animBg="1"/>
      <p:bldP spid="22" grpId="0" animBg="1"/>
      <p:bldP spid="24" grpId="0" animBg="1"/>
      <p:bldP spid="25" grpId="0" animBg="1"/>
      <p:bldP spid="27" grpId="0" animBg="1"/>
      <p:bldP spid="28" grpId="0" animBg="1"/>
      <p:bldP spid="29" grpId="0"/>
      <p:bldP spid="30" grpId="0"/>
      <p:bldP spid="31" grpId="0"/>
      <p:bldP spid="32" grpId="0"/>
      <p:bldP spid="33" grpId="0"/>
      <p:bldP spid="34" grpId="0"/>
      <p:bldP spid="35" grpId="0"/>
      <p:bldP spid="3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矩形 53"/>
          <p:cNvSpPr/>
          <p:nvPr/>
        </p:nvSpPr>
        <p:spPr>
          <a:xfrm>
            <a:off x="795" y="1797235"/>
            <a:ext cx="12190413" cy="3525751"/>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55" name="TextBox 11"/>
          <p:cNvSpPr txBox="1"/>
          <p:nvPr/>
        </p:nvSpPr>
        <p:spPr>
          <a:xfrm>
            <a:off x="5505947" y="2273830"/>
            <a:ext cx="4721265" cy="1272437"/>
          </a:xfrm>
          <a:prstGeom prst="rect">
            <a:avLst/>
          </a:prstGeom>
          <a:noFill/>
        </p:spPr>
        <p:txBody>
          <a:bodyPr wrap="square" lIns="121917" tIns="60958" rIns="121917" bIns="60958" rtlCol="0">
            <a:spAutoFit/>
          </a:bodyPr>
          <a:lstStyle/>
          <a:p>
            <a:pPr marL="0" lvl="1"/>
            <a:r>
              <a:rPr lang="zh-CN" altLang="en-US" sz="1900" b="1" dirty="0">
                <a:solidFill>
                  <a:schemeClr val="bg1"/>
                </a:solidFill>
                <a:latin typeface="方正正大黑简体" panose="02000000000000000000" pitchFamily="2" charset="-122"/>
                <a:ea typeface="方正正大黑简体" panose="02000000000000000000" pitchFamily="2" charset="-122"/>
              </a:rPr>
              <a:t> </a:t>
            </a:r>
            <a:r>
              <a:rPr lang="zh-CN" altLang="en-US" sz="2700" dirty="0" smtClean="0">
                <a:solidFill>
                  <a:schemeClr val="bg1"/>
                </a:solidFill>
                <a:latin typeface="方正正大黑简体" panose="02000000000000000000" pitchFamily="2" charset="-122"/>
                <a:ea typeface="方正正大黑简体" panose="02000000000000000000" pitchFamily="2" charset="-122"/>
              </a:rPr>
              <a:t>第二部分</a:t>
            </a:r>
            <a:endParaRPr lang="en-US" altLang="zh-CN" sz="2700" dirty="0">
              <a:solidFill>
                <a:schemeClr val="bg1"/>
              </a:solidFill>
              <a:latin typeface="方正正大黑简体" panose="02000000000000000000" pitchFamily="2" charset="-122"/>
              <a:ea typeface="方正正大黑简体" panose="02000000000000000000" pitchFamily="2" charset="-122"/>
            </a:endParaRPr>
          </a:p>
          <a:p>
            <a:pPr marL="0" lvl="1"/>
            <a:r>
              <a:rPr lang="zh-CN" altLang="en-US" sz="4800" b="1" spc="400" dirty="0" smtClean="0">
                <a:solidFill>
                  <a:schemeClr val="bg1"/>
                </a:solidFill>
                <a:latin typeface="微软雅黑" panose="020B0503020204020204" pitchFamily="34" charset="-122"/>
                <a:ea typeface="微软雅黑" panose="020B0503020204020204" pitchFamily="34" charset="-122"/>
              </a:rPr>
              <a:t>项目成果</a:t>
            </a:r>
            <a:endParaRPr lang="zh-CN" altLang="en-US" sz="4800" b="1" spc="400" dirty="0">
              <a:solidFill>
                <a:schemeClr val="bg1"/>
              </a:solidFill>
              <a:latin typeface="微软雅黑" panose="020B0503020204020204" pitchFamily="34" charset="-122"/>
              <a:ea typeface="微软雅黑" panose="020B0503020204020204" pitchFamily="34" charset="-122"/>
            </a:endParaRPr>
          </a:p>
        </p:txBody>
      </p:sp>
      <p:cxnSp>
        <p:nvCxnSpPr>
          <p:cNvPr id="56" name="直接连接符 55"/>
          <p:cNvCxnSpPr/>
          <p:nvPr/>
        </p:nvCxnSpPr>
        <p:spPr>
          <a:xfrm flipV="1">
            <a:off x="5241572" y="2276863"/>
            <a:ext cx="0" cy="2566493"/>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7" name="TextBox 13"/>
          <p:cNvSpPr txBox="1"/>
          <p:nvPr/>
        </p:nvSpPr>
        <p:spPr>
          <a:xfrm>
            <a:off x="3584676" y="4307305"/>
            <a:ext cx="1203638" cy="328371"/>
          </a:xfrm>
          <a:prstGeom prst="rect">
            <a:avLst/>
          </a:prstGeom>
          <a:noFill/>
        </p:spPr>
        <p:txBody>
          <a:bodyPr wrap="square" lIns="0" tIns="0" rIns="0" bIns="0" rtlCol="0">
            <a:spAutoFit/>
          </a:bodyPr>
          <a:lstStyle/>
          <a:p>
            <a:pPr algn="ctr"/>
            <a:r>
              <a:rPr lang="en-US" altLang="zh-CN" sz="2100" dirty="0">
                <a:solidFill>
                  <a:schemeClr val="bg1"/>
                </a:solidFill>
                <a:latin typeface="微软雅黑" panose="020B0503020204020204" pitchFamily="34" charset="-122"/>
                <a:ea typeface="微软雅黑" panose="020B0503020204020204" pitchFamily="34" charset="-122"/>
              </a:rPr>
              <a:t>PART </a:t>
            </a:r>
            <a:r>
              <a:rPr lang="en-US" altLang="zh-CN" sz="2100" dirty="0" smtClean="0">
                <a:solidFill>
                  <a:schemeClr val="bg1"/>
                </a:solidFill>
                <a:latin typeface="微软雅黑" panose="020B0503020204020204" pitchFamily="34" charset="-122"/>
                <a:ea typeface="微软雅黑" panose="020B0503020204020204" pitchFamily="34" charset="-122"/>
              </a:rPr>
              <a:t>02</a:t>
            </a:r>
            <a:endParaRPr lang="zh-CN" altLang="en-US" sz="2100" dirty="0">
              <a:solidFill>
                <a:schemeClr val="bg1"/>
              </a:solidFill>
              <a:latin typeface="微软雅黑" panose="020B0503020204020204" pitchFamily="34" charset="-122"/>
              <a:ea typeface="微软雅黑" panose="020B0503020204020204" pitchFamily="34" charset="-122"/>
            </a:endParaRPr>
          </a:p>
        </p:txBody>
      </p:sp>
      <p:grpSp>
        <p:nvGrpSpPr>
          <p:cNvPr id="58" name="组合 57"/>
          <p:cNvGrpSpPr/>
          <p:nvPr/>
        </p:nvGrpSpPr>
        <p:grpSpPr>
          <a:xfrm>
            <a:off x="3489725" y="2757564"/>
            <a:ext cx="1393540" cy="1394044"/>
            <a:chOff x="3688998" y="918307"/>
            <a:chExt cx="1146646" cy="1146646"/>
          </a:xfrm>
        </p:grpSpPr>
        <p:grpSp>
          <p:nvGrpSpPr>
            <p:cNvPr id="59" name="组合 3"/>
            <p:cNvGrpSpPr/>
            <p:nvPr/>
          </p:nvGrpSpPr>
          <p:grpSpPr bwMode="auto">
            <a:xfrm>
              <a:off x="3688998" y="918307"/>
              <a:ext cx="1146646" cy="1146646"/>
              <a:chOff x="13242434" y="4083685"/>
              <a:chExt cx="2642282" cy="2642282"/>
            </a:xfrm>
          </p:grpSpPr>
          <p:sp>
            <p:nvSpPr>
              <p:cNvPr id="61" name="椭圆 60"/>
              <p:cNvSpPr/>
              <p:nvPr/>
            </p:nvSpPr>
            <p:spPr>
              <a:xfrm>
                <a:off x="13242434" y="4083685"/>
                <a:ext cx="2642282" cy="2642282"/>
              </a:xfrm>
              <a:prstGeom prst="ellipse">
                <a:avLst/>
              </a:prstGeom>
              <a:gradFill flip="none" rotWithShape="1">
                <a:gsLst>
                  <a:gs pos="100000">
                    <a:srgbClr val="FFFFFF"/>
                  </a:gs>
                  <a:gs pos="0">
                    <a:srgbClr val="B8BBBC"/>
                  </a:gs>
                </a:gsLst>
                <a:lin ang="18900000" scaled="1"/>
                <a:tileRect/>
              </a:gradFill>
              <a:ln>
                <a:noFill/>
              </a:ln>
              <a:effectLst>
                <a:outerShdw blurRad="1524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2"/>
                  </a:solidFill>
                </a:endParaRPr>
              </a:p>
            </p:txBody>
          </p:sp>
          <p:sp>
            <p:nvSpPr>
              <p:cNvPr id="62" name="椭圆 69"/>
              <p:cNvSpPr>
                <a:spLocks noChangeArrowheads="1"/>
              </p:cNvSpPr>
              <p:nvPr/>
            </p:nvSpPr>
            <p:spPr bwMode="auto">
              <a:xfrm>
                <a:off x="13399325" y="4240576"/>
                <a:ext cx="2328502" cy="2328502"/>
              </a:xfrm>
              <a:prstGeom prst="ellipse">
                <a:avLst/>
              </a:prstGeom>
              <a:solidFill>
                <a:schemeClr val="tx2"/>
              </a:solidFill>
              <a:ln>
                <a:noFill/>
              </a:ln>
              <a:extLst>
                <a:ext uri="{91240B29-F687-4F45-9708-019B960494DF}">
                  <a14:hiddenLine xmlns:a14="http://schemas.microsoft.com/office/drawing/2010/main" xmlns="" w="2857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a:endParaRPr lang="zh-CN" altLang="en-US">
                  <a:solidFill>
                    <a:schemeClr val="tx2"/>
                  </a:solidFill>
                </a:endParaRPr>
              </a:p>
            </p:txBody>
          </p:sp>
          <p:sp>
            <p:nvSpPr>
              <p:cNvPr id="63" name="椭圆 62"/>
              <p:cNvSpPr/>
              <p:nvPr/>
            </p:nvSpPr>
            <p:spPr>
              <a:xfrm>
                <a:off x="13475990" y="4317243"/>
                <a:ext cx="2175164" cy="2175163"/>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2"/>
                  </a:solidFill>
                </a:endParaRPr>
              </a:p>
            </p:txBody>
          </p:sp>
        </p:grpSp>
        <p:sp>
          <p:nvSpPr>
            <p:cNvPr id="60" name="TextBox 76"/>
            <p:cNvSpPr txBox="1"/>
            <p:nvPr/>
          </p:nvSpPr>
          <p:spPr>
            <a:xfrm>
              <a:off x="3790353" y="1165389"/>
              <a:ext cx="943935" cy="709001"/>
            </a:xfrm>
            <a:prstGeom prst="rect">
              <a:avLst/>
            </a:prstGeom>
            <a:noFill/>
          </p:spPr>
          <p:txBody>
            <a:bodyPr wrap="square" rtlCol="0">
              <a:spAutoFit/>
            </a:bodyPr>
            <a:lstStyle/>
            <a:p>
              <a:pPr algn="ctr"/>
              <a:r>
                <a:rPr lang="en-US" altLang="zh-CN" sz="4800" dirty="0" smtClean="0">
                  <a:solidFill>
                    <a:schemeClr val="tx2"/>
                  </a:solidFill>
                  <a:latin typeface="方正正大黑简体" panose="02000000000000000000" pitchFamily="2" charset="-122"/>
                  <a:ea typeface="方正正大黑简体" panose="02000000000000000000" pitchFamily="2" charset="-122"/>
                </a:rPr>
                <a:t>2</a:t>
              </a:r>
              <a:endParaRPr lang="zh-CN" altLang="en-US" sz="4800" dirty="0">
                <a:solidFill>
                  <a:schemeClr val="tx2"/>
                </a:solidFill>
                <a:latin typeface="方正正大黑简体" panose="02000000000000000000" pitchFamily="2" charset="-122"/>
                <a:ea typeface="方正正大黑简体" panose="02000000000000000000" pitchFamily="2" charset="-122"/>
              </a:endParaRPr>
            </a:p>
          </p:txBody>
        </p:sp>
      </p:grpSp>
      <p:sp>
        <p:nvSpPr>
          <p:cNvPr id="64" name="文本框 9"/>
          <p:cNvSpPr txBox="1"/>
          <p:nvPr/>
        </p:nvSpPr>
        <p:spPr>
          <a:xfrm>
            <a:off x="5657325" y="3618288"/>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5" name="文本框 9"/>
          <p:cNvSpPr txBox="1"/>
          <p:nvPr/>
        </p:nvSpPr>
        <p:spPr>
          <a:xfrm>
            <a:off x="5657323" y="405230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6" name="文本框 9"/>
          <p:cNvSpPr txBox="1"/>
          <p:nvPr/>
        </p:nvSpPr>
        <p:spPr>
          <a:xfrm>
            <a:off x="5657325" y="448692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7" name="文本框 9"/>
          <p:cNvSpPr txBox="1"/>
          <p:nvPr/>
        </p:nvSpPr>
        <p:spPr>
          <a:xfrm>
            <a:off x="7436465" y="3622633"/>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8" name="文本框 9"/>
          <p:cNvSpPr txBox="1"/>
          <p:nvPr/>
        </p:nvSpPr>
        <p:spPr>
          <a:xfrm>
            <a:off x="7436466" y="4057254"/>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9" name="文本框 9"/>
          <p:cNvSpPr txBox="1"/>
          <p:nvPr/>
        </p:nvSpPr>
        <p:spPr>
          <a:xfrm>
            <a:off x="7436465" y="448585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barn(outHorizontal)">
                                      <p:cBhvr>
                                        <p:cTn id="7" dur="500"/>
                                        <p:tgtEl>
                                          <p:spTgt spid="5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wipe(down)">
                                      <p:cBhvr>
                                        <p:cTn id="11" dur="500"/>
                                        <p:tgtEl>
                                          <p:spTgt spid="5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47"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anim calcmode="lin" valueType="num">
                                      <p:cBhvr>
                                        <p:cTn id="19" dur="500" fill="hold"/>
                                        <p:tgtEl>
                                          <p:spTgt spid="57"/>
                                        </p:tgtEl>
                                        <p:attrNameLst>
                                          <p:attrName>ppt_x</p:attrName>
                                        </p:attrNameLst>
                                      </p:cBhvr>
                                      <p:tavLst>
                                        <p:tav tm="0">
                                          <p:val>
                                            <p:strVal val="#ppt_x"/>
                                          </p:val>
                                        </p:tav>
                                        <p:tav tm="100000">
                                          <p:val>
                                            <p:strVal val="#ppt_x"/>
                                          </p:val>
                                        </p:tav>
                                      </p:tavLst>
                                    </p:anim>
                                    <p:anim calcmode="lin" valueType="num">
                                      <p:cBhvr>
                                        <p:cTn id="20" dur="500" fill="hold"/>
                                        <p:tgtEl>
                                          <p:spTgt spid="57"/>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12" presetClass="entr" presetSubtype="8" fill="hold" grpId="0" nodeType="afterEffect">
                                  <p:stCondLst>
                                    <p:cond delay="0"/>
                                  </p:stCondLst>
                                  <p:childTnLst>
                                    <p:set>
                                      <p:cBhvr>
                                        <p:cTn id="23" dur="1" fill="hold">
                                          <p:stCondLst>
                                            <p:cond delay="0"/>
                                          </p:stCondLst>
                                        </p:cTn>
                                        <p:tgtEl>
                                          <p:spTgt spid="55"/>
                                        </p:tgtEl>
                                        <p:attrNameLst>
                                          <p:attrName>style.visibility</p:attrName>
                                        </p:attrNameLst>
                                      </p:cBhvr>
                                      <p:to>
                                        <p:strVal val="visible"/>
                                      </p:to>
                                    </p:set>
                                    <p:anim calcmode="lin" valueType="num">
                                      <p:cBhvr additive="base">
                                        <p:cTn id="24" dur="500"/>
                                        <p:tgtEl>
                                          <p:spTgt spid="55"/>
                                        </p:tgtEl>
                                        <p:attrNameLst>
                                          <p:attrName>ppt_x</p:attrName>
                                        </p:attrNameLst>
                                      </p:cBhvr>
                                      <p:tavLst>
                                        <p:tav tm="0">
                                          <p:val>
                                            <p:strVal val="#ppt_x-#ppt_w*1.125000"/>
                                          </p:val>
                                        </p:tav>
                                        <p:tav tm="100000">
                                          <p:val>
                                            <p:strVal val="#ppt_x"/>
                                          </p:val>
                                        </p:tav>
                                      </p:tavLst>
                                    </p:anim>
                                    <p:animEffect transition="in" filter="wipe(right)">
                                      <p:cBhvr>
                                        <p:cTn id="25" dur="500"/>
                                        <p:tgtEl>
                                          <p:spTgt spid="55"/>
                                        </p:tgtEl>
                                      </p:cBhvr>
                                    </p:animEffect>
                                  </p:childTnLst>
                                </p:cTn>
                              </p:par>
                            </p:childTnLst>
                          </p:cTn>
                        </p:par>
                        <p:par>
                          <p:cTn id="26" fill="hold">
                            <p:stCondLst>
                              <p:cond delay="2000"/>
                            </p:stCondLst>
                            <p:childTnLst>
                              <p:par>
                                <p:cTn id="27" presetID="2" presetClass="entr" presetSubtype="4" fill="hold" grpId="0" nodeType="afterEffect">
                                  <p:stCondLst>
                                    <p:cond delay="0"/>
                                  </p:stCondLst>
                                  <p:childTnLst>
                                    <p:set>
                                      <p:cBhvr>
                                        <p:cTn id="28" dur="1" fill="hold">
                                          <p:stCondLst>
                                            <p:cond delay="0"/>
                                          </p:stCondLst>
                                        </p:cTn>
                                        <p:tgtEl>
                                          <p:spTgt spid="64"/>
                                        </p:tgtEl>
                                        <p:attrNameLst>
                                          <p:attrName>style.visibility</p:attrName>
                                        </p:attrNameLst>
                                      </p:cBhvr>
                                      <p:to>
                                        <p:strVal val="visible"/>
                                      </p:to>
                                    </p:set>
                                    <p:anim calcmode="lin" valueType="num">
                                      <p:cBhvr additive="base">
                                        <p:cTn id="29" dur="500" fill="hold"/>
                                        <p:tgtEl>
                                          <p:spTgt spid="64"/>
                                        </p:tgtEl>
                                        <p:attrNameLst>
                                          <p:attrName>ppt_x</p:attrName>
                                        </p:attrNameLst>
                                      </p:cBhvr>
                                      <p:tavLst>
                                        <p:tav tm="0">
                                          <p:val>
                                            <p:strVal val="#ppt_x"/>
                                          </p:val>
                                        </p:tav>
                                        <p:tav tm="100000">
                                          <p:val>
                                            <p:strVal val="#ppt_x"/>
                                          </p:val>
                                        </p:tav>
                                      </p:tavLst>
                                    </p:anim>
                                    <p:anim calcmode="lin" valueType="num">
                                      <p:cBhvr additive="base">
                                        <p:cTn id="30" dur="500" fill="hold"/>
                                        <p:tgtEl>
                                          <p:spTgt spid="64"/>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200"/>
                                  </p:stCondLst>
                                  <p:childTnLst>
                                    <p:set>
                                      <p:cBhvr>
                                        <p:cTn id="32" dur="1" fill="hold">
                                          <p:stCondLst>
                                            <p:cond delay="0"/>
                                          </p:stCondLst>
                                        </p:cTn>
                                        <p:tgtEl>
                                          <p:spTgt spid="65"/>
                                        </p:tgtEl>
                                        <p:attrNameLst>
                                          <p:attrName>style.visibility</p:attrName>
                                        </p:attrNameLst>
                                      </p:cBhvr>
                                      <p:to>
                                        <p:strVal val="visible"/>
                                      </p:to>
                                    </p:set>
                                    <p:anim calcmode="lin" valueType="num">
                                      <p:cBhvr additive="base">
                                        <p:cTn id="33" dur="500" fill="hold"/>
                                        <p:tgtEl>
                                          <p:spTgt spid="65"/>
                                        </p:tgtEl>
                                        <p:attrNameLst>
                                          <p:attrName>ppt_x</p:attrName>
                                        </p:attrNameLst>
                                      </p:cBhvr>
                                      <p:tavLst>
                                        <p:tav tm="0">
                                          <p:val>
                                            <p:strVal val="#ppt_x"/>
                                          </p:val>
                                        </p:tav>
                                        <p:tav tm="100000">
                                          <p:val>
                                            <p:strVal val="#ppt_x"/>
                                          </p:val>
                                        </p:tav>
                                      </p:tavLst>
                                    </p:anim>
                                    <p:anim calcmode="lin" valueType="num">
                                      <p:cBhvr additive="base">
                                        <p:cTn id="34" dur="500" fill="hold"/>
                                        <p:tgtEl>
                                          <p:spTgt spid="6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400"/>
                                  </p:stCondLst>
                                  <p:childTnLst>
                                    <p:set>
                                      <p:cBhvr>
                                        <p:cTn id="36" dur="1" fill="hold">
                                          <p:stCondLst>
                                            <p:cond delay="0"/>
                                          </p:stCondLst>
                                        </p:cTn>
                                        <p:tgtEl>
                                          <p:spTgt spid="66"/>
                                        </p:tgtEl>
                                        <p:attrNameLst>
                                          <p:attrName>style.visibility</p:attrName>
                                        </p:attrNameLst>
                                      </p:cBhvr>
                                      <p:to>
                                        <p:strVal val="visible"/>
                                      </p:to>
                                    </p:set>
                                    <p:anim calcmode="lin" valueType="num">
                                      <p:cBhvr additive="base">
                                        <p:cTn id="37" dur="500" fill="hold"/>
                                        <p:tgtEl>
                                          <p:spTgt spid="66"/>
                                        </p:tgtEl>
                                        <p:attrNameLst>
                                          <p:attrName>ppt_x</p:attrName>
                                        </p:attrNameLst>
                                      </p:cBhvr>
                                      <p:tavLst>
                                        <p:tav tm="0">
                                          <p:val>
                                            <p:strVal val="#ppt_x"/>
                                          </p:val>
                                        </p:tav>
                                        <p:tav tm="100000">
                                          <p:val>
                                            <p:strVal val="#ppt_x"/>
                                          </p:val>
                                        </p:tav>
                                      </p:tavLst>
                                    </p:anim>
                                    <p:anim calcmode="lin" valueType="num">
                                      <p:cBhvr additive="base">
                                        <p:cTn id="38" dur="500" fill="hold"/>
                                        <p:tgtEl>
                                          <p:spTgt spid="66"/>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200"/>
                                  </p:stCondLst>
                                  <p:childTnLst>
                                    <p:set>
                                      <p:cBhvr>
                                        <p:cTn id="40" dur="1" fill="hold">
                                          <p:stCondLst>
                                            <p:cond delay="0"/>
                                          </p:stCondLst>
                                        </p:cTn>
                                        <p:tgtEl>
                                          <p:spTgt spid="67"/>
                                        </p:tgtEl>
                                        <p:attrNameLst>
                                          <p:attrName>style.visibility</p:attrName>
                                        </p:attrNameLst>
                                      </p:cBhvr>
                                      <p:to>
                                        <p:strVal val="visible"/>
                                      </p:to>
                                    </p:set>
                                    <p:anim calcmode="lin" valueType="num">
                                      <p:cBhvr additive="base">
                                        <p:cTn id="41" dur="500" fill="hold"/>
                                        <p:tgtEl>
                                          <p:spTgt spid="67"/>
                                        </p:tgtEl>
                                        <p:attrNameLst>
                                          <p:attrName>ppt_x</p:attrName>
                                        </p:attrNameLst>
                                      </p:cBhvr>
                                      <p:tavLst>
                                        <p:tav tm="0">
                                          <p:val>
                                            <p:strVal val="#ppt_x"/>
                                          </p:val>
                                        </p:tav>
                                        <p:tav tm="100000">
                                          <p:val>
                                            <p:strVal val="#ppt_x"/>
                                          </p:val>
                                        </p:tav>
                                      </p:tavLst>
                                    </p:anim>
                                    <p:anim calcmode="lin" valueType="num">
                                      <p:cBhvr additive="base">
                                        <p:cTn id="42" dur="500" fill="hold"/>
                                        <p:tgtEl>
                                          <p:spTgt spid="67"/>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400"/>
                                  </p:stCondLst>
                                  <p:childTnLst>
                                    <p:set>
                                      <p:cBhvr>
                                        <p:cTn id="44" dur="1" fill="hold">
                                          <p:stCondLst>
                                            <p:cond delay="0"/>
                                          </p:stCondLst>
                                        </p:cTn>
                                        <p:tgtEl>
                                          <p:spTgt spid="68"/>
                                        </p:tgtEl>
                                        <p:attrNameLst>
                                          <p:attrName>style.visibility</p:attrName>
                                        </p:attrNameLst>
                                      </p:cBhvr>
                                      <p:to>
                                        <p:strVal val="visible"/>
                                      </p:to>
                                    </p:set>
                                    <p:anim calcmode="lin" valueType="num">
                                      <p:cBhvr additive="base">
                                        <p:cTn id="45" dur="500" fill="hold"/>
                                        <p:tgtEl>
                                          <p:spTgt spid="68"/>
                                        </p:tgtEl>
                                        <p:attrNameLst>
                                          <p:attrName>ppt_x</p:attrName>
                                        </p:attrNameLst>
                                      </p:cBhvr>
                                      <p:tavLst>
                                        <p:tav tm="0">
                                          <p:val>
                                            <p:strVal val="#ppt_x"/>
                                          </p:val>
                                        </p:tav>
                                        <p:tav tm="100000">
                                          <p:val>
                                            <p:strVal val="#ppt_x"/>
                                          </p:val>
                                        </p:tav>
                                      </p:tavLst>
                                    </p:anim>
                                    <p:anim calcmode="lin" valueType="num">
                                      <p:cBhvr additive="base">
                                        <p:cTn id="46" dur="500" fill="hold"/>
                                        <p:tgtEl>
                                          <p:spTgt spid="6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600"/>
                                  </p:stCondLst>
                                  <p:childTnLst>
                                    <p:set>
                                      <p:cBhvr>
                                        <p:cTn id="48" dur="1" fill="hold">
                                          <p:stCondLst>
                                            <p:cond delay="0"/>
                                          </p:stCondLst>
                                        </p:cTn>
                                        <p:tgtEl>
                                          <p:spTgt spid="69"/>
                                        </p:tgtEl>
                                        <p:attrNameLst>
                                          <p:attrName>style.visibility</p:attrName>
                                        </p:attrNameLst>
                                      </p:cBhvr>
                                      <p:to>
                                        <p:strVal val="visible"/>
                                      </p:to>
                                    </p:set>
                                    <p:anim calcmode="lin" valueType="num">
                                      <p:cBhvr additive="base">
                                        <p:cTn id="49" dur="500" fill="hold"/>
                                        <p:tgtEl>
                                          <p:spTgt spid="69"/>
                                        </p:tgtEl>
                                        <p:attrNameLst>
                                          <p:attrName>ppt_x</p:attrName>
                                        </p:attrNameLst>
                                      </p:cBhvr>
                                      <p:tavLst>
                                        <p:tav tm="0">
                                          <p:val>
                                            <p:strVal val="#ppt_x"/>
                                          </p:val>
                                        </p:tav>
                                        <p:tav tm="100000">
                                          <p:val>
                                            <p:strVal val="#ppt_x"/>
                                          </p:val>
                                        </p:tav>
                                      </p:tavLst>
                                    </p:anim>
                                    <p:anim calcmode="lin" valueType="num">
                                      <p:cBhvr additive="base">
                                        <p:cTn id="5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p:bldP spid="57" grpId="0"/>
      <p:bldP spid="64" grpId="0"/>
      <p:bldP spid="65" grpId="0"/>
      <p:bldP spid="66" grpId="0"/>
      <p:bldP spid="67" grpId="0"/>
      <p:bldP spid="68" grpId="0"/>
      <p:bldP spid="6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p:cNvSpPr txBox="1"/>
          <p:nvPr/>
        </p:nvSpPr>
        <p:spPr>
          <a:xfrm>
            <a:off x="1320389" y="5118806"/>
            <a:ext cx="1630577" cy="492443"/>
          </a:xfrm>
          <a:prstGeom prst="rect">
            <a:avLst/>
          </a:prstGeom>
          <a:noFill/>
        </p:spPr>
        <p:txBody>
          <a:bodyPr wrap="none" lIns="0" tIns="0" rIns="0" bIns="0" rtlCol="0">
            <a:spAutoFit/>
          </a:bodyPr>
          <a:lstStyle/>
          <a:p>
            <a:pPr algn="ctr"/>
            <a:r>
              <a:rPr lang="en-US" sz="3200" b="1" dirty="0">
                <a:solidFill>
                  <a:schemeClr val="tx2">
                    <a:lumMod val="75000"/>
                  </a:schemeClr>
                </a:solidFill>
                <a:latin typeface="+mn-ea"/>
              </a:rPr>
              <a:t>122,584</a:t>
            </a:r>
          </a:p>
        </p:txBody>
      </p:sp>
      <p:grpSp>
        <p:nvGrpSpPr>
          <p:cNvPr id="130" name="Group 129"/>
          <p:cNvGrpSpPr/>
          <p:nvPr/>
        </p:nvGrpSpPr>
        <p:grpSpPr>
          <a:xfrm>
            <a:off x="1027246" y="1843098"/>
            <a:ext cx="2216865" cy="1222548"/>
            <a:chOff x="892889" y="1324716"/>
            <a:chExt cx="1662865" cy="916911"/>
          </a:xfrm>
        </p:grpSpPr>
        <p:sp>
          <p:nvSpPr>
            <p:cNvPr id="44" name="Rectangular Callout 43"/>
            <p:cNvSpPr/>
            <p:nvPr/>
          </p:nvSpPr>
          <p:spPr>
            <a:xfrm>
              <a:off x="892889" y="1362002"/>
              <a:ext cx="1662865" cy="864105"/>
            </a:xfrm>
            <a:prstGeom prst="wedgeRectCallout">
              <a:avLst>
                <a:gd name="adj1" fmla="val -31515"/>
                <a:gd name="adj2" fmla="val 92483"/>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nvGrpSpPr>
            <p:cNvPr id="89" name="Group 88"/>
            <p:cNvGrpSpPr/>
            <p:nvPr/>
          </p:nvGrpSpPr>
          <p:grpSpPr>
            <a:xfrm>
              <a:off x="1291169" y="1324716"/>
              <a:ext cx="866304" cy="916911"/>
              <a:chOff x="1205286" y="1362002"/>
              <a:chExt cx="866304" cy="916911"/>
            </a:xfrm>
          </p:grpSpPr>
          <p:graphicFrame>
            <p:nvGraphicFramePr>
              <p:cNvPr id="60" name="Chart 59"/>
              <p:cNvGraphicFramePr/>
              <p:nvPr/>
            </p:nvGraphicFramePr>
            <p:xfrm>
              <a:off x="1205286" y="1362002"/>
              <a:ext cx="866304" cy="916911"/>
            </p:xfrm>
            <a:graphic>
              <a:graphicData uri="http://schemas.openxmlformats.org/drawingml/2006/chart">
                <c:chart xmlns:c="http://schemas.openxmlformats.org/drawingml/2006/chart" xmlns:r="http://schemas.openxmlformats.org/officeDocument/2006/relationships" r:id="rId3"/>
              </a:graphicData>
            </a:graphic>
          </p:graphicFrame>
          <p:sp>
            <p:nvSpPr>
              <p:cNvPr id="64" name="TextBox 63"/>
              <p:cNvSpPr txBox="1"/>
              <p:nvPr/>
            </p:nvSpPr>
            <p:spPr>
              <a:xfrm>
                <a:off x="1459194" y="1732488"/>
                <a:ext cx="358489" cy="184666"/>
              </a:xfrm>
              <a:prstGeom prst="rect">
                <a:avLst/>
              </a:prstGeom>
              <a:noFill/>
            </p:spPr>
            <p:txBody>
              <a:bodyPr wrap="square" lIns="0" tIns="0" rIns="0" bIns="0" rtlCol="0">
                <a:spAutoFit/>
              </a:bodyPr>
              <a:lstStyle/>
              <a:p>
                <a:pPr algn="ctr"/>
                <a:r>
                  <a:rPr lang="en-US" sz="1600" b="1" dirty="0">
                    <a:solidFill>
                      <a:schemeClr val="bg1"/>
                    </a:solidFill>
                    <a:latin typeface="+mn-ea"/>
                  </a:rPr>
                  <a:t>50%</a:t>
                </a:r>
              </a:p>
            </p:txBody>
          </p:sp>
        </p:grpSp>
      </p:grpSp>
      <p:grpSp>
        <p:nvGrpSpPr>
          <p:cNvPr id="131" name="Group 130"/>
          <p:cNvGrpSpPr/>
          <p:nvPr/>
        </p:nvGrpSpPr>
        <p:grpSpPr>
          <a:xfrm>
            <a:off x="1214084" y="3582619"/>
            <a:ext cx="1843184" cy="1376056"/>
            <a:chOff x="1000366" y="2629357"/>
            <a:chExt cx="1382568" cy="1032042"/>
          </a:xfrm>
        </p:grpSpPr>
        <p:grpSp>
          <p:nvGrpSpPr>
            <p:cNvPr id="62" name="Group 179"/>
            <p:cNvGrpSpPr/>
            <p:nvPr/>
          </p:nvGrpSpPr>
          <p:grpSpPr>
            <a:xfrm>
              <a:off x="1000366" y="2629357"/>
              <a:ext cx="403249" cy="1032042"/>
              <a:chOff x="5054600" y="1652588"/>
              <a:chExt cx="187325" cy="479424"/>
            </a:xfrm>
            <a:solidFill>
              <a:schemeClr val="tx2">
                <a:lumMod val="75000"/>
              </a:schemeClr>
            </a:solidFill>
          </p:grpSpPr>
          <p:sp>
            <p:nvSpPr>
              <p:cNvPr id="66" name="Freeform 96"/>
              <p:cNvSpPr/>
              <p:nvPr/>
            </p:nvSpPr>
            <p:spPr bwMode="auto">
              <a:xfrm>
                <a:off x="5054600" y="1733550"/>
                <a:ext cx="187325" cy="398462"/>
              </a:xfrm>
              <a:custGeom>
                <a:avLst/>
                <a:gdLst/>
                <a:ahLst/>
                <a:cxnLst>
                  <a:cxn ang="0">
                    <a:pos x="55" y="1"/>
                  </a:cxn>
                  <a:cxn ang="0">
                    <a:pos x="19" y="0"/>
                  </a:cxn>
                  <a:cxn ang="0">
                    <a:pos x="0" y="16"/>
                  </a:cxn>
                  <a:cxn ang="0">
                    <a:pos x="0" y="16"/>
                  </a:cxn>
                  <a:cxn ang="0">
                    <a:pos x="0" y="18"/>
                  </a:cxn>
                  <a:cxn ang="0">
                    <a:pos x="0" y="69"/>
                  </a:cxn>
                  <a:cxn ang="0">
                    <a:pos x="6" y="75"/>
                  </a:cxn>
                  <a:cxn ang="0">
                    <a:pos x="12" y="69"/>
                  </a:cxn>
                  <a:cxn ang="0">
                    <a:pos x="12" y="25"/>
                  </a:cxn>
                  <a:cxn ang="0">
                    <a:pos x="18" y="25"/>
                  </a:cxn>
                  <a:cxn ang="0">
                    <a:pos x="18" y="68"/>
                  </a:cxn>
                  <a:cxn ang="0">
                    <a:pos x="18" y="69"/>
                  </a:cxn>
                  <a:cxn ang="0">
                    <a:pos x="18" y="145"/>
                  </a:cxn>
                  <a:cxn ang="0">
                    <a:pos x="26" y="153"/>
                  </a:cxn>
                  <a:cxn ang="0">
                    <a:pos x="34" y="145"/>
                  </a:cxn>
                  <a:cxn ang="0">
                    <a:pos x="34" y="78"/>
                  </a:cxn>
                  <a:cxn ang="0">
                    <a:pos x="39" y="78"/>
                  </a:cxn>
                  <a:cxn ang="0">
                    <a:pos x="39" y="145"/>
                  </a:cxn>
                  <a:cxn ang="0">
                    <a:pos x="47" y="153"/>
                  </a:cxn>
                  <a:cxn ang="0">
                    <a:pos x="55" y="145"/>
                  </a:cxn>
                  <a:cxn ang="0">
                    <a:pos x="55" y="68"/>
                  </a:cxn>
                  <a:cxn ang="0">
                    <a:pos x="55" y="67"/>
                  </a:cxn>
                  <a:cxn ang="0">
                    <a:pos x="55" y="25"/>
                  </a:cxn>
                  <a:cxn ang="0">
                    <a:pos x="60" y="25"/>
                  </a:cxn>
                  <a:cxn ang="0">
                    <a:pos x="60" y="69"/>
                  </a:cxn>
                  <a:cxn ang="0">
                    <a:pos x="66" y="75"/>
                  </a:cxn>
                  <a:cxn ang="0">
                    <a:pos x="73" y="69"/>
                  </a:cxn>
                  <a:cxn ang="0">
                    <a:pos x="73" y="18"/>
                  </a:cxn>
                  <a:cxn ang="0">
                    <a:pos x="73" y="16"/>
                  </a:cxn>
                  <a:cxn ang="0">
                    <a:pos x="73" y="15"/>
                  </a:cxn>
                  <a:cxn ang="0">
                    <a:pos x="55" y="1"/>
                  </a:cxn>
                </a:cxnLst>
                <a:rect l="0" t="0" r="r" b="b"/>
                <a:pathLst>
                  <a:path w="73" h="153">
                    <a:moveTo>
                      <a:pt x="55" y="1"/>
                    </a:moveTo>
                    <a:cubicBezTo>
                      <a:pt x="19" y="0"/>
                      <a:pt x="19" y="0"/>
                      <a:pt x="19" y="0"/>
                    </a:cubicBezTo>
                    <a:cubicBezTo>
                      <a:pt x="5" y="1"/>
                      <a:pt x="0" y="12"/>
                      <a:pt x="0" y="16"/>
                    </a:cubicBezTo>
                    <a:cubicBezTo>
                      <a:pt x="0" y="16"/>
                      <a:pt x="0" y="16"/>
                      <a:pt x="0" y="16"/>
                    </a:cubicBezTo>
                    <a:cubicBezTo>
                      <a:pt x="0" y="18"/>
                      <a:pt x="0" y="18"/>
                      <a:pt x="0" y="18"/>
                    </a:cubicBezTo>
                    <a:cubicBezTo>
                      <a:pt x="0" y="69"/>
                      <a:pt x="0" y="69"/>
                      <a:pt x="0" y="69"/>
                    </a:cubicBezTo>
                    <a:cubicBezTo>
                      <a:pt x="0" y="73"/>
                      <a:pt x="3" y="75"/>
                      <a:pt x="6" y="75"/>
                    </a:cubicBezTo>
                    <a:cubicBezTo>
                      <a:pt x="10" y="75"/>
                      <a:pt x="12" y="73"/>
                      <a:pt x="12" y="69"/>
                    </a:cubicBezTo>
                    <a:cubicBezTo>
                      <a:pt x="12" y="25"/>
                      <a:pt x="12" y="25"/>
                      <a:pt x="12" y="25"/>
                    </a:cubicBezTo>
                    <a:cubicBezTo>
                      <a:pt x="18" y="25"/>
                      <a:pt x="18" y="25"/>
                      <a:pt x="18" y="25"/>
                    </a:cubicBezTo>
                    <a:cubicBezTo>
                      <a:pt x="18" y="68"/>
                      <a:pt x="18" y="68"/>
                      <a:pt x="18" y="68"/>
                    </a:cubicBezTo>
                    <a:cubicBezTo>
                      <a:pt x="18" y="68"/>
                      <a:pt x="18" y="69"/>
                      <a:pt x="18" y="69"/>
                    </a:cubicBezTo>
                    <a:cubicBezTo>
                      <a:pt x="18" y="145"/>
                      <a:pt x="18" y="145"/>
                      <a:pt x="18" y="145"/>
                    </a:cubicBezTo>
                    <a:cubicBezTo>
                      <a:pt x="18" y="150"/>
                      <a:pt x="21" y="153"/>
                      <a:pt x="26" y="153"/>
                    </a:cubicBezTo>
                    <a:cubicBezTo>
                      <a:pt x="31" y="153"/>
                      <a:pt x="34" y="150"/>
                      <a:pt x="34" y="145"/>
                    </a:cubicBezTo>
                    <a:cubicBezTo>
                      <a:pt x="34" y="78"/>
                      <a:pt x="34" y="78"/>
                      <a:pt x="34" y="78"/>
                    </a:cubicBezTo>
                    <a:cubicBezTo>
                      <a:pt x="39" y="78"/>
                      <a:pt x="39" y="78"/>
                      <a:pt x="39" y="78"/>
                    </a:cubicBezTo>
                    <a:cubicBezTo>
                      <a:pt x="39" y="145"/>
                      <a:pt x="39" y="145"/>
                      <a:pt x="39" y="145"/>
                    </a:cubicBezTo>
                    <a:cubicBezTo>
                      <a:pt x="39" y="150"/>
                      <a:pt x="42" y="153"/>
                      <a:pt x="47" y="153"/>
                    </a:cubicBezTo>
                    <a:cubicBezTo>
                      <a:pt x="52" y="153"/>
                      <a:pt x="55" y="150"/>
                      <a:pt x="55" y="145"/>
                    </a:cubicBezTo>
                    <a:cubicBezTo>
                      <a:pt x="55" y="68"/>
                      <a:pt x="55" y="68"/>
                      <a:pt x="55" y="68"/>
                    </a:cubicBezTo>
                    <a:cubicBezTo>
                      <a:pt x="55" y="67"/>
                      <a:pt x="55" y="67"/>
                      <a:pt x="55" y="67"/>
                    </a:cubicBezTo>
                    <a:cubicBezTo>
                      <a:pt x="55" y="25"/>
                      <a:pt x="55" y="25"/>
                      <a:pt x="55" y="25"/>
                    </a:cubicBezTo>
                    <a:cubicBezTo>
                      <a:pt x="60" y="25"/>
                      <a:pt x="60" y="25"/>
                      <a:pt x="60" y="25"/>
                    </a:cubicBezTo>
                    <a:cubicBezTo>
                      <a:pt x="60" y="69"/>
                      <a:pt x="60" y="69"/>
                      <a:pt x="60" y="69"/>
                    </a:cubicBezTo>
                    <a:cubicBezTo>
                      <a:pt x="60" y="73"/>
                      <a:pt x="63" y="75"/>
                      <a:pt x="66" y="75"/>
                    </a:cubicBezTo>
                    <a:cubicBezTo>
                      <a:pt x="70" y="75"/>
                      <a:pt x="73" y="73"/>
                      <a:pt x="73" y="69"/>
                    </a:cubicBezTo>
                    <a:cubicBezTo>
                      <a:pt x="73" y="18"/>
                      <a:pt x="73" y="18"/>
                      <a:pt x="73" y="18"/>
                    </a:cubicBezTo>
                    <a:cubicBezTo>
                      <a:pt x="73" y="16"/>
                      <a:pt x="73" y="16"/>
                      <a:pt x="73" y="16"/>
                    </a:cubicBezTo>
                    <a:cubicBezTo>
                      <a:pt x="73" y="15"/>
                      <a:pt x="73" y="15"/>
                      <a:pt x="73" y="15"/>
                    </a:cubicBezTo>
                    <a:cubicBezTo>
                      <a:pt x="73" y="10"/>
                      <a:pt x="67" y="1"/>
                      <a:pt x="55" y="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67" name="Oval 97"/>
              <p:cNvSpPr>
                <a:spLocks noChangeArrowheads="1"/>
              </p:cNvSpPr>
              <p:nvPr/>
            </p:nvSpPr>
            <p:spPr bwMode="auto">
              <a:xfrm>
                <a:off x="5110163" y="1652588"/>
                <a:ext cx="74613" cy="76200"/>
              </a:xfrm>
              <a:prstGeom prst="ellipse">
                <a:avLst/>
              </a:prstGeom>
              <a:grpFill/>
              <a:ln w="9525">
                <a:noFill/>
                <a:round/>
              </a:ln>
            </p:spPr>
            <p:txBody>
              <a:bodyPr vert="horz" wrap="square" lIns="91440" tIns="45720" rIns="91440" bIns="45720" numCol="1" anchor="t" anchorCtr="0" compatLnSpc="1"/>
              <a:lstStyle/>
              <a:p>
                <a:endParaRPr lang="en-US">
                  <a:latin typeface="+mn-ea"/>
                </a:endParaRPr>
              </a:p>
            </p:txBody>
          </p:sp>
        </p:grpSp>
        <p:grpSp>
          <p:nvGrpSpPr>
            <p:cNvPr id="68" name="Group 179"/>
            <p:cNvGrpSpPr/>
            <p:nvPr/>
          </p:nvGrpSpPr>
          <p:grpSpPr>
            <a:xfrm>
              <a:off x="1490025" y="2629357"/>
              <a:ext cx="403249" cy="1032042"/>
              <a:chOff x="5054600" y="1652588"/>
              <a:chExt cx="187325" cy="479424"/>
            </a:xfrm>
            <a:solidFill>
              <a:schemeClr val="tx2">
                <a:lumMod val="75000"/>
              </a:schemeClr>
            </a:solidFill>
          </p:grpSpPr>
          <p:sp>
            <p:nvSpPr>
              <p:cNvPr id="80" name="Freeform 96"/>
              <p:cNvSpPr/>
              <p:nvPr/>
            </p:nvSpPr>
            <p:spPr bwMode="auto">
              <a:xfrm>
                <a:off x="5054600" y="1733550"/>
                <a:ext cx="187325" cy="398462"/>
              </a:xfrm>
              <a:custGeom>
                <a:avLst/>
                <a:gdLst/>
                <a:ahLst/>
                <a:cxnLst>
                  <a:cxn ang="0">
                    <a:pos x="55" y="1"/>
                  </a:cxn>
                  <a:cxn ang="0">
                    <a:pos x="19" y="0"/>
                  </a:cxn>
                  <a:cxn ang="0">
                    <a:pos x="0" y="16"/>
                  </a:cxn>
                  <a:cxn ang="0">
                    <a:pos x="0" y="16"/>
                  </a:cxn>
                  <a:cxn ang="0">
                    <a:pos x="0" y="18"/>
                  </a:cxn>
                  <a:cxn ang="0">
                    <a:pos x="0" y="69"/>
                  </a:cxn>
                  <a:cxn ang="0">
                    <a:pos x="6" y="75"/>
                  </a:cxn>
                  <a:cxn ang="0">
                    <a:pos x="12" y="69"/>
                  </a:cxn>
                  <a:cxn ang="0">
                    <a:pos x="12" y="25"/>
                  </a:cxn>
                  <a:cxn ang="0">
                    <a:pos x="18" y="25"/>
                  </a:cxn>
                  <a:cxn ang="0">
                    <a:pos x="18" y="68"/>
                  </a:cxn>
                  <a:cxn ang="0">
                    <a:pos x="18" y="69"/>
                  </a:cxn>
                  <a:cxn ang="0">
                    <a:pos x="18" y="145"/>
                  </a:cxn>
                  <a:cxn ang="0">
                    <a:pos x="26" y="153"/>
                  </a:cxn>
                  <a:cxn ang="0">
                    <a:pos x="34" y="145"/>
                  </a:cxn>
                  <a:cxn ang="0">
                    <a:pos x="34" y="78"/>
                  </a:cxn>
                  <a:cxn ang="0">
                    <a:pos x="39" y="78"/>
                  </a:cxn>
                  <a:cxn ang="0">
                    <a:pos x="39" y="145"/>
                  </a:cxn>
                  <a:cxn ang="0">
                    <a:pos x="47" y="153"/>
                  </a:cxn>
                  <a:cxn ang="0">
                    <a:pos x="55" y="145"/>
                  </a:cxn>
                  <a:cxn ang="0">
                    <a:pos x="55" y="68"/>
                  </a:cxn>
                  <a:cxn ang="0">
                    <a:pos x="55" y="67"/>
                  </a:cxn>
                  <a:cxn ang="0">
                    <a:pos x="55" y="25"/>
                  </a:cxn>
                  <a:cxn ang="0">
                    <a:pos x="60" y="25"/>
                  </a:cxn>
                  <a:cxn ang="0">
                    <a:pos x="60" y="69"/>
                  </a:cxn>
                  <a:cxn ang="0">
                    <a:pos x="66" y="75"/>
                  </a:cxn>
                  <a:cxn ang="0">
                    <a:pos x="73" y="69"/>
                  </a:cxn>
                  <a:cxn ang="0">
                    <a:pos x="73" y="18"/>
                  </a:cxn>
                  <a:cxn ang="0">
                    <a:pos x="73" y="16"/>
                  </a:cxn>
                  <a:cxn ang="0">
                    <a:pos x="73" y="15"/>
                  </a:cxn>
                  <a:cxn ang="0">
                    <a:pos x="55" y="1"/>
                  </a:cxn>
                </a:cxnLst>
                <a:rect l="0" t="0" r="r" b="b"/>
                <a:pathLst>
                  <a:path w="73" h="153">
                    <a:moveTo>
                      <a:pt x="55" y="1"/>
                    </a:moveTo>
                    <a:cubicBezTo>
                      <a:pt x="19" y="0"/>
                      <a:pt x="19" y="0"/>
                      <a:pt x="19" y="0"/>
                    </a:cubicBezTo>
                    <a:cubicBezTo>
                      <a:pt x="5" y="1"/>
                      <a:pt x="0" y="12"/>
                      <a:pt x="0" y="16"/>
                    </a:cubicBezTo>
                    <a:cubicBezTo>
                      <a:pt x="0" y="16"/>
                      <a:pt x="0" y="16"/>
                      <a:pt x="0" y="16"/>
                    </a:cubicBezTo>
                    <a:cubicBezTo>
                      <a:pt x="0" y="18"/>
                      <a:pt x="0" y="18"/>
                      <a:pt x="0" y="18"/>
                    </a:cubicBezTo>
                    <a:cubicBezTo>
                      <a:pt x="0" y="69"/>
                      <a:pt x="0" y="69"/>
                      <a:pt x="0" y="69"/>
                    </a:cubicBezTo>
                    <a:cubicBezTo>
                      <a:pt x="0" y="73"/>
                      <a:pt x="3" y="75"/>
                      <a:pt x="6" y="75"/>
                    </a:cubicBezTo>
                    <a:cubicBezTo>
                      <a:pt x="10" y="75"/>
                      <a:pt x="12" y="73"/>
                      <a:pt x="12" y="69"/>
                    </a:cubicBezTo>
                    <a:cubicBezTo>
                      <a:pt x="12" y="25"/>
                      <a:pt x="12" y="25"/>
                      <a:pt x="12" y="25"/>
                    </a:cubicBezTo>
                    <a:cubicBezTo>
                      <a:pt x="18" y="25"/>
                      <a:pt x="18" y="25"/>
                      <a:pt x="18" y="25"/>
                    </a:cubicBezTo>
                    <a:cubicBezTo>
                      <a:pt x="18" y="68"/>
                      <a:pt x="18" y="68"/>
                      <a:pt x="18" y="68"/>
                    </a:cubicBezTo>
                    <a:cubicBezTo>
                      <a:pt x="18" y="68"/>
                      <a:pt x="18" y="69"/>
                      <a:pt x="18" y="69"/>
                    </a:cubicBezTo>
                    <a:cubicBezTo>
                      <a:pt x="18" y="145"/>
                      <a:pt x="18" y="145"/>
                      <a:pt x="18" y="145"/>
                    </a:cubicBezTo>
                    <a:cubicBezTo>
                      <a:pt x="18" y="150"/>
                      <a:pt x="21" y="153"/>
                      <a:pt x="26" y="153"/>
                    </a:cubicBezTo>
                    <a:cubicBezTo>
                      <a:pt x="31" y="153"/>
                      <a:pt x="34" y="150"/>
                      <a:pt x="34" y="145"/>
                    </a:cubicBezTo>
                    <a:cubicBezTo>
                      <a:pt x="34" y="78"/>
                      <a:pt x="34" y="78"/>
                      <a:pt x="34" y="78"/>
                    </a:cubicBezTo>
                    <a:cubicBezTo>
                      <a:pt x="39" y="78"/>
                      <a:pt x="39" y="78"/>
                      <a:pt x="39" y="78"/>
                    </a:cubicBezTo>
                    <a:cubicBezTo>
                      <a:pt x="39" y="145"/>
                      <a:pt x="39" y="145"/>
                      <a:pt x="39" y="145"/>
                    </a:cubicBezTo>
                    <a:cubicBezTo>
                      <a:pt x="39" y="150"/>
                      <a:pt x="42" y="153"/>
                      <a:pt x="47" y="153"/>
                    </a:cubicBezTo>
                    <a:cubicBezTo>
                      <a:pt x="52" y="153"/>
                      <a:pt x="55" y="150"/>
                      <a:pt x="55" y="145"/>
                    </a:cubicBezTo>
                    <a:cubicBezTo>
                      <a:pt x="55" y="68"/>
                      <a:pt x="55" y="68"/>
                      <a:pt x="55" y="68"/>
                    </a:cubicBezTo>
                    <a:cubicBezTo>
                      <a:pt x="55" y="67"/>
                      <a:pt x="55" y="67"/>
                      <a:pt x="55" y="67"/>
                    </a:cubicBezTo>
                    <a:cubicBezTo>
                      <a:pt x="55" y="25"/>
                      <a:pt x="55" y="25"/>
                      <a:pt x="55" y="25"/>
                    </a:cubicBezTo>
                    <a:cubicBezTo>
                      <a:pt x="60" y="25"/>
                      <a:pt x="60" y="25"/>
                      <a:pt x="60" y="25"/>
                    </a:cubicBezTo>
                    <a:cubicBezTo>
                      <a:pt x="60" y="69"/>
                      <a:pt x="60" y="69"/>
                      <a:pt x="60" y="69"/>
                    </a:cubicBezTo>
                    <a:cubicBezTo>
                      <a:pt x="60" y="73"/>
                      <a:pt x="63" y="75"/>
                      <a:pt x="66" y="75"/>
                    </a:cubicBezTo>
                    <a:cubicBezTo>
                      <a:pt x="70" y="75"/>
                      <a:pt x="73" y="73"/>
                      <a:pt x="73" y="69"/>
                    </a:cubicBezTo>
                    <a:cubicBezTo>
                      <a:pt x="73" y="18"/>
                      <a:pt x="73" y="18"/>
                      <a:pt x="73" y="18"/>
                    </a:cubicBezTo>
                    <a:cubicBezTo>
                      <a:pt x="73" y="16"/>
                      <a:pt x="73" y="16"/>
                      <a:pt x="73" y="16"/>
                    </a:cubicBezTo>
                    <a:cubicBezTo>
                      <a:pt x="73" y="15"/>
                      <a:pt x="73" y="15"/>
                      <a:pt x="73" y="15"/>
                    </a:cubicBezTo>
                    <a:cubicBezTo>
                      <a:pt x="73" y="10"/>
                      <a:pt x="67" y="1"/>
                      <a:pt x="55" y="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81" name="Oval 97"/>
              <p:cNvSpPr>
                <a:spLocks noChangeArrowheads="1"/>
              </p:cNvSpPr>
              <p:nvPr/>
            </p:nvSpPr>
            <p:spPr bwMode="auto">
              <a:xfrm>
                <a:off x="5110163" y="1652588"/>
                <a:ext cx="74613" cy="76200"/>
              </a:xfrm>
              <a:prstGeom prst="ellipse">
                <a:avLst/>
              </a:prstGeom>
              <a:grpFill/>
              <a:ln w="9525">
                <a:noFill/>
                <a:round/>
              </a:ln>
            </p:spPr>
            <p:txBody>
              <a:bodyPr vert="horz" wrap="square" lIns="91440" tIns="45720" rIns="91440" bIns="45720" numCol="1" anchor="t" anchorCtr="0" compatLnSpc="1"/>
              <a:lstStyle/>
              <a:p>
                <a:endParaRPr lang="en-US">
                  <a:latin typeface="+mn-ea"/>
                </a:endParaRPr>
              </a:p>
            </p:txBody>
          </p:sp>
        </p:grpSp>
        <p:grpSp>
          <p:nvGrpSpPr>
            <p:cNvPr id="82" name="Group 179"/>
            <p:cNvGrpSpPr/>
            <p:nvPr/>
          </p:nvGrpSpPr>
          <p:grpSpPr>
            <a:xfrm>
              <a:off x="1979685" y="2629357"/>
              <a:ext cx="403249" cy="1032042"/>
              <a:chOff x="5054600" y="1652588"/>
              <a:chExt cx="187325" cy="479424"/>
            </a:xfrm>
            <a:solidFill>
              <a:schemeClr val="tx2">
                <a:lumMod val="75000"/>
              </a:schemeClr>
            </a:solidFill>
          </p:grpSpPr>
          <p:sp>
            <p:nvSpPr>
              <p:cNvPr id="87" name="Freeform 96"/>
              <p:cNvSpPr/>
              <p:nvPr/>
            </p:nvSpPr>
            <p:spPr bwMode="auto">
              <a:xfrm>
                <a:off x="5054600" y="1733550"/>
                <a:ext cx="187325" cy="398462"/>
              </a:xfrm>
              <a:custGeom>
                <a:avLst/>
                <a:gdLst/>
                <a:ahLst/>
                <a:cxnLst>
                  <a:cxn ang="0">
                    <a:pos x="55" y="1"/>
                  </a:cxn>
                  <a:cxn ang="0">
                    <a:pos x="19" y="0"/>
                  </a:cxn>
                  <a:cxn ang="0">
                    <a:pos x="0" y="16"/>
                  </a:cxn>
                  <a:cxn ang="0">
                    <a:pos x="0" y="16"/>
                  </a:cxn>
                  <a:cxn ang="0">
                    <a:pos x="0" y="18"/>
                  </a:cxn>
                  <a:cxn ang="0">
                    <a:pos x="0" y="69"/>
                  </a:cxn>
                  <a:cxn ang="0">
                    <a:pos x="6" y="75"/>
                  </a:cxn>
                  <a:cxn ang="0">
                    <a:pos x="12" y="69"/>
                  </a:cxn>
                  <a:cxn ang="0">
                    <a:pos x="12" y="25"/>
                  </a:cxn>
                  <a:cxn ang="0">
                    <a:pos x="18" y="25"/>
                  </a:cxn>
                  <a:cxn ang="0">
                    <a:pos x="18" y="68"/>
                  </a:cxn>
                  <a:cxn ang="0">
                    <a:pos x="18" y="69"/>
                  </a:cxn>
                  <a:cxn ang="0">
                    <a:pos x="18" y="145"/>
                  </a:cxn>
                  <a:cxn ang="0">
                    <a:pos x="26" y="153"/>
                  </a:cxn>
                  <a:cxn ang="0">
                    <a:pos x="34" y="145"/>
                  </a:cxn>
                  <a:cxn ang="0">
                    <a:pos x="34" y="78"/>
                  </a:cxn>
                  <a:cxn ang="0">
                    <a:pos x="39" y="78"/>
                  </a:cxn>
                  <a:cxn ang="0">
                    <a:pos x="39" y="145"/>
                  </a:cxn>
                  <a:cxn ang="0">
                    <a:pos x="47" y="153"/>
                  </a:cxn>
                  <a:cxn ang="0">
                    <a:pos x="55" y="145"/>
                  </a:cxn>
                  <a:cxn ang="0">
                    <a:pos x="55" y="68"/>
                  </a:cxn>
                  <a:cxn ang="0">
                    <a:pos x="55" y="67"/>
                  </a:cxn>
                  <a:cxn ang="0">
                    <a:pos x="55" y="25"/>
                  </a:cxn>
                  <a:cxn ang="0">
                    <a:pos x="60" y="25"/>
                  </a:cxn>
                  <a:cxn ang="0">
                    <a:pos x="60" y="69"/>
                  </a:cxn>
                  <a:cxn ang="0">
                    <a:pos x="66" y="75"/>
                  </a:cxn>
                  <a:cxn ang="0">
                    <a:pos x="73" y="69"/>
                  </a:cxn>
                  <a:cxn ang="0">
                    <a:pos x="73" y="18"/>
                  </a:cxn>
                  <a:cxn ang="0">
                    <a:pos x="73" y="16"/>
                  </a:cxn>
                  <a:cxn ang="0">
                    <a:pos x="73" y="15"/>
                  </a:cxn>
                  <a:cxn ang="0">
                    <a:pos x="55" y="1"/>
                  </a:cxn>
                </a:cxnLst>
                <a:rect l="0" t="0" r="r" b="b"/>
                <a:pathLst>
                  <a:path w="73" h="153">
                    <a:moveTo>
                      <a:pt x="55" y="1"/>
                    </a:moveTo>
                    <a:cubicBezTo>
                      <a:pt x="19" y="0"/>
                      <a:pt x="19" y="0"/>
                      <a:pt x="19" y="0"/>
                    </a:cubicBezTo>
                    <a:cubicBezTo>
                      <a:pt x="5" y="1"/>
                      <a:pt x="0" y="12"/>
                      <a:pt x="0" y="16"/>
                    </a:cubicBezTo>
                    <a:cubicBezTo>
                      <a:pt x="0" y="16"/>
                      <a:pt x="0" y="16"/>
                      <a:pt x="0" y="16"/>
                    </a:cubicBezTo>
                    <a:cubicBezTo>
                      <a:pt x="0" y="18"/>
                      <a:pt x="0" y="18"/>
                      <a:pt x="0" y="18"/>
                    </a:cubicBezTo>
                    <a:cubicBezTo>
                      <a:pt x="0" y="69"/>
                      <a:pt x="0" y="69"/>
                      <a:pt x="0" y="69"/>
                    </a:cubicBezTo>
                    <a:cubicBezTo>
                      <a:pt x="0" y="73"/>
                      <a:pt x="3" y="75"/>
                      <a:pt x="6" y="75"/>
                    </a:cubicBezTo>
                    <a:cubicBezTo>
                      <a:pt x="10" y="75"/>
                      <a:pt x="12" y="73"/>
                      <a:pt x="12" y="69"/>
                    </a:cubicBezTo>
                    <a:cubicBezTo>
                      <a:pt x="12" y="25"/>
                      <a:pt x="12" y="25"/>
                      <a:pt x="12" y="25"/>
                    </a:cubicBezTo>
                    <a:cubicBezTo>
                      <a:pt x="18" y="25"/>
                      <a:pt x="18" y="25"/>
                      <a:pt x="18" y="25"/>
                    </a:cubicBezTo>
                    <a:cubicBezTo>
                      <a:pt x="18" y="68"/>
                      <a:pt x="18" y="68"/>
                      <a:pt x="18" y="68"/>
                    </a:cubicBezTo>
                    <a:cubicBezTo>
                      <a:pt x="18" y="68"/>
                      <a:pt x="18" y="69"/>
                      <a:pt x="18" y="69"/>
                    </a:cubicBezTo>
                    <a:cubicBezTo>
                      <a:pt x="18" y="145"/>
                      <a:pt x="18" y="145"/>
                      <a:pt x="18" y="145"/>
                    </a:cubicBezTo>
                    <a:cubicBezTo>
                      <a:pt x="18" y="150"/>
                      <a:pt x="21" y="153"/>
                      <a:pt x="26" y="153"/>
                    </a:cubicBezTo>
                    <a:cubicBezTo>
                      <a:pt x="31" y="153"/>
                      <a:pt x="34" y="150"/>
                      <a:pt x="34" y="145"/>
                    </a:cubicBezTo>
                    <a:cubicBezTo>
                      <a:pt x="34" y="78"/>
                      <a:pt x="34" y="78"/>
                      <a:pt x="34" y="78"/>
                    </a:cubicBezTo>
                    <a:cubicBezTo>
                      <a:pt x="39" y="78"/>
                      <a:pt x="39" y="78"/>
                      <a:pt x="39" y="78"/>
                    </a:cubicBezTo>
                    <a:cubicBezTo>
                      <a:pt x="39" y="145"/>
                      <a:pt x="39" y="145"/>
                      <a:pt x="39" y="145"/>
                    </a:cubicBezTo>
                    <a:cubicBezTo>
                      <a:pt x="39" y="150"/>
                      <a:pt x="42" y="153"/>
                      <a:pt x="47" y="153"/>
                    </a:cubicBezTo>
                    <a:cubicBezTo>
                      <a:pt x="52" y="153"/>
                      <a:pt x="55" y="150"/>
                      <a:pt x="55" y="145"/>
                    </a:cubicBezTo>
                    <a:cubicBezTo>
                      <a:pt x="55" y="68"/>
                      <a:pt x="55" y="68"/>
                      <a:pt x="55" y="68"/>
                    </a:cubicBezTo>
                    <a:cubicBezTo>
                      <a:pt x="55" y="67"/>
                      <a:pt x="55" y="67"/>
                      <a:pt x="55" y="67"/>
                    </a:cubicBezTo>
                    <a:cubicBezTo>
                      <a:pt x="55" y="25"/>
                      <a:pt x="55" y="25"/>
                      <a:pt x="55" y="25"/>
                    </a:cubicBezTo>
                    <a:cubicBezTo>
                      <a:pt x="60" y="25"/>
                      <a:pt x="60" y="25"/>
                      <a:pt x="60" y="25"/>
                    </a:cubicBezTo>
                    <a:cubicBezTo>
                      <a:pt x="60" y="69"/>
                      <a:pt x="60" y="69"/>
                      <a:pt x="60" y="69"/>
                    </a:cubicBezTo>
                    <a:cubicBezTo>
                      <a:pt x="60" y="73"/>
                      <a:pt x="63" y="75"/>
                      <a:pt x="66" y="75"/>
                    </a:cubicBezTo>
                    <a:cubicBezTo>
                      <a:pt x="70" y="75"/>
                      <a:pt x="73" y="73"/>
                      <a:pt x="73" y="69"/>
                    </a:cubicBezTo>
                    <a:cubicBezTo>
                      <a:pt x="73" y="18"/>
                      <a:pt x="73" y="18"/>
                      <a:pt x="73" y="18"/>
                    </a:cubicBezTo>
                    <a:cubicBezTo>
                      <a:pt x="73" y="16"/>
                      <a:pt x="73" y="16"/>
                      <a:pt x="73" y="16"/>
                    </a:cubicBezTo>
                    <a:cubicBezTo>
                      <a:pt x="73" y="15"/>
                      <a:pt x="73" y="15"/>
                      <a:pt x="73" y="15"/>
                    </a:cubicBezTo>
                    <a:cubicBezTo>
                      <a:pt x="73" y="10"/>
                      <a:pt x="67" y="1"/>
                      <a:pt x="55" y="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88" name="Oval 97"/>
              <p:cNvSpPr>
                <a:spLocks noChangeArrowheads="1"/>
              </p:cNvSpPr>
              <p:nvPr/>
            </p:nvSpPr>
            <p:spPr bwMode="auto">
              <a:xfrm>
                <a:off x="5110163" y="1652588"/>
                <a:ext cx="74613" cy="76200"/>
              </a:xfrm>
              <a:prstGeom prst="ellipse">
                <a:avLst/>
              </a:prstGeom>
              <a:grpFill/>
              <a:ln w="9525">
                <a:noFill/>
                <a:round/>
              </a:ln>
            </p:spPr>
            <p:txBody>
              <a:bodyPr vert="horz" wrap="square" lIns="91440" tIns="45720" rIns="91440" bIns="45720" numCol="1" anchor="t" anchorCtr="0" compatLnSpc="1"/>
              <a:lstStyle/>
              <a:p>
                <a:endParaRPr lang="en-US">
                  <a:latin typeface="+mn-ea"/>
                </a:endParaRPr>
              </a:p>
            </p:txBody>
          </p:sp>
        </p:grpSp>
      </p:grpSp>
      <p:grpSp>
        <p:nvGrpSpPr>
          <p:cNvPr id="110" name="Group 109"/>
          <p:cNvGrpSpPr/>
          <p:nvPr/>
        </p:nvGrpSpPr>
        <p:grpSpPr>
          <a:xfrm>
            <a:off x="3792021" y="4761783"/>
            <a:ext cx="4983765" cy="773748"/>
            <a:chOff x="4033795" y="1082760"/>
            <a:chExt cx="3738310" cy="580311"/>
          </a:xfrm>
        </p:grpSpPr>
        <p:grpSp>
          <p:nvGrpSpPr>
            <p:cNvPr id="111" name="Group 29"/>
            <p:cNvGrpSpPr/>
            <p:nvPr/>
          </p:nvGrpSpPr>
          <p:grpSpPr>
            <a:xfrm>
              <a:off x="4399178" y="1082760"/>
              <a:ext cx="3372927" cy="548751"/>
              <a:chOff x="798970" y="1771595"/>
              <a:chExt cx="1860430" cy="548751"/>
            </a:xfrm>
          </p:grpSpPr>
          <p:sp>
            <p:nvSpPr>
              <p:cNvPr id="113" name="Text Placeholder 3"/>
              <p:cNvSpPr txBox="1"/>
              <p:nvPr/>
            </p:nvSpPr>
            <p:spPr>
              <a:xfrm>
                <a:off x="798970" y="1771595"/>
                <a:ext cx="739174"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2100" dirty="0">
                    <a:solidFill>
                      <a:schemeClr val="accent3"/>
                    </a:solidFill>
                    <a:latin typeface="+mn-ea"/>
                  </a:rPr>
                  <a:t>添加副标题</a:t>
                </a:r>
                <a:r>
                  <a:rPr lang="en-US" sz="2100" dirty="0">
                    <a:solidFill>
                      <a:schemeClr val="accent3"/>
                    </a:solidFill>
                    <a:latin typeface="+mn-ea"/>
                  </a:rPr>
                  <a:t> 04</a:t>
                </a:r>
              </a:p>
            </p:txBody>
          </p:sp>
          <p:sp>
            <p:nvSpPr>
              <p:cNvPr id="114" name="Text Placeholder 3"/>
              <p:cNvSpPr txBox="1"/>
              <p:nvPr/>
            </p:nvSpPr>
            <p:spPr>
              <a:xfrm>
                <a:off x="798970" y="2012569"/>
                <a:ext cx="1860430" cy="307777"/>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tx1">
                        <a:lumMod val="50000"/>
                        <a:lumOff val="50000"/>
                      </a:schemeClr>
                    </a:solidFill>
                    <a:latin typeface="+mn-ea"/>
                  </a:rPr>
                  <a:t>此处添加详细文本描述，建议与标题相关并符合整体语言风格，语言描述尽量简洁生动。</a:t>
                </a:r>
                <a:endParaRPr lang="en-US" sz="1300" dirty="0">
                  <a:solidFill>
                    <a:schemeClr val="tx1">
                      <a:lumMod val="50000"/>
                      <a:lumOff val="50000"/>
                    </a:schemeClr>
                  </a:solidFill>
                  <a:latin typeface="+mn-ea"/>
                </a:endParaRPr>
              </a:p>
            </p:txBody>
          </p:sp>
        </p:grpSp>
        <p:sp>
          <p:nvSpPr>
            <p:cNvPr id="112" name="Rectangle 111"/>
            <p:cNvSpPr/>
            <p:nvPr/>
          </p:nvSpPr>
          <p:spPr>
            <a:xfrm>
              <a:off x="4033795" y="1236031"/>
              <a:ext cx="49" cy="427040"/>
            </a:xfrm>
            <a:prstGeom prst="rect">
              <a:avLst/>
            </a:prstGeom>
          </p:spPr>
          <p:txBody>
            <a:bodyPr wrap="none" lIns="0" tIns="0" rIns="0" bIns="0">
              <a:spAutoFit/>
            </a:bodyPr>
            <a:lstStyle/>
            <a:p>
              <a:endParaRPr lang="en-US" sz="3700" dirty="0">
                <a:solidFill>
                  <a:schemeClr val="accent3"/>
                </a:solidFill>
                <a:latin typeface="+mn-ea"/>
              </a:endParaRPr>
            </a:p>
          </p:txBody>
        </p:sp>
      </p:grpSp>
      <p:grpSp>
        <p:nvGrpSpPr>
          <p:cNvPr id="115" name="Group 114"/>
          <p:cNvGrpSpPr/>
          <p:nvPr/>
        </p:nvGrpSpPr>
        <p:grpSpPr>
          <a:xfrm>
            <a:off x="3792020" y="1739196"/>
            <a:ext cx="5003066" cy="726876"/>
            <a:chOff x="4033795" y="1117914"/>
            <a:chExt cx="3752788" cy="545157"/>
          </a:xfrm>
        </p:grpSpPr>
        <p:grpSp>
          <p:nvGrpSpPr>
            <p:cNvPr id="116" name="Group 29"/>
            <p:cNvGrpSpPr/>
            <p:nvPr/>
          </p:nvGrpSpPr>
          <p:grpSpPr>
            <a:xfrm>
              <a:off x="4399178" y="1117914"/>
              <a:ext cx="3387405" cy="542365"/>
              <a:chOff x="798970" y="1806749"/>
              <a:chExt cx="1868416" cy="542365"/>
            </a:xfrm>
          </p:grpSpPr>
          <p:sp>
            <p:nvSpPr>
              <p:cNvPr id="118" name="Text Placeholder 3"/>
              <p:cNvSpPr txBox="1"/>
              <p:nvPr/>
            </p:nvSpPr>
            <p:spPr>
              <a:xfrm>
                <a:off x="798970" y="1806749"/>
                <a:ext cx="739174"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2100" dirty="0">
                    <a:solidFill>
                      <a:schemeClr val="tx2">
                        <a:lumMod val="75000"/>
                      </a:schemeClr>
                    </a:solidFill>
                    <a:latin typeface="+mn-ea"/>
                  </a:rPr>
                  <a:t>添加副标题</a:t>
                </a:r>
                <a:r>
                  <a:rPr lang="en-US" sz="2100" dirty="0">
                    <a:solidFill>
                      <a:schemeClr val="tx2">
                        <a:lumMod val="75000"/>
                      </a:schemeClr>
                    </a:solidFill>
                    <a:latin typeface="+mn-ea"/>
                  </a:rPr>
                  <a:t> 01</a:t>
                </a:r>
              </a:p>
            </p:txBody>
          </p:sp>
          <p:sp>
            <p:nvSpPr>
              <p:cNvPr id="119" name="Text Placeholder 3"/>
              <p:cNvSpPr txBox="1"/>
              <p:nvPr/>
            </p:nvSpPr>
            <p:spPr>
              <a:xfrm>
                <a:off x="806956" y="2041337"/>
                <a:ext cx="1860430" cy="307777"/>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tx1">
                        <a:lumMod val="50000"/>
                        <a:lumOff val="50000"/>
                      </a:schemeClr>
                    </a:solidFill>
                    <a:latin typeface="+mn-ea"/>
                  </a:rPr>
                  <a:t>此处添加详细文本描述，建议与标题相关并符合整体语言风格，语言描述尽量简洁生动。</a:t>
                </a:r>
                <a:endParaRPr lang="en-US" sz="1300" dirty="0">
                  <a:solidFill>
                    <a:schemeClr val="tx1">
                      <a:lumMod val="50000"/>
                      <a:lumOff val="50000"/>
                    </a:schemeClr>
                  </a:solidFill>
                  <a:latin typeface="+mn-ea"/>
                </a:endParaRPr>
              </a:p>
            </p:txBody>
          </p:sp>
        </p:grpSp>
        <p:sp>
          <p:nvSpPr>
            <p:cNvPr id="117" name="Rectangle 116"/>
            <p:cNvSpPr/>
            <p:nvPr/>
          </p:nvSpPr>
          <p:spPr>
            <a:xfrm>
              <a:off x="4033795" y="1236031"/>
              <a:ext cx="49" cy="427040"/>
            </a:xfrm>
            <a:prstGeom prst="rect">
              <a:avLst/>
            </a:prstGeom>
          </p:spPr>
          <p:txBody>
            <a:bodyPr wrap="none" lIns="0" tIns="0" rIns="0" bIns="0">
              <a:spAutoFit/>
            </a:bodyPr>
            <a:lstStyle/>
            <a:p>
              <a:endParaRPr lang="en-US" sz="3700" dirty="0">
                <a:solidFill>
                  <a:schemeClr val="tx2">
                    <a:lumMod val="75000"/>
                  </a:schemeClr>
                </a:solidFill>
                <a:latin typeface="+mn-ea"/>
              </a:endParaRPr>
            </a:p>
          </p:txBody>
        </p:sp>
      </p:grpSp>
      <p:grpSp>
        <p:nvGrpSpPr>
          <p:cNvPr id="120" name="Group 119"/>
          <p:cNvGrpSpPr/>
          <p:nvPr/>
        </p:nvGrpSpPr>
        <p:grpSpPr>
          <a:xfrm>
            <a:off x="3792021" y="2742726"/>
            <a:ext cx="4983765" cy="772072"/>
            <a:chOff x="4033795" y="1906308"/>
            <a:chExt cx="3738310" cy="579054"/>
          </a:xfrm>
        </p:grpSpPr>
        <p:grpSp>
          <p:nvGrpSpPr>
            <p:cNvPr id="121" name="Group 29"/>
            <p:cNvGrpSpPr/>
            <p:nvPr/>
          </p:nvGrpSpPr>
          <p:grpSpPr>
            <a:xfrm>
              <a:off x="4399178" y="1906308"/>
              <a:ext cx="3372927" cy="547493"/>
              <a:chOff x="798970" y="1772852"/>
              <a:chExt cx="1860430" cy="547493"/>
            </a:xfrm>
          </p:grpSpPr>
          <p:sp>
            <p:nvSpPr>
              <p:cNvPr id="123" name="Text Placeholder 3"/>
              <p:cNvSpPr txBox="1"/>
              <p:nvPr/>
            </p:nvSpPr>
            <p:spPr>
              <a:xfrm>
                <a:off x="798970" y="1772852"/>
                <a:ext cx="739174"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2100" dirty="0">
                    <a:solidFill>
                      <a:schemeClr val="bg2"/>
                    </a:solidFill>
                    <a:latin typeface="+mn-ea"/>
                  </a:rPr>
                  <a:t>添加副标题</a:t>
                </a:r>
                <a:r>
                  <a:rPr lang="en-US" sz="2100" dirty="0">
                    <a:solidFill>
                      <a:schemeClr val="bg2"/>
                    </a:solidFill>
                    <a:latin typeface="+mn-ea"/>
                  </a:rPr>
                  <a:t> 02</a:t>
                </a:r>
              </a:p>
            </p:txBody>
          </p:sp>
          <p:sp>
            <p:nvSpPr>
              <p:cNvPr id="124" name="Text Placeholder 3"/>
              <p:cNvSpPr txBox="1"/>
              <p:nvPr/>
            </p:nvSpPr>
            <p:spPr>
              <a:xfrm>
                <a:off x="798970" y="2012568"/>
                <a:ext cx="1860430" cy="307777"/>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tx1">
                        <a:lumMod val="50000"/>
                        <a:lumOff val="50000"/>
                      </a:schemeClr>
                    </a:solidFill>
                    <a:latin typeface="+mn-ea"/>
                  </a:rPr>
                  <a:t>此处添加详细文本描述，建议与标题相关并符合整体语言风格，语言描述尽量简洁生动。</a:t>
                </a:r>
                <a:endParaRPr lang="en-US" sz="1300" dirty="0">
                  <a:solidFill>
                    <a:schemeClr val="tx1">
                      <a:lumMod val="50000"/>
                      <a:lumOff val="50000"/>
                    </a:schemeClr>
                  </a:solidFill>
                  <a:latin typeface="+mn-ea"/>
                </a:endParaRPr>
              </a:p>
            </p:txBody>
          </p:sp>
        </p:grpSp>
        <p:sp>
          <p:nvSpPr>
            <p:cNvPr id="122" name="Rectangle 121"/>
            <p:cNvSpPr/>
            <p:nvPr/>
          </p:nvSpPr>
          <p:spPr>
            <a:xfrm>
              <a:off x="4033795" y="2058322"/>
              <a:ext cx="49" cy="427040"/>
            </a:xfrm>
            <a:prstGeom prst="rect">
              <a:avLst/>
            </a:prstGeom>
          </p:spPr>
          <p:txBody>
            <a:bodyPr wrap="none" lIns="0" tIns="0" rIns="0" bIns="0">
              <a:spAutoFit/>
            </a:bodyPr>
            <a:lstStyle/>
            <a:p>
              <a:endParaRPr lang="en-US" sz="3700" dirty="0">
                <a:solidFill>
                  <a:schemeClr val="bg2"/>
                </a:solidFill>
                <a:latin typeface="+mn-ea"/>
              </a:endParaRPr>
            </a:p>
          </p:txBody>
        </p:sp>
      </p:grpSp>
      <p:grpSp>
        <p:nvGrpSpPr>
          <p:cNvPr id="125" name="Group 124"/>
          <p:cNvGrpSpPr/>
          <p:nvPr/>
        </p:nvGrpSpPr>
        <p:grpSpPr>
          <a:xfrm>
            <a:off x="3792022" y="3793456"/>
            <a:ext cx="4983763" cy="773748"/>
            <a:chOff x="4033795" y="1905051"/>
            <a:chExt cx="3738309" cy="580311"/>
          </a:xfrm>
        </p:grpSpPr>
        <p:grpSp>
          <p:nvGrpSpPr>
            <p:cNvPr id="126" name="Group 29"/>
            <p:cNvGrpSpPr/>
            <p:nvPr/>
          </p:nvGrpSpPr>
          <p:grpSpPr>
            <a:xfrm>
              <a:off x="4399178" y="1905051"/>
              <a:ext cx="3372926" cy="548750"/>
              <a:chOff x="798970" y="1771595"/>
              <a:chExt cx="1860430" cy="548750"/>
            </a:xfrm>
          </p:grpSpPr>
          <p:sp>
            <p:nvSpPr>
              <p:cNvPr id="128" name="Text Placeholder 3"/>
              <p:cNvSpPr txBox="1"/>
              <p:nvPr/>
            </p:nvSpPr>
            <p:spPr>
              <a:xfrm>
                <a:off x="798970" y="1771595"/>
                <a:ext cx="739174"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2100" dirty="0">
                    <a:solidFill>
                      <a:schemeClr val="accent1"/>
                    </a:solidFill>
                    <a:latin typeface="+mn-ea"/>
                  </a:rPr>
                  <a:t>添加副标题</a:t>
                </a:r>
                <a:r>
                  <a:rPr lang="en-US" sz="2100" dirty="0">
                    <a:solidFill>
                      <a:schemeClr val="accent1"/>
                    </a:solidFill>
                    <a:latin typeface="+mn-ea"/>
                  </a:rPr>
                  <a:t> 03</a:t>
                </a:r>
              </a:p>
            </p:txBody>
          </p:sp>
          <p:sp>
            <p:nvSpPr>
              <p:cNvPr id="129" name="Text Placeholder 3"/>
              <p:cNvSpPr txBox="1"/>
              <p:nvPr/>
            </p:nvSpPr>
            <p:spPr>
              <a:xfrm>
                <a:off x="798970" y="2012568"/>
                <a:ext cx="1860430" cy="307777"/>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tx1">
                        <a:lumMod val="50000"/>
                        <a:lumOff val="50000"/>
                      </a:schemeClr>
                    </a:solidFill>
                    <a:latin typeface="+mn-ea"/>
                  </a:rPr>
                  <a:t>此处添加详细文本描述，建议与标题相关并符合整体语言风格，语言描述尽量简洁生动。</a:t>
                </a:r>
                <a:endParaRPr lang="en-US" sz="1300" dirty="0">
                  <a:solidFill>
                    <a:schemeClr val="tx1">
                      <a:lumMod val="50000"/>
                      <a:lumOff val="50000"/>
                    </a:schemeClr>
                  </a:solidFill>
                  <a:latin typeface="+mn-ea"/>
                </a:endParaRPr>
              </a:p>
            </p:txBody>
          </p:sp>
        </p:grpSp>
        <p:sp>
          <p:nvSpPr>
            <p:cNvPr id="127" name="Rectangle 126"/>
            <p:cNvSpPr/>
            <p:nvPr/>
          </p:nvSpPr>
          <p:spPr>
            <a:xfrm>
              <a:off x="4033795" y="2058322"/>
              <a:ext cx="49" cy="427040"/>
            </a:xfrm>
            <a:prstGeom prst="rect">
              <a:avLst/>
            </a:prstGeom>
          </p:spPr>
          <p:txBody>
            <a:bodyPr wrap="none" lIns="0" tIns="0" rIns="0" bIns="0">
              <a:spAutoFit/>
            </a:bodyPr>
            <a:lstStyle/>
            <a:p>
              <a:endParaRPr lang="en-US" sz="3700" dirty="0">
                <a:solidFill>
                  <a:schemeClr val="accent1"/>
                </a:solidFill>
                <a:latin typeface="+mn-ea"/>
              </a:endParaRPr>
            </a:p>
          </p:txBody>
        </p:sp>
      </p:grpSp>
      <p:grpSp>
        <p:nvGrpSpPr>
          <p:cNvPr id="146" name="Group 145"/>
          <p:cNvGrpSpPr/>
          <p:nvPr/>
        </p:nvGrpSpPr>
        <p:grpSpPr>
          <a:xfrm>
            <a:off x="9198745" y="3600083"/>
            <a:ext cx="1959477" cy="1366061"/>
            <a:chOff x="6899360" y="2700061"/>
            <a:chExt cx="1469799" cy="1024546"/>
          </a:xfrm>
        </p:grpSpPr>
        <p:grpSp>
          <p:nvGrpSpPr>
            <p:cNvPr id="53" name="Group 184"/>
            <p:cNvGrpSpPr/>
            <p:nvPr/>
          </p:nvGrpSpPr>
          <p:grpSpPr>
            <a:xfrm>
              <a:off x="7891926" y="2700061"/>
              <a:ext cx="477233" cy="1024546"/>
              <a:chOff x="6213475" y="1668463"/>
              <a:chExt cx="227013" cy="487362"/>
            </a:xfrm>
            <a:solidFill>
              <a:schemeClr val="tx2">
                <a:lumMod val="75000"/>
              </a:schemeClr>
            </a:solidFill>
          </p:grpSpPr>
          <p:sp>
            <p:nvSpPr>
              <p:cNvPr id="54" name="Oval 98"/>
              <p:cNvSpPr>
                <a:spLocks noChangeArrowheads="1"/>
              </p:cNvSpPr>
              <p:nvPr/>
            </p:nvSpPr>
            <p:spPr bwMode="auto">
              <a:xfrm>
                <a:off x="6291263" y="1668463"/>
                <a:ext cx="73025" cy="73025"/>
              </a:xfrm>
              <a:prstGeom prst="ellipse">
                <a:avLst/>
              </a:prstGeom>
              <a:grpFill/>
              <a:ln w="9525">
                <a:noFill/>
                <a:round/>
              </a:ln>
            </p:spPr>
            <p:txBody>
              <a:bodyPr vert="horz" wrap="square" lIns="91440" tIns="45720" rIns="91440" bIns="45720" numCol="1" anchor="t" anchorCtr="0" compatLnSpc="1"/>
              <a:lstStyle/>
              <a:p>
                <a:endParaRPr lang="en-US">
                  <a:latin typeface="+mn-ea"/>
                </a:endParaRPr>
              </a:p>
            </p:txBody>
          </p:sp>
          <p:sp>
            <p:nvSpPr>
              <p:cNvPr id="55" name="Freeform 99"/>
              <p:cNvSpPr/>
              <p:nvPr/>
            </p:nvSpPr>
            <p:spPr bwMode="auto">
              <a:xfrm>
                <a:off x="6213475" y="1757363"/>
                <a:ext cx="227013" cy="398462"/>
              </a:xfrm>
              <a:custGeom>
                <a:avLst/>
                <a:gdLst/>
                <a:ahLst/>
                <a:cxnLst>
                  <a:cxn ang="0">
                    <a:pos x="87" y="56"/>
                  </a:cxn>
                  <a:cxn ang="0">
                    <a:pos x="71" y="9"/>
                  </a:cxn>
                  <a:cxn ang="0">
                    <a:pos x="61" y="0"/>
                  </a:cxn>
                  <a:cxn ang="0">
                    <a:pos x="26" y="0"/>
                  </a:cxn>
                  <a:cxn ang="0">
                    <a:pos x="18" y="4"/>
                  </a:cxn>
                  <a:cxn ang="0">
                    <a:pos x="17" y="6"/>
                  </a:cxn>
                  <a:cxn ang="0">
                    <a:pos x="17" y="6"/>
                  </a:cxn>
                  <a:cxn ang="0">
                    <a:pos x="16" y="7"/>
                  </a:cxn>
                  <a:cxn ang="0">
                    <a:pos x="1" y="56"/>
                  </a:cxn>
                  <a:cxn ang="0">
                    <a:pos x="5" y="64"/>
                  </a:cxn>
                  <a:cxn ang="0">
                    <a:pos x="13" y="60"/>
                  </a:cxn>
                  <a:cxn ang="0">
                    <a:pos x="25" y="21"/>
                  </a:cxn>
                  <a:cxn ang="0">
                    <a:pos x="26" y="21"/>
                  </a:cxn>
                  <a:cxn ang="0">
                    <a:pos x="27" y="21"/>
                  </a:cxn>
                  <a:cxn ang="0">
                    <a:pos x="9" y="91"/>
                  </a:cxn>
                  <a:cxn ang="0">
                    <a:pos x="28" y="91"/>
                  </a:cxn>
                  <a:cxn ang="0">
                    <a:pos x="28" y="146"/>
                  </a:cxn>
                  <a:cxn ang="0">
                    <a:pos x="35" y="153"/>
                  </a:cxn>
                  <a:cxn ang="0">
                    <a:pos x="42" y="146"/>
                  </a:cxn>
                  <a:cxn ang="0">
                    <a:pos x="42" y="91"/>
                  </a:cxn>
                  <a:cxn ang="0">
                    <a:pos x="46" y="91"/>
                  </a:cxn>
                  <a:cxn ang="0">
                    <a:pos x="46" y="146"/>
                  </a:cxn>
                  <a:cxn ang="0">
                    <a:pos x="54" y="153"/>
                  </a:cxn>
                  <a:cxn ang="0">
                    <a:pos x="61" y="146"/>
                  </a:cxn>
                  <a:cxn ang="0">
                    <a:pos x="61" y="91"/>
                  </a:cxn>
                  <a:cxn ang="0">
                    <a:pos x="80" y="91"/>
                  </a:cxn>
                  <a:cxn ang="0">
                    <a:pos x="60" y="21"/>
                  </a:cxn>
                  <a:cxn ang="0">
                    <a:pos x="61" y="21"/>
                  </a:cxn>
                  <a:cxn ang="0">
                    <a:pos x="62" y="21"/>
                  </a:cxn>
                  <a:cxn ang="0">
                    <a:pos x="75" y="60"/>
                  </a:cxn>
                  <a:cxn ang="0">
                    <a:pos x="83" y="64"/>
                  </a:cxn>
                  <a:cxn ang="0">
                    <a:pos x="87" y="56"/>
                  </a:cxn>
                </a:cxnLst>
                <a:rect l="0" t="0" r="r" b="b"/>
                <a:pathLst>
                  <a:path w="88" h="153">
                    <a:moveTo>
                      <a:pt x="87" y="56"/>
                    </a:moveTo>
                    <a:cubicBezTo>
                      <a:pt x="71" y="9"/>
                      <a:pt x="71" y="9"/>
                      <a:pt x="71" y="9"/>
                    </a:cubicBezTo>
                    <a:cubicBezTo>
                      <a:pt x="71" y="4"/>
                      <a:pt x="67" y="0"/>
                      <a:pt x="61" y="0"/>
                    </a:cubicBezTo>
                    <a:cubicBezTo>
                      <a:pt x="26" y="0"/>
                      <a:pt x="26" y="0"/>
                      <a:pt x="26" y="0"/>
                    </a:cubicBezTo>
                    <a:cubicBezTo>
                      <a:pt x="23" y="0"/>
                      <a:pt x="19" y="1"/>
                      <a:pt x="18" y="4"/>
                    </a:cubicBezTo>
                    <a:cubicBezTo>
                      <a:pt x="17" y="5"/>
                      <a:pt x="17" y="5"/>
                      <a:pt x="17" y="6"/>
                    </a:cubicBezTo>
                    <a:cubicBezTo>
                      <a:pt x="17" y="6"/>
                      <a:pt x="17" y="6"/>
                      <a:pt x="17" y="6"/>
                    </a:cubicBezTo>
                    <a:cubicBezTo>
                      <a:pt x="17" y="7"/>
                      <a:pt x="16" y="7"/>
                      <a:pt x="16" y="7"/>
                    </a:cubicBezTo>
                    <a:cubicBezTo>
                      <a:pt x="1" y="56"/>
                      <a:pt x="1" y="56"/>
                      <a:pt x="1" y="56"/>
                    </a:cubicBezTo>
                    <a:cubicBezTo>
                      <a:pt x="0" y="60"/>
                      <a:pt x="2" y="63"/>
                      <a:pt x="5" y="64"/>
                    </a:cubicBezTo>
                    <a:cubicBezTo>
                      <a:pt x="8" y="65"/>
                      <a:pt x="12" y="63"/>
                      <a:pt x="13" y="60"/>
                    </a:cubicBezTo>
                    <a:cubicBezTo>
                      <a:pt x="25" y="21"/>
                      <a:pt x="25" y="21"/>
                      <a:pt x="25" y="21"/>
                    </a:cubicBezTo>
                    <a:cubicBezTo>
                      <a:pt x="25" y="21"/>
                      <a:pt x="26" y="21"/>
                      <a:pt x="26" y="21"/>
                    </a:cubicBezTo>
                    <a:cubicBezTo>
                      <a:pt x="27" y="21"/>
                      <a:pt x="27" y="21"/>
                      <a:pt x="27" y="21"/>
                    </a:cubicBezTo>
                    <a:cubicBezTo>
                      <a:pt x="9" y="91"/>
                      <a:pt x="9" y="91"/>
                      <a:pt x="9" y="91"/>
                    </a:cubicBezTo>
                    <a:cubicBezTo>
                      <a:pt x="28" y="91"/>
                      <a:pt x="28" y="91"/>
                      <a:pt x="28" y="91"/>
                    </a:cubicBezTo>
                    <a:cubicBezTo>
                      <a:pt x="28" y="146"/>
                      <a:pt x="28" y="146"/>
                      <a:pt x="28" y="146"/>
                    </a:cubicBezTo>
                    <a:cubicBezTo>
                      <a:pt x="28" y="150"/>
                      <a:pt x="31" y="153"/>
                      <a:pt x="35" y="153"/>
                    </a:cubicBezTo>
                    <a:cubicBezTo>
                      <a:pt x="39" y="153"/>
                      <a:pt x="42" y="150"/>
                      <a:pt x="42" y="146"/>
                    </a:cubicBezTo>
                    <a:cubicBezTo>
                      <a:pt x="42" y="91"/>
                      <a:pt x="42" y="91"/>
                      <a:pt x="42" y="91"/>
                    </a:cubicBezTo>
                    <a:cubicBezTo>
                      <a:pt x="46" y="91"/>
                      <a:pt x="46" y="91"/>
                      <a:pt x="46" y="91"/>
                    </a:cubicBezTo>
                    <a:cubicBezTo>
                      <a:pt x="46" y="146"/>
                      <a:pt x="46" y="146"/>
                      <a:pt x="46" y="146"/>
                    </a:cubicBezTo>
                    <a:cubicBezTo>
                      <a:pt x="46" y="150"/>
                      <a:pt x="50" y="153"/>
                      <a:pt x="54" y="153"/>
                    </a:cubicBezTo>
                    <a:cubicBezTo>
                      <a:pt x="58" y="153"/>
                      <a:pt x="61" y="150"/>
                      <a:pt x="61" y="146"/>
                    </a:cubicBezTo>
                    <a:cubicBezTo>
                      <a:pt x="61" y="91"/>
                      <a:pt x="61" y="91"/>
                      <a:pt x="61" y="91"/>
                    </a:cubicBezTo>
                    <a:cubicBezTo>
                      <a:pt x="80" y="91"/>
                      <a:pt x="80" y="91"/>
                      <a:pt x="80" y="91"/>
                    </a:cubicBezTo>
                    <a:cubicBezTo>
                      <a:pt x="60" y="21"/>
                      <a:pt x="60" y="21"/>
                      <a:pt x="60" y="21"/>
                    </a:cubicBezTo>
                    <a:cubicBezTo>
                      <a:pt x="61" y="21"/>
                      <a:pt x="61" y="21"/>
                      <a:pt x="61" y="21"/>
                    </a:cubicBezTo>
                    <a:cubicBezTo>
                      <a:pt x="62" y="21"/>
                      <a:pt x="62" y="21"/>
                      <a:pt x="62" y="21"/>
                    </a:cubicBezTo>
                    <a:cubicBezTo>
                      <a:pt x="75" y="60"/>
                      <a:pt x="75" y="60"/>
                      <a:pt x="75" y="60"/>
                    </a:cubicBezTo>
                    <a:cubicBezTo>
                      <a:pt x="77" y="63"/>
                      <a:pt x="80" y="65"/>
                      <a:pt x="83" y="64"/>
                    </a:cubicBezTo>
                    <a:cubicBezTo>
                      <a:pt x="87" y="63"/>
                      <a:pt x="88" y="59"/>
                      <a:pt x="87" y="5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grpSp>
          <p:nvGrpSpPr>
            <p:cNvPr id="132" name="Group 184"/>
            <p:cNvGrpSpPr/>
            <p:nvPr/>
          </p:nvGrpSpPr>
          <p:grpSpPr>
            <a:xfrm>
              <a:off x="7395643" y="2700061"/>
              <a:ext cx="477233" cy="1024546"/>
              <a:chOff x="6213475" y="1668463"/>
              <a:chExt cx="227013" cy="487362"/>
            </a:xfrm>
            <a:solidFill>
              <a:schemeClr val="tx2">
                <a:lumMod val="75000"/>
              </a:schemeClr>
            </a:solidFill>
          </p:grpSpPr>
          <p:sp>
            <p:nvSpPr>
              <p:cNvPr id="133" name="Oval 98"/>
              <p:cNvSpPr>
                <a:spLocks noChangeArrowheads="1"/>
              </p:cNvSpPr>
              <p:nvPr/>
            </p:nvSpPr>
            <p:spPr bwMode="auto">
              <a:xfrm>
                <a:off x="6291263" y="1668463"/>
                <a:ext cx="73025" cy="73025"/>
              </a:xfrm>
              <a:prstGeom prst="ellipse">
                <a:avLst/>
              </a:prstGeom>
              <a:grpFill/>
              <a:ln w="9525">
                <a:noFill/>
                <a:round/>
              </a:ln>
            </p:spPr>
            <p:txBody>
              <a:bodyPr vert="horz" wrap="square" lIns="91440" tIns="45720" rIns="91440" bIns="45720" numCol="1" anchor="t" anchorCtr="0" compatLnSpc="1"/>
              <a:lstStyle/>
              <a:p>
                <a:endParaRPr lang="en-US">
                  <a:latin typeface="+mn-ea"/>
                </a:endParaRPr>
              </a:p>
            </p:txBody>
          </p:sp>
          <p:sp>
            <p:nvSpPr>
              <p:cNvPr id="134" name="Freeform 99"/>
              <p:cNvSpPr/>
              <p:nvPr/>
            </p:nvSpPr>
            <p:spPr bwMode="auto">
              <a:xfrm>
                <a:off x="6213475" y="1757363"/>
                <a:ext cx="227013" cy="398462"/>
              </a:xfrm>
              <a:custGeom>
                <a:avLst/>
                <a:gdLst/>
                <a:ahLst/>
                <a:cxnLst>
                  <a:cxn ang="0">
                    <a:pos x="87" y="56"/>
                  </a:cxn>
                  <a:cxn ang="0">
                    <a:pos x="71" y="9"/>
                  </a:cxn>
                  <a:cxn ang="0">
                    <a:pos x="61" y="0"/>
                  </a:cxn>
                  <a:cxn ang="0">
                    <a:pos x="26" y="0"/>
                  </a:cxn>
                  <a:cxn ang="0">
                    <a:pos x="18" y="4"/>
                  </a:cxn>
                  <a:cxn ang="0">
                    <a:pos x="17" y="6"/>
                  </a:cxn>
                  <a:cxn ang="0">
                    <a:pos x="17" y="6"/>
                  </a:cxn>
                  <a:cxn ang="0">
                    <a:pos x="16" y="7"/>
                  </a:cxn>
                  <a:cxn ang="0">
                    <a:pos x="1" y="56"/>
                  </a:cxn>
                  <a:cxn ang="0">
                    <a:pos x="5" y="64"/>
                  </a:cxn>
                  <a:cxn ang="0">
                    <a:pos x="13" y="60"/>
                  </a:cxn>
                  <a:cxn ang="0">
                    <a:pos x="25" y="21"/>
                  </a:cxn>
                  <a:cxn ang="0">
                    <a:pos x="26" y="21"/>
                  </a:cxn>
                  <a:cxn ang="0">
                    <a:pos x="27" y="21"/>
                  </a:cxn>
                  <a:cxn ang="0">
                    <a:pos x="9" y="91"/>
                  </a:cxn>
                  <a:cxn ang="0">
                    <a:pos x="28" y="91"/>
                  </a:cxn>
                  <a:cxn ang="0">
                    <a:pos x="28" y="146"/>
                  </a:cxn>
                  <a:cxn ang="0">
                    <a:pos x="35" y="153"/>
                  </a:cxn>
                  <a:cxn ang="0">
                    <a:pos x="42" y="146"/>
                  </a:cxn>
                  <a:cxn ang="0">
                    <a:pos x="42" y="91"/>
                  </a:cxn>
                  <a:cxn ang="0">
                    <a:pos x="46" y="91"/>
                  </a:cxn>
                  <a:cxn ang="0">
                    <a:pos x="46" y="146"/>
                  </a:cxn>
                  <a:cxn ang="0">
                    <a:pos x="54" y="153"/>
                  </a:cxn>
                  <a:cxn ang="0">
                    <a:pos x="61" y="146"/>
                  </a:cxn>
                  <a:cxn ang="0">
                    <a:pos x="61" y="91"/>
                  </a:cxn>
                  <a:cxn ang="0">
                    <a:pos x="80" y="91"/>
                  </a:cxn>
                  <a:cxn ang="0">
                    <a:pos x="60" y="21"/>
                  </a:cxn>
                  <a:cxn ang="0">
                    <a:pos x="61" y="21"/>
                  </a:cxn>
                  <a:cxn ang="0">
                    <a:pos x="62" y="21"/>
                  </a:cxn>
                  <a:cxn ang="0">
                    <a:pos x="75" y="60"/>
                  </a:cxn>
                  <a:cxn ang="0">
                    <a:pos x="83" y="64"/>
                  </a:cxn>
                  <a:cxn ang="0">
                    <a:pos x="87" y="56"/>
                  </a:cxn>
                </a:cxnLst>
                <a:rect l="0" t="0" r="r" b="b"/>
                <a:pathLst>
                  <a:path w="88" h="153">
                    <a:moveTo>
                      <a:pt x="87" y="56"/>
                    </a:moveTo>
                    <a:cubicBezTo>
                      <a:pt x="71" y="9"/>
                      <a:pt x="71" y="9"/>
                      <a:pt x="71" y="9"/>
                    </a:cubicBezTo>
                    <a:cubicBezTo>
                      <a:pt x="71" y="4"/>
                      <a:pt x="67" y="0"/>
                      <a:pt x="61" y="0"/>
                    </a:cubicBezTo>
                    <a:cubicBezTo>
                      <a:pt x="26" y="0"/>
                      <a:pt x="26" y="0"/>
                      <a:pt x="26" y="0"/>
                    </a:cubicBezTo>
                    <a:cubicBezTo>
                      <a:pt x="23" y="0"/>
                      <a:pt x="19" y="1"/>
                      <a:pt x="18" y="4"/>
                    </a:cubicBezTo>
                    <a:cubicBezTo>
                      <a:pt x="17" y="5"/>
                      <a:pt x="17" y="5"/>
                      <a:pt x="17" y="6"/>
                    </a:cubicBezTo>
                    <a:cubicBezTo>
                      <a:pt x="17" y="6"/>
                      <a:pt x="17" y="6"/>
                      <a:pt x="17" y="6"/>
                    </a:cubicBezTo>
                    <a:cubicBezTo>
                      <a:pt x="17" y="7"/>
                      <a:pt x="16" y="7"/>
                      <a:pt x="16" y="7"/>
                    </a:cubicBezTo>
                    <a:cubicBezTo>
                      <a:pt x="1" y="56"/>
                      <a:pt x="1" y="56"/>
                      <a:pt x="1" y="56"/>
                    </a:cubicBezTo>
                    <a:cubicBezTo>
                      <a:pt x="0" y="60"/>
                      <a:pt x="2" y="63"/>
                      <a:pt x="5" y="64"/>
                    </a:cubicBezTo>
                    <a:cubicBezTo>
                      <a:pt x="8" y="65"/>
                      <a:pt x="12" y="63"/>
                      <a:pt x="13" y="60"/>
                    </a:cubicBezTo>
                    <a:cubicBezTo>
                      <a:pt x="25" y="21"/>
                      <a:pt x="25" y="21"/>
                      <a:pt x="25" y="21"/>
                    </a:cubicBezTo>
                    <a:cubicBezTo>
                      <a:pt x="25" y="21"/>
                      <a:pt x="26" y="21"/>
                      <a:pt x="26" y="21"/>
                    </a:cubicBezTo>
                    <a:cubicBezTo>
                      <a:pt x="27" y="21"/>
                      <a:pt x="27" y="21"/>
                      <a:pt x="27" y="21"/>
                    </a:cubicBezTo>
                    <a:cubicBezTo>
                      <a:pt x="9" y="91"/>
                      <a:pt x="9" y="91"/>
                      <a:pt x="9" y="91"/>
                    </a:cubicBezTo>
                    <a:cubicBezTo>
                      <a:pt x="28" y="91"/>
                      <a:pt x="28" y="91"/>
                      <a:pt x="28" y="91"/>
                    </a:cubicBezTo>
                    <a:cubicBezTo>
                      <a:pt x="28" y="146"/>
                      <a:pt x="28" y="146"/>
                      <a:pt x="28" y="146"/>
                    </a:cubicBezTo>
                    <a:cubicBezTo>
                      <a:pt x="28" y="150"/>
                      <a:pt x="31" y="153"/>
                      <a:pt x="35" y="153"/>
                    </a:cubicBezTo>
                    <a:cubicBezTo>
                      <a:pt x="39" y="153"/>
                      <a:pt x="42" y="150"/>
                      <a:pt x="42" y="146"/>
                    </a:cubicBezTo>
                    <a:cubicBezTo>
                      <a:pt x="42" y="91"/>
                      <a:pt x="42" y="91"/>
                      <a:pt x="42" y="91"/>
                    </a:cubicBezTo>
                    <a:cubicBezTo>
                      <a:pt x="46" y="91"/>
                      <a:pt x="46" y="91"/>
                      <a:pt x="46" y="91"/>
                    </a:cubicBezTo>
                    <a:cubicBezTo>
                      <a:pt x="46" y="146"/>
                      <a:pt x="46" y="146"/>
                      <a:pt x="46" y="146"/>
                    </a:cubicBezTo>
                    <a:cubicBezTo>
                      <a:pt x="46" y="150"/>
                      <a:pt x="50" y="153"/>
                      <a:pt x="54" y="153"/>
                    </a:cubicBezTo>
                    <a:cubicBezTo>
                      <a:pt x="58" y="153"/>
                      <a:pt x="61" y="150"/>
                      <a:pt x="61" y="146"/>
                    </a:cubicBezTo>
                    <a:cubicBezTo>
                      <a:pt x="61" y="91"/>
                      <a:pt x="61" y="91"/>
                      <a:pt x="61" y="91"/>
                    </a:cubicBezTo>
                    <a:cubicBezTo>
                      <a:pt x="80" y="91"/>
                      <a:pt x="80" y="91"/>
                      <a:pt x="80" y="91"/>
                    </a:cubicBezTo>
                    <a:cubicBezTo>
                      <a:pt x="60" y="21"/>
                      <a:pt x="60" y="21"/>
                      <a:pt x="60" y="21"/>
                    </a:cubicBezTo>
                    <a:cubicBezTo>
                      <a:pt x="61" y="21"/>
                      <a:pt x="61" y="21"/>
                      <a:pt x="61" y="21"/>
                    </a:cubicBezTo>
                    <a:cubicBezTo>
                      <a:pt x="62" y="21"/>
                      <a:pt x="62" y="21"/>
                      <a:pt x="62" y="21"/>
                    </a:cubicBezTo>
                    <a:cubicBezTo>
                      <a:pt x="75" y="60"/>
                      <a:pt x="75" y="60"/>
                      <a:pt x="75" y="60"/>
                    </a:cubicBezTo>
                    <a:cubicBezTo>
                      <a:pt x="77" y="63"/>
                      <a:pt x="80" y="65"/>
                      <a:pt x="83" y="64"/>
                    </a:cubicBezTo>
                    <a:cubicBezTo>
                      <a:pt x="87" y="63"/>
                      <a:pt x="88" y="59"/>
                      <a:pt x="87" y="5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grpSp>
          <p:nvGrpSpPr>
            <p:cNvPr id="135" name="Group 184"/>
            <p:cNvGrpSpPr/>
            <p:nvPr/>
          </p:nvGrpSpPr>
          <p:grpSpPr>
            <a:xfrm>
              <a:off x="6899360" y="2700061"/>
              <a:ext cx="477233" cy="1024546"/>
              <a:chOff x="6213475" y="1668463"/>
              <a:chExt cx="227013" cy="487362"/>
            </a:xfrm>
            <a:solidFill>
              <a:schemeClr val="tx2">
                <a:lumMod val="75000"/>
              </a:schemeClr>
            </a:solidFill>
          </p:grpSpPr>
          <p:sp>
            <p:nvSpPr>
              <p:cNvPr id="136" name="Oval 98"/>
              <p:cNvSpPr>
                <a:spLocks noChangeArrowheads="1"/>
              </p:cNvSpPr>
              <p:nvPr/>
            </p:nvSpPr>
            <p:spPr bwMode="auto">
              <a:xfrm>
                <a:off x="6291263" y="1668463"/>
                <a:ext cx="73025" cy="73025"/>
              </a:xfrm>
              <a:prstGeom prst="ellipse">
                <a:avLst/>
              </a:prstGeom>
              <a:grpFill/>
              <a:ln w="9525">
                <a:noFill/>
                <a:round/>
              </a:ln>
            </p:spPr>
            <p:txBody>
              <a:bodyPr vert="horz" wrap="square" lIns="91440" tIns="45720" rIns="91440" bIns="45720" numCol="1" anchor="t" anchorCtr="0" compatLnSpc="1"/>
              <a:lstStyle/>
              <a:p>
                <a:endParaRPr lang="en-US">
                  <a:latin typeface="+mn-ea"/>
                </a:endParaRPr>
              </a:p>
            </p:txBody>
          </p:sp>
          <p:sp>
            <p:nvSpPr>
              <p:cNvPr id="137" name="Freeform 99"/>
              <p:cNvSpPr/>
              <p:nvPr/>
            </p:nvSpPr>
            <p:spPr bwMode="auto">
              <a:xfrm>
                <a:off x="6213475" y="1757363"/>
                <a:ext cx="227013" cy="398462"/>
              </a:xfrm>
              <a:custGeom>
                <a:avLst/>
                <a:gdLst/>
                <a:ahLst/>
                <a:cxnLst>
                  <a:cxn ang="0">
                    <a:pos x="87" y="56"/>
                  </a:cxn>
                  <a:cxn ang="0">
                    <a:pos x="71" y="9"/>
                  </a:cxn>
                  <a:cxn ang="0">
                    <a:pos x="61" y="0"/>
                  </a:cxn>
                  <a:cxn ang="0">
                    <a:pos x="26" y="0"/>
                  </a:cxn>
                  <a:cxn ang="0">
                    <a:pos x="18" y="4"/>
                  </a:cxn>
                  <a:cxn ang="0">
                    <a:pos x="17" y="6"/>
                  </a:cxn>
                  <a:cxn ang="0">
                    <a:pos x="17" y="6"/>
                  </a:cxn>
                  <a:cxn ang="0">
                    <a:pos x="16" y="7"/>
                  </a:cxn>
                  <a:cxn ang="0">
                    <a:pos x="1" y="56"/>
                  </a:cxn>
                  <a:cxn ang="0">
                    <a:pos x="5" y="64"/>
                  </a:cxn>
                  <a:cxn ang="0">
                    <a:pos x="13" y="60"/>
                  </a:cxn>
                  <a:cxn ang="0">
                    <a:pos x="25" y="21"/>
                  </a:cxn>
                  <a:cxn ang="0">
                    <a:pos x="26" y="21"/>
                  </a:cxn>
                  <a:cxn ang="0">
                    <a:pos x="27" y="21"/>
                  </a:cxn>
                  <a:cxn ang="0">
                    <a:pos x="9" y="91"/>
                  </a:cxn>
                  <a:cxn ang="0">
                    <a:pos x="28" y="91"/>
                  </a:cxn>
                  <a:cxn ang="0">
                    <a:pos x="28" y="146"/>
                  </a:cxn>
                  <a:cxn ang="0">
                    <a:pos x="35" y="153"/>
                  </a:cxn>
                  <a:cxn ang="0">
                    <a:pos x="42" y="146"/>
                  </a:cxn>
                  <a:cxn ang="0">
                    <a:pos x="42" y="91"/>
                  </a:cxn>
                  <a:cxn ang="0">
                    <a:pos x="46" y="91"/>
                  </a:cxn>
                  <a:cxn ang="0">
                    <a:pos x="46" y="146"/>
                  </a:cxn>
                  <a:cxn ang="0">
                    <a:pos x="54" y="153"/>
                  </a:cxn>
                  <a:cxn ang="0">
                    <a:pos x="61" y="146"/>
                  </a:cxn>
                  <a:cxn ang="0">
                    <a:pos x="61" y="91"/>
                  </a:cxn>
                  <a:cxn ang="0">
                    <a:pos x="80" y="91"/>
                  </a:cxn>
                  <a:cxn ang="0">
                    <a:pos x="60" y="21"/>
                  </a:cxn>
                  <a:cxn ang="0">
                    <a:pos x="61" y="21"/>
                  </a:cxn>
                  <a:cxn ang="0">
                    <a:pos x="62" y="21"/>
                  </a:cxn>
                  <a:cxn ang="0">
                    <a:pos x="75" y="60"/>
                  </a:cxn>
                  <a:cxn ang="0">
                    <a:pos x="83" y="64"/>
                  </a:cxn>
                  <a:cxn ang="0">
                    <a:pos x="87" y="56"/>
                  </a:cxn>
                </a:cxnLst>
                <a:rect l="0" t="0" r="r" b="b"/>
                <a:pathLst>
                  <a:path w="88" h="153">
                    <a:moveTo>
                      <a:pt x="87" y="56"/>
                    </a:moveTo>
                    <a:cubicBezTo>
                      <a:pt x="71" y="9"/>
                      <a:pt x="71" y="9"/>
                      <a:pt x="71" y="9"/>
                    </a:cubicBezTo>
                    <a:cubicBezTo>
                      <a:pt x="71" y="4"/>
                      <a:pt x="67" y="0"/>
                      <a:pt x="61" y="0"/>
                    </a:cubicBezTo>
                    <a:cubicBezTo>
                      <a:pt x="26" y="0"/>
                      <a:pt x="26" y="0"/>
                      <a:pt x="26" y="0"/>
                    </a:cubicBezTo>
                    <a:cubicBezTo>
                      <a:pt x="23" y="0"/>
                      <a:pt x="19" y="1"/>
                      <a:pt x="18" y="4"/>
                    </a:cubicBezTo>
                    <a:cubicBezTo>
                      <a:pt x="17" y="5"/>
                      <a:pt x="17" y="5"/>
                      <a:pt x="17" y="6"/>
                    </a:cubicBezTo>
                    <a:cubicBezTo>
                      <a:pt x="17" y="6"/>
                      <a:pt x="17" y="6"/>
                      <a:pt x="17" y="6"/>
                    </a:cubicBezTo>
                    <a:cubicBezTo>
                      <a:pt x="17" y="7"/>
                      <a:pt x="16" y="7"/>
                      <a:pt x="16" y="7"/>
                    </a:cubicBezTo>
                    <a:cubicBezTo>
                      <a:pt x="1" y="56"/>
                      <a:pt x="1" y="56"/>
                      <a:pt x="1" y="56"/>
                    </a:cubicBezTo>
                    <a:cubicBezTo>
                      <a:pt x="0" y="60"/>
                      <a:pt x="2" y="63"/>
                      <a:pt x="5" y="64"/>
                    </a:cubicBezTo>
                    <a:cubicBezTo>
                      <a:pt x="8" y="65"/>
                      <a:pt x="12" y="63"/>
                      <a:pt x="13" y="60"/>
                    </a:cubicBezTo>
                    <a:cubicBezTo>
                      <a:pt x="25" y="21"/>
                      <a:pt x="25" y="21"/>
                      <a:pt x="25" y="21"/>
                    </a:cubicBezTo>
                    <a:cubicBezTo>
                      <a:pt x="25" y="21"/>
                      <a:pt x="26" y="21"/>
                      <a:pt x="26" y="21"/>
                    </a:cubicBezTo>
                    <a:cubicBezTo>
                      <a:pt x="27" y="21"/>
                      <a:pt x="27" y="21"/>
                      <a:pt x="27" y="21"/>
                    </a:cubicBezTo>
                    <a:cubicBezTo>
                      <a:pt x="9" y="91"/>
                      <a:pt x="9" y="91"/>
                      <a:pt x="9" y="91"/>
                    </a:cubicBezTo>
                    <a:cubicBezTo>
                      <a:pt x="28" y="91"/>
                      <a:pt x="28" y="91"/>
                      <a:pt x="28" y="91"/>
                    </a:cubicBezTo>
                    <a:cubicBezTo>
                      <a:pt x="28" y="146"/>
                      <a:pt x="28" y="146"/>
                      <a:pt x="28" y="146"/>
                    </a:cubicBezTo>
                    <a:cubicBezTo>
                      <a:pt x="28" y="150"/>
                      <a:pt x="31" y="153"/>
                      <a:pt x="35" y="153"/>
                    </a:cubicBezTo>
                    <a:cubicBezTo>
                      <a:pt x="39" y="153"/>
                      <a:pt x="42" y="150"/>
                      <a:pt x="42" y="146"/>
                    </a:cubicBezTo>
                    <a:cubicBezTo>
                      <a:pt x="42" y="91"/>
                      <a:pt x="42" y="91"/>
                      <a:pt x="42" y="91"/>
                    </a:cubicBezTo>
                    <a:cubicBezTo>
                      <a:pt x="46" y="91"/>
                      <a:pt x="46" y="91"/>
                      <a:pt x="46" y="91"/>
                    </a:cubicBezTo>
                    <a:cubicBezTo>
                      <a:pt x="46" y="146"/>
                      <a:pt x="46" y="146"/>
                      <a:pt x="46" y="146"/>
                    </a:cubicBezTo>
                    <a:cubicBezTo>
                      <a:pt x="46" y="150"/>
                      <a:pt x="50" y="153"/>
                      <a:pt x="54" y="153"/>
                    </a:cubicBezTo>
                    <a:cubicBezTo>
                      <a:pt x="58" y="153"/>
                      <a:pt x="61" y="150"/>
                      <a:pt x="61" y="146"/>
                    </a:cubicBezTo>
                    <a:cubicBezTo>
                      <a:pt x="61" y="91"/>
                      <a:pt x="61" y="91"/>
                      <a:pt x="61" y="91"/>
                    </a:cubicBezTo>
                    <a:cubicBezTo>
                      <a:pt x="80" y="91"/>
                      <a:pt x="80" y="91"/>
                      <a:pt x="80" y="91"/>
                    </a:cubicBezTo>
                    <a:cubicBezTo>
                      <a:pt x="60" y="21"/>
                      <a:pt x="60" y="21"/>
                      <a:pt x="60" y="21"/>
                    </a:cubicBezTo>
                    <a:cubicBezTo>
                      <a:pt x="61" y="21"/>
                      <a:pt x="61" y="21"/>
                      <a:pt x="61" y="21"/>
                    </a:cubicBezTo>
                    <a:cubicBezTo>
                      <a:pt x="62" y="21"/>
                      <a:pt x="62" y="21"/>
                      <a:pt x="62" y="21"/>
                    </a:cubicBezTo>
                    <a:cubicBezTo>
                      <a:pt x="75" y="60"/>
                      <a:pt x="75" y="60"/>
                      <a:pt x="75" y="60"/>
                    </a:cubicBezTo>
                    <a:cubicBezTo>
                      <a:pt x="77" y="63"/>
                      <a:pt x="80" y="65"/>
                      <a:pt x="83" y="64"/>
                    </a:cubicBezTo>
                    <a:cubicBezTo>
                      <a:pt x="87" y="63"/>
                      <a:pt x="88" y="59"/>
                      <a:pt x="87" y="5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grpSp>
      <p:grpSp>
        <p:nvGrpSpPr>
          <p:cNvPr id="144" name="Group 143"/>
          <p:cNvGrpSpPr/>
          <p:nvPr/>
        </p:nvGrpSpPr>
        <p:grpSpPr>
          <a:xfrm>
            <a:off x="8941357" y="1843098"/>
            <a:ext cx="2216865" cy="1222548"/>
            <a:chOff x="6706294" y="1382323"/>
            <a:chExt cx="1662865" cy="916911"/>
          </a:xfrm>
        </p:grpSpPr>
        <p:sp>
          <p:nvSpPr>
            <p:cNvPr id="139" name="Rectangular Callout 138"/>
            <p:cNvSpPr/>
            <p:nvPr/>
          </p:nvSpPr>
          <p:spPr>
            <a:xfrm flipH="1">
              <a:off x="6706294" y="1419609"/>
              <a:ext cx="1662865" cy="864105"/>
            </a:xfrm>
            <a:prstGeom prst="wedgeRectCallout">
              <a:avLst>
                <a:gd name="adj1" fmla="val -31515"/>
                <a:gd name="adj2" fmla="val 92483"/>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nvGrpSpPr>
            <p:cNvPr id="140" name="Group 139"/>
            <p:cNvGrpSpPr/>
            <p:nvPr/>
          </p:nvGrpSpPr>
          <p:grpSpPr>
            <a:xfrm>
              <a:off x="7104574" y="1382323"/>
              <a:ext cx="866304" cy="916911"/>
              <a:chOff x="1205286" y="1362002"/>
              <a:chExt cx="866304" cy="916911"/>
            </a:xfrm>
          </p:grpSpPr>
          <p:graphicFrame>
            <p:nvGraphicFramePr>
              <p:cNvPr id="141" name="Chart 140"/>
              <p:cNvGraphicFramePr/>
              <p:nvPr/>
            </p:nvGraphicFramePr>
            <p:xfrm>
              <a:off x="1205286" y="1362002"/>
              <a:ext cx="866304" cy="916911"/>
            </p:xfrm>
            <a:graphic>
              <a:graphicData uri="http://schemas.openxmlformats.org/drawingml/2006/chart">
                <c:chart xmlns:c="http://schemas.openxmlformats.org/drawingml/2006/chart" xmlns:r="http://schemas.openxmlformats.org/officeDocument/2006/relationships" r:id="rId4"/>
              </a:graphicData>
            </a:graphic>
          </p:graphicFrame>
          <p:sp>
            <p:nvSpPr>
              <p:cNvPr id="142" name="TextBox 141"/>
              <p:cNvSpPr txBox="1"/>
              <p:nvPr/>
            </p:nvSpPr>
            <p:spPr>
              <a:xfrm>
                <a:off x="1459194" y="1732488"/>
                <a:ext cx="358489" cy="184666"/>
              </a:xfrm>
              <a:prstGeom prst="rect">
                <a:avLst/>
              </a:prstGeom>
              <a:noFill/>
            </p:spPr>
            <p:txBody>
              <a:bodyPr wrap="square" lIns="0" tIns="0" rIns="0" bIns="0" rtlCol="0">
                <a:spAutoFit/>
              </a:bodyPr>
              <a:lstStyle/>
              <a:p>
                <a:pPr algn="ctr"/>
                <a:r>
                  <a:rPr lang="en-US" sz="1600" b="1" dirty="0">
                    <a:solidFill>
                      <a:schemeClr val="bg1"/>
                    </a:solidFill>
                    <a:latin typeface="+mn-ea"/>
                  </a:rPr>
                  <a:t>50%</a:t>
                </a:r>
              </a:p>
            </p:txBody>
          </p:sp>
        </p:grpSp>
      </p:grpSp>
      <p:sp>
        <p:nvSpPr>
          <p:cNvPr id="143" name="TextBox 142"/>
          <p:cNvSpPr txBox="1"/>
          <p:nvPr/>
        </p:nvSpPr>
        <p:spPr>
          <a:xfrm>
            <a:off x="9385988" y="5118806"/>
            <a:ext cx="1630577" cy="492443"/>
          </a:xfrm>
          <a:prstGeom prst="rect">
            <a:avLst/>
          </a:prstGeom>
          <a:noFill/>
        </p:spPr>
        <p:txBody>
          <a:bodyPr wrap="none" lIns="0" tIns="0" rIns="0" bIns="0" rtlCol="0">
            <a:spAutoFit/>
          </a:bodyPr>
          <a:lstStyle/>
          <a:p>
            <a:pPr algn="ctr"/>
            <a:r>
              <a:rPr lang="en-US" sz="3200" b="1" dirty="0">
                <a:solidFill>
                  <a:schemeClr val="tx2">
                    <a:lumMod val="75000"/>
                  </a:schemeClr>
                </a:solidFill>
                <a:latin typeface="+mn-ea"/>
              </a:rPr>
              <a:t>122,584</a:t>
            </a:r>
          </a:p>
        </p:txBody>
      </p:sp>
      <p:grpSp>
        <p:nvGrpSpPr>
          <p:cNvPr id="57" name="组合 56"/>
          <p:cNvGrpSpPr/>
          <p:nvPr/>
        </p:nvGrpSpPr>
        <p:grpSpPr>
          <a:xfrm>
            <a:off x="3695810" y="1739195"/>
            <a:ext cx="402121" cy="401104"/>
            <a:chOff x="-959970" y="1422605"/>
            <a:chExt cx="596900" cy="595313"/>
          </a:xfrm>
        </p:grpSpPr>
        <p:sp>
          <p:nvSpPr>
            <p:cNvPr id="58" name="Oval 77"/>
            <p:cNvSpPr>
              <a:spLocks noChangeArrowheads="1"/>
            </p:cNvSpPr>
            <p:nvPr/>
          </p:nvSpPr>
          <p:spPr bwMode="auto">
            <a:xfrm>
              <a:off x="-959970" y="1422605"/>
              <a:ext cx="596900" cy="595313"/>
            </a:xfrm>
            <a:prstGeom prst="ellipse">
              <a:avLst/>
            </a:prstGeom>
            <a:solidFill>
              <a:schemeClr val="tx2">
                <a:lumMod val="75000"/>
              </a:schemeClr>
            </a:solidFill>
            <a:ln>
              <a:noFill/>
            </a:ln>
          </p:spPr>
          <p:txBody>
            <a:bodyPr vert="horz" wrap="square" lIns="91440" tIns="45720" rIns="91440" bIns="45720" numCol="1" anchor="t" anchorCtr="0" compatLnSpc="1"/>
            <a:lstStyle/>
            <a:p>
              <a:endParaRPr lang="en-US">
                <a:latin typeface="+mn-ea"/>
              </a:endParaRPr>
            </a:p>
          </p:txBody>
        </p:sp>
        <p:sp>
          <p:nvSpPr>
            <p:cNvPr id="59" name="Freeform 309"/>
            <p:cNvSpPr/>
            <p:nvPr/>
          </p:nvSpPr>
          <p:spPr bwMode="auto">
            <a:xfrm>
              <a:off x="-817095" y="1563892"/>
              <a:ext cx="303213" cy="306388"/>
            </a:xfrm>
            <a:custGeom>
              <a:avLst/>
              <a:gdLst>
                <a:gd name="T0" fmla="*/ 191 w 191"/>
                <a:gd name="T1" fmla="*/ 66 h 193"/>
                <a:gd name="T2" fmla="*/ 126 w 191"/>
                <a:gd name="T3" fmla="*/ 66 h 193"/>
                <a:gd name="T4" fmla="*/ 126 w 191"/>
                <a:gd name="T5" fmla="*/ 0 h 193"/>
                <a:gd name="T6" fmla="*/ 65 w 191"/>
                <a:gd name="T7" fmla="*/ 0 h 193"/>
                <a:gd name="T8" fmla="*/ 65 w 191"/>
                <a:gd name="T9" fmla="*/ 66 h 193"/>
                <a:gd name="T10" fmla="*/ 0 w 191"/>
                <a:gd name="T11" fmla="*/ 66 h 193"/>
                <a:gd name="T12" fmla="*/ 0 w 191"/>
                <a:gd name="T13" fmla="*/ 126 h 193"/>
                <a:gd name="T14" fmla="*/ 65 w 191"/>
                <a:gd name="T15" fmla="*/ 126 h 193"/>
                <a:gd name="T16" fmla="*/ 65 w 191"/>
                <a:gd name="T17" fmla="*/ 193 h 193"/>
                <a:gd name="T18" fmla="*/ 126 w 191"/>
                <a:gd name="T19" fmla="*/ 193 h 193"/>
                <a:gd name="T20" fmla="*/ 126 w 191"/>
                <a:gd name="T21" fmla="*/ 126 h 193"/>
                <a:gd name="T22" fmla="*/ 191 w 191"/>
                <a:gd name="T23" fmla="*/ 126 h 193"/>
                <a:gd name="T24" fmla="*/ 191 w 191"/>
                <a:gd name="T25" fmla="*/ 6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93">
                  <a:moveTo>
                    <a:pt x="191" y="66"/>
                  </a:moveTo>
                  <a:lnTo>
                    <a:pt x="126" y="66"/>
                  </a:lnTo>
                  <a:lnTo>
                    <a:pt x="126" y="0"/>
                  </a:lnTo>
                  <a:lnTo>
                    <a:pt x="65" y="0"/>
                  </a:lnTo>
                  <a:lnTo>
                    <a:pt x="65" y="66"/>
                  </a:lnTo>
                  <a:lnTo>
                    <a:pt x="0" y="66"/>
                  </a:lnTo>
                  <a:lnTo>
                    <a:pt x="0" y="126"/>
                  </a:lnTo>
                  <a:lnTo>
                    <a:pt x="65" y="126"/>
                  </a:lnTo>
                  <a:lnTo>
                    <a:pt x="65" y="193"/>
                  </a:lnTo>
                  <a:lnTo>
                    <a:pt x="126" y="193"/>
                  </a:lnTo>
                  <a:lnTo>
                    <a:pt x="126" y="126"/>
                  </a:lnTo>
                  <a:lnTo>
                    <a:pt x="191" y="126"/>
                  </a:lnTo>
                  <a:lnTo>
                    <a:pt x="191" y="66"/>
                  </a:lnTo>
                  <a:close/>
                </a:path>
              </a:pathLst>
            </a:custGeom>
            <a:solidFill>
              <a:schemeClr val="bg1"/>
            </a:solidFill>
            <a:ln>
              <a:noFill/>
            </a:ln>
          </p:spPr>
          <p:txBody>
            <a:bodyPr vert="horz" wrap="square" lIns="91440" tIns="45720" rIns="91440" bIns="45720" numCol="1" anchor="t" anchorCtr="0" compatLnSpc="1"/>
            <a:lstStyle/>
            <a:p>
              <a:endParaRPr lang="en-US">
                <a:latin typeface="+mn-ea"/>
              </a:endParaRPr>
            </a:p>
          </p:txBody>
        </p:sp>
      </p:grpSp>
      <p:grpSp>
        <p:nvGrpSpPr>
          <p:cNvPr id="61" name="组合 60"/>
          <p:cNvGrpSpPr/>
          <p:nvPr/>
        </p:nvGrpSpPr>
        <p:grpSpPr>
          <a:xfrm>
            <a:off x="3693137" y="2742724"/>
            <a:ext cx="402121" cy="401104"/>
            <a:chOff x="-959970" y="1422605"/>
            <a:chExt cx="596900" cy="595313"/>
          </a:xfrm>
        </p:grpSpPr>
        <p:sp>
          <p:nvSpPr>
            <p:cNvPr id="63" name="Oval 77"/>
            <p:cNvSpPr>
              <a:spLocks noChangeArrowheads="1"/>
            </p:cNvSpPr>
            <p:nvPr/>
          </p:nvSpPr>
          <p:spPr bwMode="auto">
            <a:xfrm>
              <a:off x="-959970" y="1422605"/>
              <a:ext cx="596900" cy="595313"/>
            </a:xfrm>
            <a:prstGeom prst="ellipse">
              <a:avLst/>
            </a:prstGeom>
            <a:solidFill>
              <a:schemeClr val="bg2"/>
            </a:solidFill>
            <a:ln>
              <a:noFill/>
            </a:ln>
          </p:spPr>
          <p:txBody>
            <a:bodyPr vert="horz" wrap="square" lIns="91440" tIns="45720" rIns="91440" bIns="45720" numCol="1" anchor="t" anchorCtr="0" compatLnSpc="1"/>
            <a:lstStyle/>
            <a:p>
              <a:endParaRPr lang="en-US">
                <a:latin typeface="+mn-ea"/>
              </a:endParaRPr>
            </a:p>
          </p:txBody>
        </p:sp>
        <p:sp>
          <p:nvSpPr>
            <p:cNvPr id="65" name="Freeform 309"/>
            <p:cNvSpPr/>
            <p:nvPr/>
          </p:nvSpPr>
          <p:spPr bwMode="auto">
            <a:xfrm>
              <a:off x="-817095" y="1563892"/>
              <a:ext cx="303213" cy="306388"/>
            </a:xfrm>
            <a:custGeom>
              <a:avLst/>
              <a:gdLst>
                <a:gd name="T0" fmla="*/ 191 w 191"/>
                <a:gd name="T1" fmla="*/ 66 h 193"/>
                <a:gd name="T2" fmla="*/ 126 w 191"/>
                <a:gd name="T3" fmla="*/ 66 h 193"/>
                <a:gd name="T4" fmla="*/ 126 w 191"/>
                <a:gd name="T5" fmla="*/ 0 h 193"/>
                <a:gd name="T6" fmla="*/ 65 w 191"/>
                <a:gd name="T7" fmla="*/ 0 h 193"/>
                <a:gd name="T8" fmla="*/ 65 w 191"/>
                <a:gd name="T9" fmla="*/ 66 h 193"/>
                <a:gd name="T10" fmla="*/ 0 w 191"/>
                <a:gd name="T11" fmla="*/ 66 h 193"/>
                <a:gd name="T12" fmla="*/ 0 w 191"/>
                <a:gd name="T13" fmla="*/ 126 h 193"/>
                <a:gd name="T14" fmla="*/ 65 w 191"/>
                <a:gd name="T15" fmla="*/ 126 h 193"/>
                <a:gd name="T16" fmla="*/ 65 w 191"/>
                <a:gd name="T17" fmla="*/ 193 h 193"/>
                <a:gd name="T18" fmla="*/ 126 w 191"/>
                <a:gd name="T19" fmla="*/ 193 h 193"/>
                <a:gd name="T20" fmla="*/ 126 w 191"/>
                <a:gd name="T21" fmla="*/ 126 h 193"/>
                <a:gd name="T22" fmla="*/ 191 w 191"/>
                <a:gd name="T23" fmla="*/ 126 h 193"/>
                <a:gd name="T24" fmla="*/ 191 w 191"/>
                <a:gd name="T25" fmla="*/ 6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93">
                  <a:moveTo>
                    <a:pt x="191" y="66"/>
                  </a:moveTo>
                  <a:lnTo>
                    <a:pt x="126" y="66"/>
                  </a:lnTo>
                  <a:lnTo>
                    <a:pt x="126" y="0"/>
                  </a:lnTo>
                  <a:lnTo>
                    <a:pt x="65" y="0"/>
                  </a:lnTo>
                  <a:lnTo>
                    <a:pt x="65" y="66"/>
                  </a:lnTo>
                  <a:lnTo>
                    <a:pt x="0" y="66"/>
                  </a:lnTo>
                  <a:lnTo>
                    <a:pt x="0" y="126"/>
                  </a:lnTo>
                  <a:lnTo>
                    <a:pt x="65" y="126"/>
                  </a:lnTo>
                  <a:lnTo>
                    <a:pt x="65" y="193"/>
                  </a:lnTo>
                  <a:lnTo>
                    <a:pt x="126" y="193"/>
                  </a:lnTo>
                  <a:lnTo>
                    <a:pt x="126" y="126"/>
                  </a:lnTo>
                  <a:lnTo>
                    <a:pt x="191" y="126"/>
                  </a:lnTo>
                  <a:lnTo>
                    <a:pt x="191" y="66"/>
                  </a:lnTo>
                  <a:close/>
                </a:path>
              </a:pathLst>
            </a:custGeom>
            <a:solidFill>
              <a:schemeClr val="bg1"/>
            </a:solidFill>
            <a:ln>
              <a:noFill/>
            </a:ln>
          </p:spPr>
          <p:txBody>
            <a:bodyPr vert="horz" wrap="square" lIns="91440" tIns="45720" rIns="91440" bIns="45720" numCol="1" anchor="t" anchorCtr="0" compatLnSpc="1"/>
            <a:lstStyle/>
            <a:p>
              <a:endParaRPr lang="en-US">
                <a:latin typeface="+mn-ea"/>
              </a:endParaRPr>
            </a:p>
          </p:txBody>
        </p:sp>
      </p:grpSp>
      <p:grpSp>
        <p:nvGrpSpPr>
          <p:cNvPr id="69" name="组合 68"/>
          <p:cNvGrpSpPr/>
          <p:nvPr/>
        </p:nvGrpSpPr>
        <p:grpSpPr>
          <a:xfrm>
            <a:off x="3693137" y="3828059"/>
            <a:ext cx="402121" cy="401104"/>
            <a:chOff x="-959970" y="1422605"/>
            <a:chExt cx="596900" cy="595313"/>
          </a:xfrm>
        </p:grpSpPr>
        <p:sp>
          <p:nvSpPr>
            <p:cNvPr id="70" name="Oval 77"/>
            <p:cNvSpPr>
              <a:spLocks noChangeArrowheads="1"/>
            </p:cNvSpPr>
            <p:nvPr/>
          </p:nvSpPr>
          <p:spPr bwMode="auto">
            <a:xfrm>
              <a:off x="-959970" y="1422605"/>
              <a:ext cx="596900" cy="595313"/>
            </a:xfrm>
            <a:prstGeom prst="ellipse">
              <a:avLst/>
            </a:prstGeom>
            <a:solidFill>
              <a:schemeClr val="accent1"/>
            </a:solidFill>
            <a:ln>
              <a:noFill/>
            </a:ln>
          </p:spPr>
          <p:txBody>
            <a:bodyPr vert="horz" wrap="square" lIns="91440" tIns="45720" rIns="91440" bIns="45720" numCol="1" anchor="t" anchorCtr="0" compatLnSpc="1"/>
            <a:lstStyle/>
            <a:p>
              <a:endParaRPr lang="en-US">
                <a:latin typeface="+mn-ea"/>
              </a:endParaRPr>
            </a:p>
          </p:txBody>
        </p:sp>
        <p:sp>
          <p:nvSpPr>
            <p:cNvPr id="71" name="Freeform 309"/>
            <p:cNvSpPr/>
            <p:nvPr/>
          </p:nvSpPr>
          <p:spPr bwMode="auto">
            <a:xfrm>
              <a:off x="-817095" y="1563892"/>
              <a:ext cx="303213" cy="306388"/>
            </a:xfrm>
            <a:custGeom>
              <a:avLst/>
              <a:gdLst>
                <a:gd name="T0" fmla="*/ 191 w 191"/>
                <a:gd name="T1" fmla="*/ 66 h 193"/>
                <a:gd name="T2" fmla="*/ 126 w 191"/>
                <a:gd name="T3" fmla="*/ 66 h 193"/>
                <a:gd name="T4" fmla="*/ 126 w 191"/>
                <a:gd name="T5" fmla="*/ 0 h 193"/>
                <a:gd name="T6" fmla="*/ 65 w 191"/>
                <a:gd name="T7" fmla="*/ 0 h 193"/>
                <a:gd name="T8" fmla="*/ 65 w 191"/>
                <a:gd name="T9" fmla="*/ 66 h 193"/>
                <a:gd name="T10" fmla="*/ 0 w 191"/>
                <a:gd name="T11" fmla="*/ 66 h 193"/>
                <a:gd name="T12" fmla="*/ 0 w 191"/>
                <a:gd name="T13" fmla="*/ 126 h 193"/>
                <a:gd name="T14" fmla="*/ 65 w 191"/>
                <a:gd name="T15" fmla="*/ 126 h 193"/>
                <a:gd name="T16" fmla="*/ 65 w 191"/>
                <a:gd name="T17" fmla="*/ 193 h 193"/>
                <a:gd name="T18" fmla="*/ 126 w 191"/>
                <a:gd name="T19" fmla="*/ 193 h 193"/>
                <a:gd name="T20" fmla="*/ 126 w 191"/>
                <a:gd name="T21" fmla="*/ 126 h 193"/>
                <a:gd name="T22" fmla="*/ 191 w 191"/>
                <a:gd name="T23" fmla="*/ 126 h 193"/>
                <a:gd name="T24" fmla="*/ 191 w 191"/>
                <a:gd name="T25" fmla="*/ 6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93">
                  <a:moveTo>
                    <a:pt x="191" y="66"/>
                  </a:moveTo>
                  <a:lnTo>
                    <a:pt x="126" y="66"/>
                  </a:lnTo>
                  <a:lnTo>
                    <a:pt x="126" y="0"/>
                  </a:lnTo>
                  <a:lnTo>
                    <a:pt x="65" y="0"/>
                  </a:lnTo>
                  <a:lnTo>
                    <a:pt x="65" y="66"/>
                  </a:lnTo>
                  <a:lnTo>
                    <a:pt x="0" y="66"/>
                  </a:lnTo>
                  <a:lnTo>
                    <a:pt x="0" y="126"/>
                  </a:lnTo>
                  <a:lnTo>
                    <a:pt x="65" y="126"/>
                  </a:lnTo>
                  <a:lnTo>
                    <a:pt x="65" y="193"/>
                  </a:lnTo>
                  <a:lnTo>
                    <a:pt x="126" y="193"/>
                  </a:lnTo>
                  <a:lnTo>
                    <a:pt x="126" y="126"/>
                  </a:lnTo>
                  <a:lnTo>
                    <a:pt x="191" y="126"/>
                  </a:lnTo>
                  <a:lnTo>
                    <a:pt x="191" y="66"/>
                  </a:lnTo>
                  <a:close/>
                </a:path>
              </a:pathLst>
            </a:custGeom>
            <a:solidFill>
              <a:schemeClr val="bg1"/>
            </a:solidFill>
            <a:ln>
              <a:noFill/>
            </a:ln>
          </p:spPr>
          <p:txBody>
            <a:bodyPr vert="horz" wrap="square" lIns="91440" tIns="45720" rIns="91440" bIns="45720" numCol="1" anchor="t" anchorCtr="0" compatLnSpc="1"/>
            <a:lstStyle/>
            <a:p>
              <a:endParaRPr lang="en-US">
                <a:latin typeface="+mn-ea"/>
              </a:endParaRPr>
            </a:p>
          </p:txBody>
        </p:sp>
      </p:grpSp>
      <p:grpSp>
        <p:nvGrpSpPr>
          <p:cNvPr id="72" name="组合 71"/>
          <p:cNvGrpSpPr/>
          <p:nvPr/>
        </p:nvGrpSpPr>
        <p:grpSpPr>
          <a:xfrm>
            <a:off x="3693137" y="4794743"/>
            <a:ext cx="402121" cy="401104"/>
            <a:chOff x="-959970" y="1422605"/>
            <a:chExt cx="596900" cy="595313"/>
          </a:xfrm>
        </p:grpSpPr>
        <p:sp>
          <p:nvSpPr>
            <p:cNvPr id="73" name="Oval 77"/>
            <p:cNvSpPr>
              <a:spLocks noChangeArrowheads="1"/>
            </p:cNvSpPr>
            <p:nvPr/>
          </p:nvSpPr>
          <p:spPr bwMode="auto">
            <a:xfrm>
              <a:off x="-959970" y="1422605"/>
              <a:ext cx="596900" cy="595313"/>
            </a:xfrm>
            <a:prstGeom prst="ellipse">
              <a:avLst/>
            </a:prstGeom>
            <a:solidFill>
              <a:schemeClr val="accent3"/>
            </a:solidFill>
            <a:ln>
              <a:noFill/>
            </a:ln>
          </p:spPr>
          <p:txBody>
            <a:bodyPr vert="horz" wrap="square" lIns="91440" tIns="45720" rIns="91440" bIns="45720" numCol="1" anchor="t" anchorCtr="0" compatLnSpc="1"/>
            <a:lstStyle/>
            <a:p>
              <a:endParaRPr lang="en-US">
                <a:latin typeface="+mn-ea"/>
              </a:endParaRPr>
            </a:p>
          </p:txBody>
        </p:sp>
        <p:sp>
          <p:nvSpPr>
            <p:cNvPr id="74" name="Freeform 309"/>
            <p:cNvSpPr/>
            <p:nvPr/>
          </p:nvSpPr>
          <p:spPr bwMode="auto">
            <a:xfrm>
              <a:off x="-817095" y="1563892"/>
              <a:ext cx="303213" cy="306388"/>
            </a:xfrm>
            <a:custGeom>
              <a:avLst/>
              <a:gdLst>
                <a:gd name="T0" fmla="*/ 191 w 191"/>
                <a:gd name="T1" fmla="*/ 66 h 193"/>
                <a:gd name="T2" fmla="*/ 126 w 191"/>
                <a:gd name="T3" fmla="*/ 66 h 193"/>
                <a:gd name="T4" fmla="*/ 126 w 191"/>
                <a:gd name="T5" fmla="*/ 0 h 193"/>
                <a:gd name="T6" fmla="*/ 65 w 191"/>
                <a:gd name="T7" fmla="*/ 0 h 193"/>
                <a:gd name="T8" fmla="*/ 65 w 191"/>
                <a:gd name="T9" fmla="*/ 66 h 193"/>
                <a:gd name="T10" fmla="*/ 0 w 191"/>
                <a:gd name="T11" fmla="*/ 66 h 193"/>
                <a:gd name="T12" fmla="*/ 0 w 191"/>
                <a:gd name="T13" fmla="*/ 126 h 193"/>
                <a:gd name="T14" fmla="*/ 65 w 191"/>
                <a:gd name="T15" fmla="*/ 126 h 193"/>
                <a:gd name="T16" fmla="*/ 65 w 191"/>
                <a:gd name="T17" fmla="*/ 193 h 193"/>
                <a:gd name="T18" fmla="*/ 126 w 191"/>
                <a:gd name="T19" fmla="*/ 193 h 193"/>
                <a:gd name="T20" fmla="*/ 126 w 191"/>
                <a:gd name="T21" fmla="*/ 126 h 193"/>
                <a:gd name="T22" fmla="*/ 191 w 191"/>
                <a:gd name="T23" fmla="*/ 126 h 193"/>
                <a:gd name="T24" fmla="*/ 191 w 191"/>
                <a:gd name="T25" fmla="*/ 6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93">
                  <a:moveTo>
                    <a:pt x="191" y="66"/>
                  </a:moveTo>
                  <a:lnTo>
                    <a:pt x="126" y="66"/>
                  </a:lnTo>
                  <a:lnTo>
                    <a:pt x="126" y="0"/>
                  </a:lnTo>
                  <a:lnTo>
                    <a:pt x="65" y="0"/>
                  </a:lnTo>
                  <a:lnTo>
                    <a:pt x="65" y="66"/>
                  </a:lnTo>
                  <a:lnTo>
                    <a:pt x="0" y="66"/>
                  </a:lnTo>
                  <a:lnTo>
                    <a:pt x="0" y="126"/>
                  </a:lnTo>
                  <a:lnTo>
                    <a:pt x="65" y="126"/>
                  </a:lnTo>
                  <a:lnTo>
                    <a:pt x="65" y="193"/>
                  </a:lnTo>
                  <a:lnTo>
                    <a:pt x="126" y="193"/>
                  </a:lnTo>
                  <a:lnTo>
                    <a:pt x="126" y="126"/>
                  </a:lnTo>
                  <a:lnTo>
                    <a:pt x="191" y="126"/>
                  </a:lnTo>
                  <a:lnTo>
                    <a:pt x="191" y="66"/>
                  </a:lnTo>
                  <a:close/>
                </a:path>
              </a:pathLst>
            </a:custGeom>
            <a:solidFill>
              <a:schemeClr val="bg1"/>
            </a:solidFill>
            <a:ln>
              <a:noFill/>
            </a:ln>
          </p:spPr>
          <p:txBody>
            <a:bodyPr vert="horz" wrap="square" lIns="91440" tIns="45720" rIns="91440" bIns="45720" numCol="1" anchor="t" anchorCtr="0" compatLnSpc="1"/>
            <a:lstStyle/>
            <a:p>
              <a:endParaRPr lang="en-US">
                <a:latin typeface="+mn-ea"/>
              </a:endParaRPr>
            </a:p>
          </p:txBody>
        </p:sp>
      </p:gr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 calcmode="lin" valueType="num">
                                      <p:cBhvr additive="base">
                                        <p:cTn id="7" dur="500" fill="hold"/>
                                        <p:tgtEl>
                                          <p:spTgt spid="131"/>
                                        </p:tgtEl>
                                        <p:attrNameLst>
                                          <p:attrName>ppt_x</p:attrName>
                                        </p:attrNameLst>
                                      </p:cBhvr>
                                      <p:tavLst>
                                        <p:tav tm="0">
                                          <p:val>
                                            <p:strVal val="#ppt_x"/>
                                          </p:val>
                                        </p:tav>
                                        <p:tav tm="100000">
                                          <p:val>
                                            <p:strVal val="#ppt_x"/>
                                          </p:val>
                                        </p:tav>
                                      </p:tavLst>
                                    </p:anim>
                                    <p:anim calcmode="lin" valueType="num">
                                      <p:cBhvr additive="base">
                                        <p:cTn id="8" dur="500" fill="hold"/>
                                        <p:tgtEl>
                                          <p:spTgt spid="131"/>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2" presetClass="entr" presetSubtype="4" fill="hold" nodeType="afterEffect">
                                  <p:stCondLst>
                                    <p:cond delay="0"/>
                                  </p:stCondLst>
                                  <p:childTnLst>
                                    <p:set>
                                      <p:cBhvr>
                                        <p:cTn id="11" dur="1" fill="hold">
                                          <p:stCondLst>
                                            <p:cond delay="0"/>
                                          </p:stCondLst>
                                        </p:cTn>
                                        <p:tgtEl>
                                          <p:spTgt spid="130"/>
                                        </p:tgtEl>
                                        <p:attrNameLst>
                                          <p:attrName>style.visibility</p:attrName>
                                        </p:attrNameLst>
                                      </p:cBhvr>
                                      <p:to>
                                        <p:strVal val="visible"/>
                                      </p:to>
                                    </p:set>
                                    <p:animEffect transition="in" filter="slide(fromBottom)">
                                      <p:cBhvr>
                                        <p:cTn id="12" dur="500"/>
                                        <p:tgtEl>
                                          <p:spTgt spid="130"/>
                                        </p:tgtEl>
                                      </p:cBhvr>
                                    </p:animEffect>
                                  </p:childTnLst>
                                </p:cTn>
                              </p:par>
                            </p:childTnLst>
                          </p:cTn>
                        </p:par>
                        <p:par>
                          <p:cTn id="13" fill="hold">
                            <p:stCondLst>
                              <p:cond delay="1000"/>
                            </p:stCondLst>
                            <p:childTnLst>
                              <p:par>
                                <p:cTn id="14" presetID="12" presetClass="entr" presetSubtype="4" fill="hold" grpId="0" nodeType="after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slide(fromBottom)">
                                      <p:cBhvr>
                                        <p:cTn id="16" dur="500"/>
                                        <p:tgtEl>
                                          <p:spTgt spid="52"/>
                                        </p:tgtEl>
                                      </p:cBhvr>
                                    </p:animEffect>
                                  </p:childTnLst>
                                </p:cTn>
                              </p:par>
                            </p:childTnLst>
                          </p:cTn>
                        </p:par>
                        <p:par>
                          <p:cTn id="17" fill="hold">
                            <p:stCondLst>
                              <p:cond delay="1500"/>
                            </p:stCondLst>
                            <p:childTnLst>
                              <p:par>
                                <p:cTn id="18" presetID="2" presetClass="entr" presetSubtype="4" accel="50000" decel="50000" fill="hold" nodeType="afterEffect">
                                  <p:stCondLst>
                                    <p:cond delay="0"/>
                                  </p:stCondLst>
                                  <p:childTnLst>
                                    <p:set>
                                      <p:cBhvr>
                                        <p:cTn id="19" dur="1" fill="hold">
                                          <p:stCondLst>
                                            <p:cond delay="0"/>
                                          </p:stCondLst>
                                        </p:cTn>
                                        <p:tgtEl>
                                          <p:spTgt spid="146"/>
                                        </p:tgtEl>
                                        <p:attrNameLst>
                                          <p:attrName>style.visibility</p:attrName>
                                        </p:attrNameLst>
                                      </p:cBhvr>
                                      <p:to>
                                        <p:strVal val="visible"/>
                                      </p:to>
                                    </p:set>
                                    <p:anim calcmode="lin" valueType="num">
                                      <p:cBhvr additive="base">
                                        <p:cTn id="20" dur="500" fill="hold"/>
                                        <p:tgtEl>
                                          <p:spTgt spid="146"/>
                                        </p:tgtEl>
                                        <p:attrNameLst>
                                          <p:attrName>ppt_x</p:attrName>
                                        </p:attrNameLst>
                                      </p:cBhvr>
                                      <p:tavLst>
                                        <p:tav tm="0">
                                          <p:val>
                                            <p:strVal val="#ppt_x"/>
                                          </p:val>
                                        </p:tav>
                                        <p:tav tm="100000">
                                          <p:val>
                                            <p:strVal val="#ppt_x"/>
                                          </p:val>
                                        </p:tav>
                                      </p:tavLst>
                                    </p:anim>
                                    <p:anim calcmode="lin" valueType="num">
                                      <p:cBhvr additive="base">
                                        <p:cTn id="21" dur="500" fill="hold"/>
                                        <p:tgtEl>
                                          <p:spTgt spid="146"/>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12" presetClass="entr" presetSubtype="4" fill="hold" nodeType="afterEffect">
                                  <p:stCondLst>
                                    <p:cond delay="0"/>
                                  </p:stCondLst>
                                  <p:childTnLst>
                                    <p:set>
                                      <p:cBhvr>
                                        <p:cTn id="24" dur="1" fill="hold">
                                          <p:stCondLst>
                                            <p:cond delay="0"/>
                                          </p:stCondLst>
                                        </p:cTn>
                                        <p:tgtEl>
                                          <p:spTgt spid="144"/>
                                        </p:tgtEl>
                                        <p:attrNameLst>
                                          <p:attrName>style.visibility</p:attrName>
                                        </p:attrNameLst>
                                      </p:cBhvr>
                                      <p:to>
                                        <p:strVal val="visible"/>
                                      </p:to>
                                    </p:set>
                                    <p:animEffect transition="in" filter="slide(fromBottom)">
                                      <p:cBhvr>
                                        <p:cTn id="25" dur="500"/>
                                        <p:tgtEl>
                                          <p:spTgt spid="144"/>
                                        </p:tgtEl>
                                      </p:cBhvr>
                                    </p:animEffect>
                                  </p:childTnLst>
                                </p:cTn>
                              </p:par>
                            </p:childTnLst>
                          </p:cTn>
                        </p:par>
                        <p:par>
                          <p:cTn id="26" fill="hold">
                            <p:stCondLst>
                              <p:cond delay="2500"/>
                            </p:stCondLst>
                            <p:childTnLst>
                              <p:par>
                                <p:cTn id="27" presetID="12" presetClass="entr" presetSubtype="4" fill="hold" grpId="0" nodeType="afterEffect">
                                  <p:stCondLst>
                                    <p:cond delay="0"/>
                                  </p:stCondLst>
                                  <p:childTnLst>
                                    <p:set>
                                      <p:cBhvr>
                                        <p:cTn id="28" dur="1" fill="hold">
                                          <p:stCondLst>
                                            <p:cond delay="0"/>
                                          </p:stCondLst>
                                        </p:cTn>
                                        <p:tgtEl>
                                          <p:spTgt spid="143"/>
                                        </p:tgtEl>
                                        <p:attrNameLst>
                                          <p:attrName>style.visibility</p:attrName>
                                        </p:attrNameLst>
                                      </p:cBhvr>
                                      <p:to>
                                        <p:strVal val="visible"/>
                                      </p:to>
                                    </p:set>
                                    <p:animEffect transition="in" filter="slide(fromBottom)">
                                      <p:cBhvr>
                                        <p:cTn id="29" dur="500"/>
                                        <p:tgtEl>
                                          <p:spTgt spid="143"/>
                                        </p:tgtEl>
                                      </p:cBhvr>
                                    </p:animEffect>
                                  </p:childTnLst>
                                </p:cTn>
                              </p:par>
                            </p:childTnLst>
                          </p:cTn>
                        </p:par>
                        <p:par>
                          <p:cTn id="30" fill="hold">
                            <p:stCondLst>
                              <p:cond delay="3000"/>
                            </p:stCondLst>
                            <p:childTnLst>
                              <p:par>
                                <p:cTn id="31" presetID="2" presetClass="entr" presetSubtype="2" accel="50000" decel="50000" fill="hold" nodeType="afterEffect">
                                  <p:stCondLst>
                                    <p:cond delay="0"/>
                                  </p:stCondLst>
                                  <p:childTnLst>
                                    <p:set>
                                      <p:cBhvr>
                                        <p:cTn id="32" dur="1" fill="hold">
                                          <p:stCondLst>
                                            <p:cond delay="0"/>
                                          </p:stCondLst>
                                        </p:cTn>
                                        <p:tgtEl>
                                          <p:spTgt spid="115"/>
                                        </p:tgtEl>
                                        <p:attrNameLst>
                                          <p:attrName>style.visibility</p:attrName>
                                        </p:attrNameLst>
                                      </p:cBhvr>
                                      <p:to>
                                        <p:strVal val="visible"/>
                                      </p:to>
                                    </p:set>
                                    <p:anim calcmode="lin" valueType="num">
                                      <p:cBhvr additive="base">
                                        <p:cTn id="33" dur="500" fill="hold"/>
                                        <p:tgtEl>
                                          <p:spTgt spid="115"/>
                                        </p:tgtEl>
                                        <p:attrNameLst>
                                          <p:attrName>ppt_x</p:attrName>
                                        </p:attrNameLst>
                                      </p:cBhvr>
                                      <p:tavLst>
                                        <p:tav tm="0">
                                          <p:val>
                                            <p:strVal val="1+#ppt_w/2"/>
                                          </p:val>
                                        </p:tav>
                                        <p:tav tm="100000">
                                          <p:val>
                                            <p:strVal val="#ppt_x"/>
                                          </p:val>
                                        </p:tav>
                                      </p:tavLst>
                                    </p:anim>
                                    <p:anim calcmode="lin" valueType="num">
                                      <p:cBhvr additive="base">
                                        <p:cTn id="34" dur="500" fill="hold"/>
                                        <p:tgtEl>
                                          <p:spTgt spid="115"/>
                                        </p:tgtEl>
                                        <p:attrNameLst>
                                          <p:attrName>ppt_y</p:attrName>
                                        </p:attrNameLst>
                                      </p:cBhvr>
                                      <p:tavLst>
                                        <p:tav tm="0">
                                          <p:val>
                                            <p:strVal val="#ppt_y"/>
                                          </p:val>
                                        </p:tav>
                                        <p:tav tm="100000">
                                          <p:val>
                                            <p:strVal val="#ppt_y"/>
                                          </p:val>
                                        </p:tav>
                                      </p:tavLst>
                                    </p:anim>
                                  </p:childTnLst>
                                </p:cTn>
                              </p:par>
                              <p:par>
                                <p:cTn id="35" presetID="2" presetClass="entr" presetSubtype="8" accel="50000" decel="50000" fill="hold" nodeType="withEffect">
                                  <p:stCondLst>
                                    <p:cond delay="0"/>
                                  </p:stCondLst>
                                  <p:childTnLst>
                                    <p:set>
                                      <p:cBhvr>
                                        <p:cTn id="36" dur="1" fill="hold">
                                          <p:stCondLst>
                                            <p:cond delay="0"/>
                                          </p:stCondLst>
                                        </p:cTn>
                                        <p:tgtEl>
                                          <p:spTgt spid="57"/>
                                        </p:tgtEl>
                                        <p:attrNameLst>
                                          <p:attrName>style.visibility</p:attrName>
                                        </p:attrNameLst>
                                      </p:cBhvr>
                                      <p:to>
                                        <p:strVal val="visible"/>
                                      </p:to>
                                    </p:set>
                                    <p:anim calcmode="lin" valueType="num">
                                      <p:cBhvr additive="base">
                                        <p:cTn id="37" dur="500" fill="hold"/>
                                        <p:tgtEl>
                                          <p:spTgt spid="57"/>
                                        </p:tgtEl>
                                        <p:attrNameLst>
                                          <p:attrName>ppt_x</p:attrName>
                                        </p:attrNameLst>
                                      </p:cBhvr>
                                      <p:tavLst>
                                        <p:tav tm="0">
                                          <p:val>
                                            <p:strVal val="0-#ppt_w/2"/>
                                          </p:val>
                                        </p:tav>
                                        <p:tav tm="100000">
                                          <p:val>
                                            <p:strVal val="#ppt_x"/>
                                          </p:val>
                                        </p:tav>
                                      </p:tavLst>
                                    </p:anim>
                                    <p:anim calcmode="lin" valueType="num">
                                      <p:cBhvr additive="base">
                                        <p:cTn id="38" dur="500" fill="hold"/>
                                        <p:tgtEl>
                                          <p:spTgt spid="57"/>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2" accel="50000" decel="50000" fill="hold" nodeType="afterEffect">
                                  <p:stCondLst>
                                    <p:cond delay="0"/>
                                  </p:stCondLst>
                                  <p:childTnLst>
                                    <p:set>
                                      <p:cBhvr>
                                        <p:cTn id="41" dur="1" fill="hold">
                                          <p:stCondLst>
                                            <p:cond delay="0"/>
                                          </p:stCondLst>
                                        </p:cTn>
                                        <p:tgtEl>
                                          <p:spTgt spid="120"/>
                                        </p:tgtEl>
                                        <p:attrNameLst>
                                          <p:attrName>style.visibility</p:attrName>
                                        </p:attrNameLst>
                                      </p:cBhvr>
                                      <p:to>
                                        <p:strVal val="visible"/>
                                      </p:to>
                                    </p:set>
                                    <p:anim calcmode="lin" valueType="num">
                                      <p:cBhvr additive="base">
                                        <p:cTn id="42" dur="500" fill="hold"/>
                                        <p:tgtEl>
                                          <p:spTgt spid="120"/>
                                        </p:tgtEl>
                                        <p:attrNameLst>
                                          <p:attrName>ppt_x</p:attrName>
                                        </p:attrNameLst>
                                      </p:cBhvr>
                                      <p:tavLst>
                                        <p:tav tm="0">
                                          <p:val>
                                            <p:strVal val="1+#ppt_w/2"/>
                                          </p:val>
                                        </p:tav>
                                        <p:tav tm="100000">
                                          <p:val>
                                            <p:strVal val="#ppt_x"/>
                                          </p:val>
                                        </p:tav>
                                      </p:tavLst>
                                    </p:anim>
                                    <p:anim calcmode="lin" valueType="num">
                                      <p:cBhvr additive="base">
                                        <p:cTn id="43" dur="500" fill="hold"/>
                                        <p:tgtEl>
                                          <p:spTgt spid="120"/>
                                        </p:tgtEl>
                                        <p:attrNameLst>
                                          <p:attrName>ppt_y</p:attrName>
                                        </p:attrNameLst>
                                      </p:cBhvr>
                                      <p:tavLst>
                                        <p:tav tm="0">
                                          <p:val>
                                            <p:strVal val="#ppt_y"/>
                                          </p:val>
                                        </p:tav>
                                        <p:tav tm="100000">
                                          <p:val>
                                            <p:strVal val="#ppt_y"/>
                                          </p:val>
                                        </p:tav>
                                      </p:tavLst>
                                    </p:anim>
                                  </p:childTnLst>
                                </p:cTn>
                              </p:par>
                              <p:par>
                                <p:cTn id="44" presetID="2" presetClass="entr" presetSubtype="8" accel="50000" decel="50000" fill="hold" nodeType="withEffect">
                                  <p:stCondLst>
                                    <p:cond delay="0"/>
                                  </p:stCondLst>
                                  <p:childTnLst>
                                    <p:set>
                                      <p:cBhvr>
                                        <p:cTn id="45" dur="1" fill="hold">
                                          <p:stCondLst>
                                            <p:cond delay="0"/>
                                          </p:stCondLst>
                                        </p:cTn>
                                        <p:tgtEl>
                                          <p:spTgt spid="61"/>
                                        </p:tgtEl>
                                        <p:attrNameLst>
                                          <p:attrName>style.visibility</p:attrName>
                                        </p:attrNameLst>
                                      </p:cBhvr>
                                      <p:to>
                                        <p:strVal val="visible"/>
                                      </p:to>
                                    </p:set>
                                    <p:anim calcmode="lin" valueType="num">
                                      <p:cBhvr additive="base">
                                        <p:cTn id="46" dur="500" fill="hold"/>
                                        <p:tgtEl>
                                          <p:spTgt spid="61"/>
                                        </p:tgtEl>
                                        <p:attrNameLst>
                                          <p:attrName>ppt_x</p:attrName>
                                        </p:attrNameLst>
                                      </p:cBhvr>
                                      <p:tavLst>
                                        <p:tav tm="0">
                                          <p:val>
                                            <p:strVal val="0-#ppt_w/2"/>
                                          </p:val>
                                        </p:tav>
                                        <p:tav tm="100000">
                                          <p:val>
                                            <p:strVal val="#ppt_x"/>
                                          </p:val>
                                        </p:tav>
                                      </p:tavLst>
                                    </p:anim>
                                    <p:anim calcmode="lin" valueType="num">
                                      <p:cBhvr additive="base">
                                        <p:cTn id="47" dur="500" fill="hold"/>
                                        <p:tgtEl>
                                          <p:spTgt spid="61"/>
                                        </p:tgtEl>
                                        <p:attrNameLst>
                                          <p:attrName>ppt_y</p:attrName>
                                        </p:attrNameLst>
                                      </p:cBhvr>
                                      <p:tavLst>
                                        <p:tav tm="0">
                                          <p:val>
                                            <p:strVal val="#ppt_y"/>
                                          </p:val>
                                        </p:tav>
                                        <p:tav tm="100000">
                                          <p:val>
                                            <p:strVal val="#ppt_y"/>
                                          </p:val>
                                        </p:tav>
                                      </p:tavLst>
                                    </p:anim>
                                  </p:childTnLst>
                                </p:cTn>
                              </p:par>
                            </p:childTnLst>
                          </p:cTn>
                        </p:par>
                        <p:par>
                          <p:cTn id="48" fill="hold">
                            <p:stCondLst>
                              <p:cond delay="4000"/>
                            </p:stCondLst>
                            <p:childTnLst>
                              <p:par>
                                <p:cTn id="49" presetID="2" presetClass="entr" presetSubtype="2" accel="50000" decel="50000" fill="hold" nodeType="afterEffect">
                                  <p:stCondLst>
                                    <p:cond delay="0"/>
                                  </p:stCondLst>
                                  <p:childTnLst>
                                    <p:set>
                                      <p:cBhvr>
                                        <p:cTn id="50" dur="1" fill="hold">
                                          <p:stCondLst>
                                            <p:cond delay="0"/>
                                          </p:stCondLst>
                                        </p:cTn>
                                        <p:tgtEl>
                                          <p:spTgt spid="125"/>
                                        </p:tgtEl>
                                        <p:attrNameLst>
                                          <p:attrName>style.visibility</p:attrName>
                                        </p:attrNameLst>
                                      </p:cBhvr>
                                      <p:to>
                                        <p:strVal val="visible"/>
                                      </p:to>
                                    </p:set>
                                    <p:anim calcmode="lin" valueType="num">
                                      <p:cBhvr additive="base">
                                        <p:cTn id="51" dur="500" fill="hold"/>
                                        <p:tgtEl>
                                          <p:spTgt spid="125"/>
                                        </p:tgtEl>
                                        <p:attrNameLst>
                                          <p:attrName>ppt_x</p:attrName>
                                        </p:attrNameLst>
                                      </p:cBhvr>
                                      <p:tavLst>
                                        <p:tav tm="0">
                                          <p:val>
                                            <p:strVal val="1+#ppt_w/2"/>
                                          </p:val>
                                        </p:tav>
                                        <p:tav tm="100000">
                                          <p:val>
                                            <p:strVal val="#ppt_x"/>
                                          </p:val>
                                        </p:tav>
                                      </p:tavLst>
                                    </p:anim>
                                    <p:anim calcmode="lin" valueType="num">
                                      <p:cBhvr additive="base">
                                        <p:cTn id="52" dur="500" fill="hold"/>
                                        <p:tgtEl>
                                          <p:spTgt spid="125"/>
                                        </p:tgtEl>
                                        <p:attrNameLst>
                                          <p:attrName>ppt_y</p:attrName>
                                        </p:attrNameLst>
                                      </p:cBhvr>
                                      <p:tavLst>
                                        <p:tav tm="0">
                                          <p:val>
                                            <p:strVal val="#ppt_y"/>
                                          </p:val>
                                        </p:tav>
                                        <p:tav tm="100000">
                                          <p:val>
                                            <p:strVal val="#ppt_y"/>
                                          </p:val>
                                        </p:tav>
                                      </p:tavLst>
                                    </p:anim>
                                  </p:childTnLst>
                                </p:cTn>
                              </p:par>
                              <p:par>
                                <p:cTn id="53" presetID="2" presetClass="entr" presetSubtype="8" accel="50000" decel="50000" fill="hold" nodeType="withEffect">
                                  <p:stCondLst>
                                    <p:cond delay="0"/>
                                  </p:stCondLst>
                                  <p:childTnLst>
                                    <p:set>
                                      <p:cBhvr>
                                        <p:cTn id="54" dur="1" fill="hold">
                                          <p:stCondLst>
                                            <p:cond delay="0"/>
                                          </p:stCondLst>
                                        </p:cTn>
                                        <p:tgtEl>
                                          <p:spTgt spid="69"/>
                                        </p:tgtEl>
                                        <p:attrNameLst>
                                          <p:attrName>style.visibility</p:attrName>
                                        </p:attrNameLst>
                                      </p:cBhvr>
                                      <p:to>
                                        <p:strVal val="visible"/>
                                      </p:to>
                                    </p:set>
                                    <p:anim calcmode="lin" valueType="num">
                                      <p:cBhvr additive="base">
                                        <p:cTn id="55" dur="500" fill="hold"/>
                                        <p:tgtEl>
                                          <p:spTgt spid="69"/>
                                        </p:tgtEl>
                                        <p:attrNameLst>
                                          <p:attrName>ppt_x</p:attrName>
                                        </p:attrNameLst>
                                      </p:cBhvr>
                                      <p:tavLst>
                                        <p:tav tm="0">
                                          <p:val>
                                            <p:strVal val="0-#ppt_w/2"/>
                                          </p:val>
                                        </p:tav>
                                        <p:tav tm="100000">
                                          <p:val>
                                            <p:strVal val="#ppt_x"/>
                                          </p:val>
                                        </p:tav>
                                      </p:tavLst>
                                    </p:anim>
                                    <p:anim calcmode="lin" valueType="num">
                                      <p:cBhvr additive="base">
                                        <p:cTn id="56" dur="500" fill="hold"/>
                                        <p:tgtEl>
                                          <p:spTgt spid="69"/>
                                        </p:tgtEl>
                                        <p:attrNameLst>
                                          <p:attrName>ppt_y</p:attrName>
                                        </p:attrNameLst>
                                      </p:cBhvr>
                                      <p:tavLst>
                                        <p:tav tm="0">
                                          <p:val>
                                            <p:strVal val="#ppt_y"/>
                                          </p:val>
                                        </p:tav>
                                        <p:tav tm="100000">
                                          <p:val>
                                            <p:strVal val="#ppt_y"/>
                                          </p:val>
                                        </p:tav>
                                      </p:tavLst>
                                    </p:anim>
                                  </p:childTnLst>
                                </p:cTn>
                              </p:par>
                            </p:childTnLst>
                          </p:cTn>
                        </p:par>
                        <p:par>
                          <p:cTn id="57" fill="hold">
                            <p:stCondLst>
                              <p:cond delay="4500"/>
                            </p:stCondLst>
                            <p:childTnLst>
                              <p:par>
                                <p:cTn id="58" presetID="2" presetClass="entr" presetSubtype="2" accel="50000" decel="50000" fill="hold" nodeType="afterEffect">
                                  <p:stCondLst>
                                    <p:cond delay="0"/>
                                  </p:stCondLst>
                                  <p:childTnLst>
                                    <p:set>
                                      <p:cBhvr>
                                        <p:cTn id="59" dur="1" fill="hold">
                                          <p:stCondLst>
                                            <p:cond delay="0"/>
                                          </p:stCondLst>
                                        </p:cTn>
                                        <p:tgtEl>
                                          <p:spTgt spid="110"/>
                                        </p:tgtEl>
                                        <p:attrNameLst>
                                          <p:attrName>style.visibility</p:attrName>
                                        </p:attrNameLst>
                                      </p:cBhvr>
                                      <p:to>
                                        <p:strVal val="visible"/>
                                      </p:to>
                                    </p:set>
                                    <p:anim calcmode="lin" valueType="num">
                                      <p:cBhvr additive="base">
                                        <p:cTn id="60" dur="500" fill="hold"/>
                                        <p:tgtEl>
                                          <p:spTgt spid="110"/>
                                        </p:tgtEl>
                                        <p:attrNameLst>
                                          <p:attrName>ppt_x</p:attrName>
                                        </p:attrNameLst>
                                      </p:cBhvr>
                                      <p:tavLst>
                                        <p:tav tm="0">
                                          <p:val>
                                            <p:strVal val="1+#ppt_w/2"/>
                                          </p:val>
                                        </p:tav>
                                        <p:tav tm="100000">
                                          <p:val>
                                            <p:strVal val="#ppt_x"/>
                                          </p:val>
                                        </p:tav>
                                      </p:tavLst>
                                    </p:anim>
                                    <p:anim calcmode="lin" valueType="num">
                                      <p:cBhvr additive="base">
                                        <p:cTn id="61" dur="500" fill="hold"/>
                                        <p:tgtEl>
                                          <p:spTgt spid="110"/>
                                        </p:tgtEl>
                                        <p:attrNameLst>
                                          <p:attrName>ppt_y</p:attrName>
                                        </p:attrNameLst>
                                      </p:cBhvr>
                                      <p:tavLst>
                                        <p:tav tm="0">
                                          <p:val>
                                            <p:strVal val="#ppt_y"/>
                                          </p:val>
                                        </p:tav>
                                        <p:tav tm="100000">
                                          <p:val>
                                            <p:strVal val="#ppt_y"/>
                                          </p:val>
                                        </p:tav>
                                      </p:tavLst>
                                    </p:anim>
                                  </p:childTnLst>
                                </p:cTn>
                              </p:par>
                              <p:par>
                                <p:cTn id="62" presetID="2" presetClass="entr" presetSubtype="8" accel="50000" decel="50000" fill="hold" nodeType="withEffect">
                                  <p:stCondLst>
                                    <p:cond delay="0"/>
                                  </p:stCondLst>
                                  <p:childTnLst>
                                    <p:set>
                                      <p:cBhvr>
                                        <p:cTn id="63" dur="1" fill="hold">
                                          <p:stCondLst>
                                            <p:cond delay="0"/>
                                          </p:stCondLst>
                                        </p:cTn>
                                        <p:tgtEl>
                                          <p:spTgt spid="72"/>
                                        </p:tgtEl>
                                        <p:attrNameLst>
                                          <p:attrName>style.visibility</p:attrName>
                                        </p:attrNameLst>
                                      </p:cBhvr>
                                      <p:to>
                                        <p:strVal val="visible"/>
                                      </p:to>
                                    </p:set>
                                    <p:anim calcmode="lin" valueType="num">
                                      <p:cBhvr additive="base">
                                        <p:cTn id="64" dur="500" fill="hold"/>
                                        <p:tgtEl>
                                          <p:spTgt spid="72"/>
                                        </p:tgtEl>
                                        <p:attrNameLst>
                                          <p:attrName>ppt_x</p:attrName>
                                        </p:attrNameLst>
                                      </p:cBhvr>
                                      <p:tavLst>
                                        <p:tav tm="0">
                                          <p:val>
                                            <p:strVal val="0-#ppt_w/2"/>
                                          </p:val>
                                        </p:tav>
                                        <p:tav tm="100000">
                                          <p:val>
                                            <p:strVal val="#ppt_x"/>
                                          </p:val>
                                        </p:tav>
                                      </p:tavLst>
                                    </p:anim>
                                    <p:anim calcmode="lin" valueType="num">
                                      <p:cBhvr additive="base">
                                        <p:cTn id="65" dur="500" fill="hold"/>
                                        <p:tgtEl>
                                          <p:spTgt spid="7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14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73"/>
          <p:cNvGrpSpPr/>
          <p:nvPr/>
        </p:nvGrpSpPr>
        <p:grpSpPr>
          <a:xfrm>
            <a:off x="988847" y="1201529"/>
            <a:ext cx="10214311" cy="1111968"/>
            <a:chOff x="769938" y="958754"/>
            <a:chExt cx="7661731" cy="833976"/>
          </a:xfrm>
        </p:grpSpPr>
        <p:sp>
          <p:nvSpPr>
            <p:cNvPr id="36" name="Flowchart: Data 35"/>
            <p:cNvSpPr/>
            <p:nvPr/>
          </p:nvSpPr>
          <p:spPr>
            <a:xfrm rot="5400000" flipH="1">
              <a:off x="2575938" y="1158558"/>
              <a:ext cx="833975" cy="434368"/>
            </a:xfrm>
            <a:prstGeom prst="flowChartInputOutpu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mn-ea"/>
              </a:endParaRPr>
            </a:p>
          </p:txBody>
        </p:sp>
        <p:sp>
          <p:nvSpPr>
            <p:cNvPr id="40" name="Rectangle 39"/>
            <p:cNvSpPr/>
            <p:nvPr/>
          </p:nvSpPr>
          <p:spPr>
            <a:xfrm>
              <a:off x="3213946" y="960137"/>
              <a:ext cx="5217723" cy="6686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chemeClr val="bg1"/>
                </a:solidFill>
                <a:latin typeface="+mn-ea"/>
              </a:endParaRPr>
            </a:p>
          </p:txBody>
        </p:sp>
        <p:sp>
          <p:nvSpPr>
            <p:cNvPr id="49" name="Rectangle 48"/>
            <p:cNvSpPr/>
            <p:nvPr/>
          </p:nvSpPr>
          <p:spPr>
            <a:xfrm>
              <a:off x="769938" y="1124038"/>
              <a:ext cx="2005803" cy="6686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chemeClr val="bg1"/>
                </a:solidFill>
                <a:latin typeface="+mn-ea"/>
              </a:endParaRPr>
            </a:p>
          </p:txBody>
        </p:sp>
        <p:sp>
          <p:nvSpPr>
            <p:cNvPr id="51" name="Rounded Rectangle 50"/>
            <p:cNvSpPr/>
            <p:nvPr/>
          </p:nvSpPr>
          <p:spPr>
            <a:xfrm>
              <a:off x="1000366" y="1233759"/>
              <a:ext cx="1544947" cy="44925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dirty="0">
                  <a:solidFill>
                    <a:schemeClr val="tx1">
                      <a:lumMod val="65000"/>
                      <a:lumOff val="35000"/>
                    </a:schemeClr>
                  </a:solidFill>
                  <a:latin typeface="+mn-ea"/>
                </a:rPr>
                <a:t>添加标题</a:t>
              </a:r>
              <a:endParaRPr lang="en-US" sz="2100" dirty="0">
                <a:solidFill>
                  <a:schemeClr val="tx1">
                    <a:lumMod val="65000"/>
                    <a:lumOff val="35000"/>
                  </a:schemeClr>
                </a:solidFill>
                <a:latin typeface="+mn-ea"/>
              </a:endParaRPr>
            </a:p>
          </p:txBody>
        </p:sp>
        <p:sp>
          <p:nvSpPr>
            <p:cNvPr id="56" name="Text Placeholder 3"/>
            <p:cNvSpPr txBox="1"/>
            <p:nvPr/>
          </p:nvSpPr>
          <p:spPr>
            <a:xfrm>
              <a:off x="3848995" y="1048262"/>
              <a:ext cx="3372927" cy="492443"/>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bg1"/>
                  </a:solidFill>
                  <a:latin typeface="+mn-ea"/>
                </a:rPr>
                <a:t>此处添加详细文本描述，建议与标题相关并符合整体语言风格，语言描述尽量简洁生动。</a:t>
              </a:r>
              <a:endParaRPr lang="en-US" sz="1300" dirty="0">
                <a:solidFill>
                  <a:schemeClr val="bg1"/>
                </a:solidFill>
                <a:latin typeface="+mn-ea"/>
              </a:endParaRPr>
            </a:p>
            <a:p>
              <a:pPr algn="l" defTabSz="1218565">
                <a:spcBef>
                  <a:spcPct val="20000"/>
                </a:spcBef>
                <a:defRPr/>
              </a:pPr>
              <a:r>
                <a:rPr lang="en-US" sz="1300" dirty="0">
                  <a:solidFill>
                    <a:schemeClr val="bg1"/>
                  </a:solidFill>
                  <a:latin typeface="+mn-ea"/>
                </a:rPr>
                <a:t> </a:t>
              </a:r>
            </a:p>
          </p:txBody>
        </p:sp>
        <p:sp>
          <p:nvSpPr>
            <p:cNvPr id="58" name="Rectangle 57"/>
            <p:cNvSpPr/>
            <p:nvPr/>
          </p:nvSpPr>
          <p:spPr>
            <a:xfrm>
              <a:off x="3483612" y="1071489"/>
              <a:ext cx="307777" cy="427040"/>
            </a:xfrm>
            <a:prstGeom prst="rect">
              <a:avLst/>
            </a:prstGeom>
          </p:spPr>
          <p:txBody>
            <a:bodyPr wrap="square" lIns="0" tIns="0" rIns="0" bIns="0">
              <a:spAutoFit/>
            </a:bodyPr>
            <a:lstStyle/>
            <a:p>
              <a:endParaRPr lang="en-US" sz="3700" dirty="0">
                <a:solidFill>
                  <a:schemeClr val="bg1"/>
                </a:solidFill>
                <a:latin typeface="+mn-ea"/>
              </a:endParaRPr>
            </a:p>
          </p:txBody>
        </p:sp>
        <p:sp>
          <p:nvSpPr>
            <p:cNvPr id="60" name="TextBox 59"/>
            <p:cNvSpPr txBox="1"/>
            <p:nvPr/>
          </p:nvSpPr>
          <p:spPr>
            <a:xfrm>
              <a:off x="7682778" y="958755"/>
              <a:ext cx="679601" cy="623248"/>
            </a:xfrm>
            <a:prstGeom prst="rect">
              <a:avLst/>
            </a:prstGeom>
            <a:noFill/>
          </p:spPr>
          <p:txBody>
            <a:bodyPr wrap="none" rtlCol="0">
              <a:spAutoFit/>
            </a:bodyPr>
            <a:lstStyle/>
            <a:p>
              <a:r>
                <a:rPr lang="en-US" sz="4800" dirty="0">
                  <a:solidFill>
                    <a:schemeClr val="bg1"/>
                  </a:solidFill>
                  <a:latin typeface="+mn-ea"/>
                </a:rPr>
                <a:t>01</a:t>
              </a:r>
            </a:p>
          </p:txBody>
        </p:sp>
      </p:grpSp>
      <p:grpSp>
        <p:nvGrpSpPr>
          <p:cNvPr id="85" name="Group 84"/>
          <p:cNvGrpSpPr/>
          <p:nvPr/>
        </p:nvGrpSpPr>
        <p:grpSpPr>
          <a:xfrm flipH="1">
            <a:off x="988846" y="2558495"/>
            <a:ext cx="10214312" cy="1111968"/>
            <a:chOff x="769938" y="958754"/>
            <a:chExt cx="7661731" cy="833976"/>
          </a:xfrm>
        </p:grpSpPr>
        <p:sp>
          <p:nvSpPr>
            <p:cNvPr id="86" name="Flowchart: Data 85"/>
            <p:cNvSpPr/>
            <p:nvPr/>
          </p:nvSpPr>
          <p:spPr>
            <a:xfrm rot="5400000" flipH="1">
              <a:off x="2575938" y="1158558"/>
              <a:ext cx="833975" cy="434368"/>
            </a:xfrm>
            <a:prstGeom prst="flowChartInputOutpu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mn-ea"/>
              </a:endParaRPr>
            </a:p>
          </p:txBody>
        </p:sp>
        <p:sp>
          <p:nvSpPr>
            <p:cNvPr id="87" name="Rectangle 86"/>
            <p:cNvSpPr/>
            <p:nvPr/>
          </p:nvSpPr>
          <p:spPr>
            <a:xfrm>
              <a:off x="3213946" y="960137"/>
              <a:ext cx="5217723" cy="6686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chemeClr val="bg1"/>
                </a:solidFill>
                <a:latin typeface="+mn-ea"/>
              </a:endParaRPr>
            </a:p>
          </p:txBody>
        </p:sp>
        <p:sp>
          <p:nvSpPr>
            <p:cNvPr id="90" name="Rectangle 89"/>
            <p:cNvSpPr/>
            <p:nvPr/>
          </p:nvSpPr>
          <p:spPr>
            <a:xfrm>
              <a:off x="769938" y="1124038"/>
              <a:ext cx="2005803" cy="6686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chemeClr val="bg1"/>
                </a:solidFill>
                <a:latin typeface="+mn-ea"/>
              </a:endParaRPr>
            </a:p>
          </p:txBody>
        </p:sp>
        <p:sp>
          <p:nvSpPr>
            <p:cNvPr id="91" name="Rounded Rectangle 90"/>
            <p:cNvSpPr/>
            <p:nvPr/>
          </p:nvSpPr>
          <p:spPr>
            <a:xfrm>
              <a:off x="1000366" y="1233759"/>
              <a:ext cx="1544947" cy="44925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dirty="0">
                  <a:solidFill>
                    <a:schemeClr val="tx1">
                      <a:lumMod val="65000"/>
                      <a:lumOff val="35000"/>
                    </a:schemeClr>
                  </a:solidFill>
                  <a:latin typeface="+mn-ea"/>
                </a:rPr>
                <a:t>添加标题</a:t>
              </a:r>
              <a:endParaRPr lang="en-US" sz="2100" dirty="0">
                <a:solidFill>
                  <a:schemeClr val="tx1">
                    <a:lumMod val="65000"/>
                    <a:lumOff val="35000"/>
                  </a:schemeClr>
                </a:solidFill>
                <a:latin typeface="+mn-ea"/>
              </a:endParaRPr>
            </a:p>
          </p:txBody>
        </p:sp>
        <p:sp>
          <p:nvSpPr>
            <p:cNvPr id="92" name="Text Placeholder 3"/>
            <p:cNvSpPr txBox="1"/>
            <p:nvPr/>
          </p:nvSpPr>
          <p:spPr>
            <a:xfrm>
              <a:off x="3848995" y="1048262"/>
              <a:ext cx="3372927" cy="492443"/>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r" defTabSz="1218565">
                <a:spcBef>
                  <a:spcPct val="20000"/>
                </a:spcBef>
                <a:defRPr/>
              </a:pPr>
              <a:r>
                <a:rPr lang="zh-CN" altLang="en-US" sz="1300" dirty="0">
                  <a:solidFill>
                    <a:schemeClr val="bg1"/>
                  </a:solidFill>
                  <a:latin typeface="+mn-ea"/>
                </a:rPr>
                <a:t>此处添加详细文本描述，建议与标题相关并符合整体语言风格，语言描述尽量简洁生动。</a:t>
              </a:r>
              <a:endParaRPr lang="en-US" sz="1300" dirty="0">
                <a:solidFill>
                  <a:schemeClr val="bg1"/>
                </a:solidFill>
                <a:latin typeface="+mn-ea"/>
              </a:endParaRPr>
            </a:p>
            <a:p>
              <a:pPr algn="r" defTabSz="1218565">
                <a:spcBef>
                  <a:spcPct val="20000"/>
                </a:spcBef>
                <a:defRPr/>
              </a:pPr>
              <a:r>
                <a:rPr lang="en-US" sz="1300" dirty="0">
                  <a:solidFill>
                    <a:schemeClr val="bg1"/>
                  </a:solidFill>
                  <a:latin typeface="+mn-ea"/>
                </a:rPr>
                <a:t> </a:t>
              </a:r>
            </a:p>
          </p:txBody>
        </p:sp>
        <p:sp>
          <p:nvSpPr>
            <p:cNvPr id="93" name="Rectangle 92"/>
            <p:cNvSpPr/>
            <p:nvPr/>
          </p:nvSpPr>
          <p:spPr>
            <a:xfrm>
              <a:off x="3483612" y="1071489"/>
              <a:ext cx="307777" cy="427040"/>
            </a:xfrm>
            <a:prstGeom prst="rect">
              <a:avLst/>
            </a:prstGeom>
          </p:spPr>
          <p:txBody>
            <a:bodyPr wrap="square" lIns="0" tIns="0" rIns="0" bIns="0">
              <a:spAutoFit/>
            </a:bodyPr>
            <a:lstStyle/>
            <a:p>
              <a:endParaRPr lang="en-US" sz="3700" dirty="0">
                <a:solidFill>
                  <a:schemeClr val="bg1"/>
                </a:solidFill>
                <a:latin typeface="+mn-ea"/>
              </a:endParaRPr>
            </a:p>
          </p:txBody>
        </p:sp>
        <p:sp>
          <p:nvSpPr>
            <p:cNvPr id="94" name="TextBox 93"/>
            <p:cNvSpPr txBox="1"/>
            <p:nvPr/>
          </p:nvSpPr>
          <p:spPr>
            <a:xfrm>
              <a:off x="7655920" y="958755"/>
              <a:ext cx="679601" cy="623248"/>
            </a:xfrm>
            <a:prstGeom prst="rect">
              <a:avLst/>
            </a:prstGeom>
            <a:noFill/>
          </p:spPr>
          <p:txBody>
            <a:bodyPr wrap="none" rtlCol="0">
              <a:spAutoFit/>
            </a:bodyPr>
            <a:lstStyle/>
            <a:p>
              <a:r>
                <a:rPr lang="en-US" sz="4800" dirty="0">
                  <a:solidFill>
                    <a:schemeClr val="bg1"/>
                  </a:solidFill>
                  <a:latin typeface="+mn-ea"/>
                </a:rPr>
                <a:t>02</a:t>
              </a:r>
            </a:p>
          </p:txBody>
        </p:sp>
      </p:grpSp>
      <p:grpSp>
        <p:nvGrpSpPr>
          <p:cNvPr id="95" name="Group 94"/>
          <p:cNvGrpSpPr/>
          <p:nvPr/>
        </p:nvGrpSpPr>
        <p:grpSpPr>
          <a:xfrm>
            <a:off x="988847" y="3915460"/>
            <a:ext cx="10214311" cy="1111968"/>
            <a:chOff x="769938" y="958754"/>
            <a:chExt cx="7661731" cy="833976"/>
          </a:xfrm>
        </p:grpSpPr>
        <p:sp>
          <p:nvSpPr>
            <p:cNvPr id="96" name="Flowchart: Data 95"/>
            <p:cNvSpPr/>
            <p:nvPr/>
          </p:nvSpPr>
          <p:spPr>
            <a:xfrm rot="5400000" flipH="1">
              <a:off x="2575938" y="1158558"/>
              <a:ext cx="833975" cy="434368"/>
            </a:xfrm>
            <a:prstGeom prst="flowChartInputOutpu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mn-ea"/>
              </a:endParaRPr>
            </a:p>
          </p:txBody>
        </p:sp>
        <p:sp>
          <p:nvSpPr>
            <p:cNvPr id="97" name="Rectangle 96"/>
            <p:cNvSpPr/>
            <p:nvPr/>
          </p:nvSpPr>
          <p:spPr>
            <a:xfrm>
              <a:off x="3213946" y="960137"/>
              <a:ext cx="5217723" cy="668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chemeClr val="bg1"/>
                </a:solidFill>
                <a:latin typeface="+mn-ea"/>
              </a:endParaRPr>
            </a:p>
          </p:txBody>
        </p:sp>
        <p:sp>
          <p:nvSpPr>
            <p:cNvPr id="98" name="Rectangle 97"/>
            <p:cNvSpPr/>
            <p:nvPr/>
          </p:nvSpPr>
          <p:spPr>
            <a:xfrm>
              <a:off x="769938" y="1124038"/>
              <a:ext cx="2005803" cy="668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chemeClr val="bg1"/>
                </a:solidFill>
                <a:latin typeface="+mn-ea"/>
              </a:endParaRPr>
            </a:p>
          </p:txBody>
        </p:sp>
        <p:sp>
          <p:nvSpPr>
            <p:cNvPr id="99" name="Rounded Rectangle 98"/>
            <p:cNvSpPr/>
            <p:nvPr/>
          </p:nvSpPr>
          <p:spPr>
            <a:xfrm>
              <a:off x="1000366" y="1233759"/>
              <a:ext cx="1544947" cy="44925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dirty="0">
                  <a:solidFill>
                    <a:schemeClr val="tx1">
                      <a:lumMod val="65000"/>
                      <a:lumOff val="35000"/>
                    </a:schemeClr>
                  </a:solidFill>
                  <a:latin typeface="+mn-ea"/>
                </a:rPr>
                <a:t>添加标题</a:t>
              </a:r>
              <a:endParaRPr lang="en-US" sz="2100" dirty="0">
                <a:solidFill>
                  <a:schemeClr val="tx1">
                    <a:lumMod val="65000"/>
                    <a:lumOff val="35000"/>
                  </a:schemeClr>
                </a:solidFill>
                <a:latin typeface="+mn-ea"/>
              </a:endParaRPr>
            </a:p>
          </p:txBody>
        </p:sp>
        <p:sp>
          <p:nvSpPr>
            <p:cNvPr id="100" name="Text Placeholder 3"/>
            <p:cNvSpPr txBox="1"/>
            <p:nvPr/>
          </p:nvSpPr>
          <p:spPr>
            <a:xfrm>
              <a:off x="3848995" y="1048262"/>
              <a:ext cx="3372927" cy="492443"/>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bg1"/>
                  </a:solidFill>
                  <a:latin typeface="+mn-ea"/>
                </a:rPr>
                <a:t>此处添加详细文本描述，建议与标题相关并符合整体语言风格，语言描述尽量简洁生动。</a:t>
              </a:r>
              <a:endParaRPr lang="en-US" sz="1300" dirty="0">
                <a:solidFill>
                  <a:schemeClr val="bg1"/>
                </a:solidFill>
                <a:latin typeface="+mn-ea"/>
              </a:endParaRPr>
            </a:p>
            <a:p>
              <a:pPr algn="l" defTabSz="1218565">
                <a:spcBef>
                  <a:spcPct val="20000"/>
                </a:spcBef>
                <a:defRPr/>
              </a:pPr>
              <a:r>
                <a:rPr lang="en-US" sz="1300" dirty="0">
                  <a:solidFill>
                    <a:schemeClr val="bg1"/>
                  </a:solidFill>
                  <a:latin typeface="+mn-ea"/>
                </a:rPr>
                <a:t> </a:t>
              </a:r>
            </a:p>
          </p:txBody>
        </p:sp>
        <p:sp>
          <p:nvSpPr>
            <p:cNvPr id="101" name="Rectangle 100"/>
            <p:cNvSpPr/>
            <p:nvPr/>
          </p:nvSpPr>
          <p:spPr>
            <a:xfrm>
              <a:off x="3483612" y="1071489"/>
              <a:ext cx="307777" cy="427040"/>
            </a:xfrm>
            <a:prstGeom prst="rect">
              <a:avLst/>
            </a:prstGeom>
          </p:spPr>
          <p:txBody>
            <a:bodyPr wrap="square" lIns="0" tIns="0" rIns="0" bIns="0">
              <a:spAutoFit/>
            </a:bodyPr>
            <a:lstStyle/>
            <a:p>
              <a:endParaRPr lang="en-US" sz="3700" dirty="0">
                <a:solidFill>
                  <a:schemeClr val="bg1"/>
                </a:solidFill>
                <a:latin typeface="+mn-ea"/>
              </a:endParaRPr>
            </a:p>
          </p:txBody>
        </p:sp>
        <p:sp>
          <p:nvSpPr>
            <p:cNvPr id="102" name="TextBox 101"/>
            <p:cNvSpPr txBox="1"/>
            <p:nvPr/>
          </p:nvSpPr>
          <p:spPr>
            <a:xfrm>
              <a:off x="7682778" y="958755"/>
              <a:ext cx="679601" cy="623248"/>
            </a:xfrm>
            <a:prstGeom prst="rect">
              <a:avLst/>
            </a:prstGeom>
            <a:noFill/>
          </p:spPr>
          <p:txBody>
            <a:bodyPr wrap="none" rtlCol="0">
              <a:spAutoFit/>
            </a:bodyPr>
            <a:lstStyle/>
            <a:p>
              <a:r>
                <a:rPr lang="en-US" sz="4800" dirty="0">
                  <a:solidFill>
                    <a:schemeClr val="bg1"/>
                  </a:solidFill>
                  <a:latin typeface="+mn-ea"/>
                </a:rPr>
                <a:t>03</a:t>
              </a:r>
            </a:p>
          </p:txBody>
        </p:sp>
      </p:grpSp>
      <p:grpSp>
        <p:nvGrpSpPr>
          <p:cNvPr id="103" name="Group 102"/>
          <p:cNvGrpSpPr/>
          <p:nvPr/>
        </p:nvGrpSpPr>
        <p:grpSpPr>
          <a:xfrm flipH="1">
            <a:off x="988846" y="5272424"/>
            <a:ext cx="10214312" cy="1111968"/>
            <a:chOff x="769938" y="958754"/>
            <a:chExt cx="7661731" cy="833976"/>
          </a:xfrm>
        </p:grpSpPr>
        <p:sp>
          <p:nvSpPr>
            <p:cNvPr id="104" name="Flowchart: Data 103"/>
            <p:cNvSpPr/>
            <p:nvPr/>
          </p:nvSpPr>
          <p:spPr>
            <a:xfrm rot="5400000" flipH="1">
              <a:off x="2575938" y="1158558"/>
              <a:ext cx="833975" cy="434368"/>
            </a:xfrm>
            <a:prstGeom prst="flowChartInputOutpu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latin typeface="+mn-ea"/>
              </a:endParaRPr>
            </a:p>
          </p:txBody>
        </p:sp>
        <p:sp>
          <p:nvSpPr>
            <p:cNvPr id="105" name="Rectangle 104"/>
            <p:cNvSpPr/>
            <p:nvPr/>
          </p:nvSpPr>
          <p:spPr>
            <a:xfrm>
              <a:off x="3213946" y="960137"/>
              <a:ext cx="5217723" cy="6686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chemeClr val="bg1"/>
                </a:solidFill>
                <a:latin typeface="+mn-ea"/>
              </a:endParaRPr>
            </a:p>
          </p:txBody>
        </p:sp>
        <p:sp>
          <p:nvSpPr>
            <p:cNvPr id="106" name="Rectangle 105"/>
            <p:cNvSpPr/>
            <p:nvPr/>
          </p:nvSpPr>
          <p:spPr>
            <a:xfrm>
              <a:off x="769938" y="1124038"/>
              <a:ext cx="2005803" cy="6686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chemeClr val="bg1"/>
                </a:solidFill>
                <a:latin typeface="+mn-ea"/>
              </a:endParaRPr>
            </a:p>
          </p:txBody>
        </p:sp>
        <p:sp>
          <p:nvSpPr>
            <p:cNvPr id="107" name="Rounded Rectangle 106"/>
            <p:cNvSpPr/>
            <p:nvPr/>
          </p:nvSpPr>
          <p:spPr>
            <a:xfrm>
              <a:off x="1000366" y="1233759"/>
              <a:ext cx="1544947" cy="44925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dirty="0">
                  <a:solidFill>
                    <a:schemeClr val="tx1">
                      <a:lumMod val="65000"/>
                      <a:lumOff val="35000"/>
                    </a:schemeClr>
                  </a:solidFill>
                  <a:latin typeface="+mn-ea"/>
                </a:rPr>
                <a:t>添加标题</a:t>
              </a:r>
              <a:endParaRPr lang="en-US" sz="2100" dirty="0">
                <a:solidFill>
                  <a:schemeClr val="tx1">
                    <a:lumMod val="65000"/>
                    <a:lumOff val="35000"/>
                  </a:schemeClr>
                </a:solidFill>
                <a:latin typeface="+mn-ea"/>
              </a:endParaRPr>
            </a:p>
          </p:txBody>
        </p:sp>
        <p:sp>
          <p:nvSpPr>
            <p:cNvPr id="108" name="Text Placeholder 3"/>
            <p:cNvSpPr txBox="1"/>
            <p:nvPr/>
          </p:nvSpPr>
          <p:spPr>
            <a:xfrm>
              <a:off x="3848995" y="1048262"/>
              <a:ext cx="3372927" cy="492443"/>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r" defTabSz="1218565">
                <a:spcBef>
                  <a:spcPct val="20000"/>
                </a:spcBef>
                <a:defRPr/>
              </a:pPr>
              <a:r>
                <a:rPr lang="zh-CN" altLang="en-US" sz="1300" dirty="0">
                  <a:solidFill>
                    <a:schemeClr val="bg1"/>
                  </a:solidFill>
                  <a:latin typeface="+mn-ea"/>
                </a:rPr>
                <a:t>此处添加详细文本描述，建议与标题相关并符合整体语言风格，语言描述尽量简洁生动。</a:t>
              </a:r>
              <a:endParaRPr lang="en-US" sz="1300" dirty="0">
                <a:solidFill>
                  <a:schemeClr val="bg1"/>
                </a:solidFill>
                <a:latin typeface="+mn-ea"/>
              </a:endParaRPr>
            </a:p>
            <a:p>
              <a:pPr algn="r" defTabSz="1218565">
                <a:spcBef>
                  <a:spcPct val="20000"/>
                </a:spcBef>
                <a:defRPr/>
              </a:pPr>
              <a:r>
                <a:rPr lang="en-US" sz="1300" dirty="0">
                  <a:solidFill>
                    <a:schemeClr val="bg1"/>
                  </a:solidFill>
                  <a:latin typeface="+mn-ea"/>
                </a:rPr>
                <a:t> </a:t>
              </a:r>
            </a:p>
          </p:txBody>
        </p:sp>
        <p:sp>
          <p:nvSpPr>
            <p:cNvPr id="109" name="Rectangle 108"/>
            <p:cNvSpPr/>
            <p:nvPr/>
          </p:nvSpPr>
          <p:spPr>
            <a:xfrm>
              <a:off x="3483612" y="1071489"/>
              <a:ext cx="307777" cy="427040"/>
            </a:xfrm>
            <a:prstGeom prst="rect">
              <a:avLst/>
            </a:prstGeom>
          </p:spPr>
          <p:txBody>
            <a:bodyPr wrap="square" lIns="0" tIns="0" rIns="0" bIns="0">
              <a:spAutoFit/>
            </a:bodyPr>
            <a:lstStyle/>
            <a:p>
              <a:endParaRPr lang="en-US" sz="3700" dirty="0">
                <a:solidFill>
                  <a:schemeClr val="bg1"/>
                </a:solidFill>
                <a:latin typeface="+mn-ea"/>
              </a:endParaRPr>
            </a:p>
          </p:txBody>
        </p:sp>
        <p:sp>
          <p:nvSpPr>
            <p:cNvPr id="110" name="TextBox 109"/>
            <p:cNvSpPr txBox="1"/>
            <p:nvPr/>
          </p:nvSpPr>
          <p:spPr>
            <a:xfrm>
              <a:off x="7655920" y="958755"/>
              <a:ext cx="679601" cy="623248"/>
            </a:xfrm>
            <a:prstGeom prst="rect">
              <a:avLst/>
            </a:prstGeom>
            <a:noFill/>
          </p:spPr>
          <p:txBody>
            <a:bodyPr wrap="none" rtlCol="0">
              <a:spAutoFit/>
            </a:bodyPr>
            <a:lstStyle/>
            <a:p>
              <a:r>
                <a:rPr lang="en-US" sz="4800" dirty="0">
                  <a:solidFill>
                    <a:schemeClr val="bg1"/>
                  </a:solidFill>
                  <a:latin typeface="+mn-ea"/>
                </a:rPr>
                <a:t>04</a:t>
              </a:r>
            </a:p>
          </p:txBody>
        </p:sp>
      </p:gr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nodeType="afterEffect">
                                  <p:stCondLst>
                                    <p:cond delay="0"/>
                                  </p:stCondLst>
                                  <p:childTnLst>
                                    <p:set>
                                      <p:cBhvr>
                                        <p:cTn id="6" dur="1" fill="hold">
                                          <p:stCondLst>
                                            <p:cond delay="0"/>
                                          </p:stCondLst>
                                        </p:cTn>
                                        <p:tgtEl>
                                          <p:spTgt spid="74"/>
                                        </p:tgtEl>
                                        <p:attrNameLst>
                                          <p:attrName>style.visibility</p:attrName>
                                        </p:attrNameLst>
                                      </p:cBhvr>
                                      <p:to>
                                        <p:strVal val="visible"/>
                                      </p:to>
                                    </p:set>
                                    <p:anim calcmode="lin" valueType="num">
                                      <p:cBhvr additive="base">
                                        <p:cTn id="7" dur="500" fill="hold"/>
                                        <p:tgtEl>
                                          <p:spTgt spid="74"/>
                                        </p:tgtEl>
                                        <p:attrNameLst>
                                          <p:attrName>ppt_x</p:attrName>
                                        </p:attrNameLst>
                                      </p:cBhvr>
                                      <p:tavLst>
                                        <p:tav tm="0">
                                          <p:val>
                                            <p:strVal val="0-#ppt_w/2"/>
                                          </p:val>
                                        </p:tav>
                                        <p:tav tm="100000">
                                          <p:val>
                                            <p:strVal val="#ppt_x"/>
                                          </p:val>
                                        </p:tav>
                                      </p:tavLst>
                                    </p:anim>
                                    <p:anim calcmode="lin" valueType="num">
                                      <p:cBhvr additive="base">
                                        <p:cTn id="8" dur="500" fill="hold"/>
                                        <p:tgtEl>
                                          <p:spTgt spid="7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accel="50000" decel="50000" fill="hold" nodeType="after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additive="base">
                                        <p:cTn id="12" dur="500" fill="hold"/>
                                        <p:tgtEl>
                                          <p:spTgt spid="85"/>
                                        </p:tgtEl>
                                        <p:attrNameLst>
                                          <p:attrName>ppt_x</p:attrName>
                                        </p:attrNameLst>
                                      </p:cBhvr>
                                      <p:tavLst>
                                        <p:tav tm="0">
                                          <p:val>
                                            <p:strVal val="1+#ppt_w/2"/>
                                          </p:val>
                                        </p:tav>
                                        <p:tav tm="100000">
                                          <p:val>
                                            <p:strVal val="#ppt_x"/>
                                          </p:val>
                                        </p:tav>
                                      </p:tavLst>
                                    </p:anim>
                                    <p:anim calcmode="lin" valueType="num">
                                      <p:cBhvr additive="base">
                                        <p:cTn id="13" dur="500" fill="hold"/>
                                        <p:tgtEl>
                                          <p:spTgt spid="8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accel="50000" decel="50000" fill="hold" nodeType="afterEffect">
                                  <p:stCondLst>
                                    <p:cond delay="0"/>
                                  </p:stCondLst>
                                  <p:childTnLst>
                                    <p:set>
                                      <p:cBhvr>
                                        <p:cTn id="16" dur="1" fill="hold">
                                          <p:stCondLst>
                                            <p:cond delay="0"/>
                                          </p:stCondLst>
                                        </p:cTn>
                                        <p:tgtEl>
                                          <p:spTgt spid="95"/>
                                        </p:tgtEl>
                                        <p:attrNameLst>
                                          <p:attrName>style.visibility</p:attrName>
                                        </p:attrNameLst>
                                      </p:cBhvr>
                                      <p:to>
                                        <p:strVal val="visible"/>
                                      </p:to>
                                    </p:set>
                                    <p:anim calcmode="lin" valueType="num">
                                      <p:cBhvr additive="base">
                                        <p:cTn id="17" dur="500" fill="hold"/>
                                        <p:tgtEl>
                                          <p:spTgt spid="95"/>
                                        </p:tgtEl>
                                        <p:attrNameLst>
                                          <p:attrName>ppt_x</p:attrName>
                                        </p:attrNameLst>
                                      </p:cBhvr>
                                      <p:tavLst>
                                        <p:tav tm="0">
                                          <p:val>
                                            <p:strVal val="0-#ppt_w/2"/>
                                          </p:val>
                                        </p:tav>
                                        <p:tav tm="100000">
                                          <p:val>
                                            <p:strVal val="#ppt_x"/>
                                          </p:val>
                                        </p:tav>
                                      </p:tavLst>
                                    </p:anim>
                                    <p:anim calcmode="lin" valueType="num">
                                      <p:cBhvr additive="base">
                                        <p:cTn id="18" dur="500" fill="hold"/>
                                        <p:tgtEl>
                                          <p:spTgt spid="9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accel="50000" decel="50000" fill="hold" nodeType="afterEffect">
                                  <p:stCondLst>
                                    <p:cond delay="0"/>
                                  </p:stCondLst>
                                  <p:childTnLst>
                                    <p:set>
                                      <p:cBhvr>
                                        <p:cTn id="21" dur="1" fill="hold">
                                          <p:stCondLst>
                                            <p:cond delay="0"/>
                                          </p:stCondLst>
                                        </p:cTn>
                                        <p:tgtEl>
                                          <p:spTgt spid="103"/>
                                        </p:tgtEl>
                                        <p:attrNameLst>
                                          <p:attrName>style.visibility</p:attrName>
                                        </p:attrNameLst>
                                      </p:cBhvr>
                                      <p:to>
                                        <p:strVal val="visible"/>
                                      </p:to>
                                    </p:set>
                                    <p:anim calcmode="lin" valueType="num">
                                      <p:cBhvr additive="base">
                                        <p:cTn id="22" dur="500" fill="hold"/>
                                        <p:tgtEl>
                                          <p:spTgt spid="103"/>
                                        </p:tgtEl>
                                        <p:attrNameLst>
                                          <p:attrName>ppt_x</p:attrName>
                                        </p:attrNameLst>
                                      </p:cBhvr>
                                      <p:tavLst>
                                        <p:tav tm="0">
                                          <p:val>
                                            <p:strVal val="1+#ppt_w/2"/>
                                          </p:val>
                                        </p:tav>
                                        <p:tav tm="100000">
                                          <p:val>
                                            <p:strVal val="#ppt_x"/>
                                          </p:val>
                                        </p:tav>
                                      </p:tavLst>
                                    </p:anim>
                                    <p:anim calcmode="lin" valueType="num">
                                      <p:cBhvr additive="base">
                                        <p:cTn id="23" dur="50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Chart 63"/>
          <p:cNvGraphicFramePr/>
          <p:nvPr/>
        </p:nvGraphicFramePr>
        <p:xfrm>
          <a:off x="1027245" y="1088553"/>
          <a:ext cx="10104735" cy="3523393"/>
        </p:xfrm>
        <a:graphic>
          <a:graphicData uri="http://schemas.openxmlformats.org/drawingml/2006/chart">
            <c:chart xmlns:c="http://schemas.openxmlformats.org/drawingml/2006/chart" xmlns:r="http://schemas.openxmlformats.org/officeDocument/2006/relationships" r:id="rId3"/>
          </a:graphicData>
        </a:graphic>
      </p:graphicFrame>
      <p:grpSp>
        <p:nvGrpSpPr>
          <p:cNvPr id="41" name="Group 47"/>
          <p:cNvGrpSpPr/>
          <p:nvPr/>
        </p:nvGrpSpPr>
        <p:grpSpPr>
          <a:xfrm>
            <a:off x="2634513" y="4656170"/>
            <a:ext cx="6385529" cy="268134"/>
            <a:chOff x="2221306" y="3931835"/>
            <a:chExt cx="4789770" cy="201101"/>
          </a:xfrm>
        </p:grpSpPr>
        <p:grpSp>
          <p:nvGrpSpPr>
            <p:cNvPr id="42" name="Group 50"/>
            <p:cNvGrpSpPr/>
            <p:nvPr/>
          </p:nvGrpSpPr>
          <p:grpSpPr>
            <a:xfrm>
              <a:off x="2221306" y="3931835"/>
              <a:ext cx="852486" cy="194452"/>
              <a:chOff x="2221306" y="3914656"/>
              <a:chExt cx="852486" cy="194452"/>
            </a:xfrm>
          </p:grpSpPr>
          <p:sp>
            <p:nvSpPr>
              <p:cNvPr id="52" name="TextBox 51"/>
              <p:cNvSpPr txBox="1"/>
              <p:nvPr/>
            </p:nvSpPr>
            <p:spPr>
              <a:xfrm>
                <a:off x="2785214" y="3934938"/>
                <a:ext cx="288578" cy="173124"/>
              </a:xfrm>
              <a:prstGeom prst="rect">
                <a:avLst/>
              </a:prstGeom>
              <a:noFill/>
            </p:spPr>
            <p:txBody>
              <a:bodyPr wrap="none" lIns="0" tIns="0" rIns="0" bIns="0" rtlCol="0" anchor="t">
                <a:spAutoFit/>
              </a:bodyPr>
              <a:lstStyle/>
              <a:p>
                <a:pPr algn="ctr"/>
                <a:r>
                  <a:rPr lang="zh-CN" altLang="en-US" sz="1500" b="1" dirty="0">
                    <a:solidFill>
                      <a:schemeClr val="tx1">
                        <a:lumMod val="75000"/>
                        <a:lumOff val="25000"/>
                      </a:schemeClr>
                    </a:solidFill>
                    <a:latin typeface="+mn-ea"/>
                  </a:rPr>
                  <a:t>架构</a:t>
                </a:r>
                <a:endParaRPr lang="en-US" sz="1500" b="1" dirty="0">
                  <a:solidFill>
                    <a:schemeClr val="tx1">
                      <a:lumMod val="75000"/>
                      <a:lumOff val="25000"/>
                    </a:schemeClr>
                  </a:solidFill>
                  <a:latin typeface="+mn-ea"/>
                </a:endParaRPr>
              </a:p>
            </p:txBody>
          </p:sp>
          <p:sp>
            <p:nvSpPr>
              <p:cNvPr id="53" name="Rounded Rectangle 52"/>
              <p:cNvSpPr>
                <a:spLocks noChangeAspect="1"/>
              </p:cNvSpPr>
              <p:nvPr/>
            </p:nvSpPr>
            <p:spPr>
              <a:xfrm>
                <a:off x="2221306" y="3914656"/>
                <a:ext cx="200183" cy="19445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nvGrpSpPr>
            <p:cNvPr id="43" name="Group 45"/>
            <p:cNvGrpSpPr/>
            <p:nvPr/>
          </p:nvGrpSpPr>
          <p:grpSpPr>
            <a:xfrm>
              <a:off x="3599144" y="3931835"/>
              <a:ext cx="672798" cy="194452"/>
              <a:chOff x="3776442" y="3947915"/>
              <a:chExt cx="672798" cy="194452"/>
            </a:xfrm>
          </p:grpSpPr>
          <p:sp>
            <p:nvSpPr>
              <p:cNvPr id="50" name="TextBox 49"/>
              <p:cNvSpPr txBox="1"/>
              <p:nvPr/>
            </p:nvSpPr>
            <p:spPr>
              <a:xfrm>
                <a:off x="4160662" y="3968197"/>
                <a:ext cx="288578" cy="173124"/>
              </a:xfrm>
              <a:prstGeom prst="rect">
                <a:avLst/>
              </a:prstGeom>
              <a:noFill/>
            </p:spPr>
            <p:txBody>
              <a:bodyPr wrap="none" lIns="0" tIns="0" rIns="0" bIns="0" rtlCol="0" anchor="t">
                <a:spAutoFit/>
              </a:bodyPr>
              <a:lstStyle/>
              <a:p>
                <a:pPr algn="ctr"/>
                <a:r>
                  <a:rPr lang="zh-CN" altLang="en-US" sz="1500" b="1" dirty="0">
                    <a:solidFill>
                      <a:schemeClr val="tx1">
                        <a:lumMod val="75000"/>
                        <a:lumOff val="25000"/>
                      </a:schemeClr>
                    </a:solidFill>
                    <a:latin typeface="+mn-ea"/>
                  </a:rPr>
                  <a:t>分析</a:t>
                </a:r>
                <a:endParaRPr lang="en-US" sz="1500" b="1" dirty="0">
                  <a:solidFill>
                    <a:schemeClr val="tx1">
                      <a:lumMod val="75000"/>
                      <a:lumOff val="25000"/>
                    </a:schemeClr>
                  </a:solidFill>
                  <a:latin typeface="+mn-ea"/>
                </a:endParaRPr>
              </a:p>
            </p:txBody>
          </p:sp>
          <p:sp>
            <p:nvSpPr>
              <p:cNvPr id="51" name="Rounded Rectangle 50"/>
              <p:cNvSpPr>
                <a:spLocks noChangeAspect="1"/>
              </p:cNvSpPr>
              <p:nvPr/>
            </p:nvSpPr>
            <p:spPr>
              <a:xfrm>
                <a:off x="3776442" y="3947915"/>
                <a:ext cx="200183" cy="19445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nvGrpSpPr>
            <p:cNvPr id="44" name="Group 37"/>
            <p:cNvGrpSpPr/>
            <p:nvPr/>
          </p:nvGrpSpPr>
          <p:grpSpPr>
            <a:xfrm>
              <a:off x="4664700" y="3931835"/>
              <a:ext cx="841028" cy="194452"/>
              <a:chOff x="4725932" y="3949014"/>
              <a:chExt cx="841028" cy="194452"/>
            </a:xfrm>
          </p:grpSpPr>
          <p:sp>
            <p:nvSpPr>
              <p:cNvPr id="48" name="TextBox 47"/>
              <p:cNvSpPr txBox="1"/>
              <p:nvPr/>
            </p:nvSpPr>
            <p:spPr>
              <a:xfrm>
                <a:off x="5278382" y="3966831"/>
                <a:ext cx="288578" cy="173124"/>
              </a:xfrm>
              <a:prstGeom prst="rect">
                <a:avLst/>
              </a:prstGeom>
              <a:noFill/>
            </p:spPr>
            <p:txBody>
              <a:bodyPr wrap="none" lIns="0" tIns="0" rIns="0" bIns="0" rtlCol="0" anchor="t">
                <a:spAutoFit/>
              </a:bodyPr>
              <a:lstStyle/>
              <a:p>
                <a:pPr algn="ctr"/>
                <a:r>
                  <a:rPr lang="zh-CN" altLang="en-US" sz="1500" b="1" dirty="0">
                    <a:solidFill>
                      <a:schemeClr val="tx1">
                        <a:lumMod val="75000"/>
                        <a:lumOff val="25000"/>
                      </a:schemeClr>
                    </a:solidFill>
                    <a:latin typeface="+mn-ea"/>
                  </a:rPr>
                  <a:t>完善</a:t>
                </a:r>
                <a:endParaRPr lang="en-US" sz="1500" b="1" dirty="0">
                  <a:solidFill>
                    <a:schemeClr val="tx1">
                      <a:lumMod val="75000"/>
                      <a:lumOff val="25000"/>
                    </a:schemeClr>
                  </a:solidFill>
                  <a:latin typeface="+mn-ea"/>
                </a:endParaRPr>
              </a:p>
            </p:txBody>
          </p:sp>
          <p:sp>
            <p:nvSpPr>
              <p:cNvPr id="49" name="Rounded Rectangle 48"/>
              <p:cNvSpPr>
                <a:spLocks noChangeAspect="1"/>
              </p:cNvSpPr>
              <p:nvPr/>
            </p:nvSpPr>
            <p:spPr>
              <a:xfrm>
                <a:off x="4725932" y="3949014"/>
                <a:ext cx="200183" cy="19445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nvGrpSpPr>
            <p:cNvPr id="45" name="Group 41"/>
            <p:cNvGrpSpPr/>
            <p:nvPr/>
          </p:nvGrpSpPr>
          <p:grpSpPr>
            <a:xfrm>
              <a:off x="6077268" y="3931835"/>
              <a:ext cx="933808" cy="201101"/>
              <a:chOff x="6077268" y="3949014"/>
              <a:chExt cx="933808" cy="201101"/>
            </a:xfrm>
          </p:grpSpPr>
          <p:sp>
            <p:nvSpPr>
              <p:cNvPr id="46" name="TextBox 45"/>
              <p:cNvSpPr txBox="1"/>
              <p:nvPr/>
            </p:nvSpPr>
            <p:spPr>
              <a:xfrm>
                <a:off x="6722498" y="3976991"/>
                <a:ext cx="288578" cy="173124"/>
              </a:xfrm>
              <a:prstGeom prst="rect">
                <a:avLst/>
              </a:prstGeom>
              <a:noFill/>
            </p:spPr>
            <p:txBody>
              <a:bodyPr wrap="none" lIns="0" tIns="0" rIns="0" bIns="0" rtlCol="0" anchor="t">
                <a:spAutoFit/>
              </a:bodyPr>
              <a:lstStyle/>
              <a:p>
                <a:pPr algn="ctr"/>
                <a:r>
                  <a:rPr lang="zh-CN" altLang="en-US" sz="1500" b="1" dirty="0">
                    <a:solidFill>
                      <a:schemeClr val="tx1">
                        <a:lumMod val="75000"/>
                        <a:lumOff val="25000"/>
                      </a:schemeClr>
                    </a:solidFill>
                    <a:latin typeface="+mn-ea"/>
                  </a:rPr>
                  <a:t>重建</a:t>
                </a:r>
                <a:endParaRPr lang="en-US" sz="1500" b="1" dirty="0">
                  <a:solidFill>
                    <a:schemeClr val="tx1">
                      <a:lumMod val="75000"/>
                      <a:lumOff val="25000"/>
                    </a:schemeClr>
                  </a:solidFill>
                  <a:latin typeface="+mn-ea"/>
                </a:endParaRPr>
              </a:p>
            </p:txBody>
          </p:sp>
          <p:sp>
            <p:nvSpPr>
              <p:cNvPr id="47" name="Rounded Rectangle 46"/>
              <p:cNvSpPr>
                <a:spLocks noChangeAspect="1"/>
              </p:cNvSpPr>
              <p:nvPr/>
            </p:nvSpPr>
            <p:spPr>
              <a:xfrm>
                <a:off x="6077268" y="3949014"/>
                <a:ext cx="200183" cy="19445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sp>
        <p:nvSpPr>
          <p:cNvPr id="54" name="TextBox 53"/>
          <p:cNvSpPr txBox="1"/>
          <p:nvPr/>
        </p:nvSpPr>
        <p:spPr>
          <a:xfrm>
            <a:off x="1035440" y="5296591"/>
            <a:ext cx="10121124" cy="615553"/>
          </a:xfrm>
          <a:prstGeom prst="rect">
            <a:avLst/>
          </a:prstGeom>
          <a:noFill/>
        </p:spPr>
        <p:txBody>
          <a:bodyPr wrap="square" lIns="0" tIns="0" rIns="0" bIns="0" rtlCol="0">
            <a:spAutoFit/>
          </a:bodyPr>
          <a:lstStyle/>
          <a:p>
            <a:pPr algn="ctr"/>
            <a:r>
              <a:rPr lang="zh-CN" altLang="en-US" sz="1300" dirty="0">
                <a:solidFill>
                  <a:schemeClr val="tx1">
                    <a:lumMod val="50000"/>
                    <a:lumOff val="50000"/>
                  </a:schemeClr>
                </a:solidFill>
                <a:latin typeface="+mn-ea"/>
              </a:rPr>
              <a:t>此处添加详细文本描述，建议与标题相关并符合整体语言风格，语言描述尽量简洁生动。尽量将每页幻灯片的字数控制在</a:t>
            </a:r>
            <a:r>
              <a:rPr lang="en-US" altLang="zh-CN" sz="1300" dirty="0">
                <a:solidFill>
                  <a:schemeClr val="tx1">
                    <a:lumMod val="50000"/>
                    <a:lumOff val="50000"/>
                  </a:schemeClr>
                </a:solidFill>
                <a:latin typeface="+mn-ea"/>
              </a:rPr>
              <a:t>200</a:t>
            </a:r>
            <a:r>
              <a:rPr lang="zh-CN" altLang="en-US" sz="1300" dirty="0">
                <a:solidFill>
                  <a:schemeClr val="tx1">
                    <a:lumMod val="50000"/>
                    <a:lumOff val="50000"/>
                  </a:schemeClr>
                </a:solidFill>
                <a:latin typeface="+mn-ea"/>
              </a:rPr>
              <a:t>字以内，据统计每页幻灯片的最好控制在</a:t>
            </a:r>
            <a:r>
              <a:rPr lang="en-US" altLang="zh-CN" sz="1300" dirty="0">
                <a:solidFill>
                  <a:schemeClr val="tx1">
                    <a:lumMod val="50000"/>
                    <a:lumOff val="50000"/>
                  </a:schemeClr>
                </a:solidFill>
                <a:latin typeface="+mn-ea"/>
              </a:rPr>
              <a:t>5</a:t>
            </a:r>
            <a:r>
              <a:rPr lang="zh-CN" altLang="en-US" sz="1300" dirty="0">
                <a:solidFill>
                  <a:schemeClr val="tx1">
                    <a:lumMod val="50000"/>
                    <a:lumOff val="50000"/>
                  </a:schemeClr>
                </a:solidFill>
                <a:latin typeface="+mn-ea"/>
              </a:rPr>
              <a:t>分钟之内。此处添加详细文本描述，建议与标题相关并符合整体语言风格，语言描述尽量简洁生动。尽量将每页幻灯片的字数控制在</a:t>
            </a:r>
            <a:r>
              <a:rPr lang="en-US" altLang="zh-CN" sz="1300" dirty="0">
                <a:solidFill>
                  <a:schemeClr val="tx1">
                    <a:lumMod val="50000"/>
                    <a:lumOff val="50000"/>
                  </a:schemeClr>
                </a:solidFill>
                <a:latin typeface="+mn-ea"/>
              </a:rPr>
              <a:t>200</a:t>
            </a:r>
            <a:r>
              <a:rPr lang="zh-CN" altLang="en-US" sz="1300" dirty="0">
                <a:solidFill>
                  <a:schemeClr val="tx1">
                    <a:lumMod val="50000"/>
                    <a:lumOff val="50000"/>
                  </a:schemeClr>
                </a:solidFill>
                <a:latin typeface="+mn-ea"/>
              </a:rPr>
              <a:t>字以内，据统计每页幻灯片的最好控制在</a:t>
            </a:r>
            <a:r>
              <a:rPr lang="en-US" altLang="zh-CN" sz="1300" dirty="0">
                <a:solidFill>
                  <a:schemeClr val="tx1">
                    <a:lumMod val="50000"/>
                    <a:lumOff val="50000"/>
                  </a:schemeClr>
                </a:solidFill>
                <a:latin typeface="+mn-ea"/>
              </a:rPr>
              <a:t>5</a:t>
            </a:r>
            <a:r>
              <a:rPr lang="zh-CN" altLang="en-US" sz="1300" dirty="0">
                <a:solidFill>
                  <a:schemeClr val="tx1">
                    <a:lumMod val="50000"/>
                    <a:lumOff val="50000"/>
                  </a:schemeClr>
                </a:solidFill>
                <a:latin typeface="+mn-ea"/>
              </a:rPr>
              <a:t>分钟之内。</a:t>
            </a:r>
          </a:p>
        </p:txBody>
      </p:sp>
      <p:cxnSp>
        <p:nvCxnSpPr>
          <p:cNvPr id="55" name="Straight Connector 54"/>
          <p:cNvCxnSpPr/>
          <p:nvPr/>
        </p:nvCxnSpPr>
        <p:spPr>
          <a:xfrm>
            <a:off x="1043634" y="5118805"/>
            <a:ext cx="10104735"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graphicEl>
                                              <a:chart seriesIdx="-3" categoryIdx="-3" bldStep="gridLegend"/>
                                            </p:graphicEl>
                                          </p:spTgt>
                                        </p:tgtEl>
                                        <p:attrNameLst>
                                          <p:attrName>style.visibility</p:attrName>
                                        </p:attrNameLst>
                                      </p:cBhvr>
                                      <p:to>
                                        <p:strVal val="visible"/>
                                      </p:to>
                                    </p:set>
                                    <p:animEffect transition="in" filter="fade">
                                      <p:cBhvr>
                                        <p:cTn id="7" dur="1000"/>
                                        <p:tgtEl>
                                          <p:spTgt spid="64">
                                            <p:graphicEl>
                                              <a:chart seriesIdx="-3" categoryIdx="-3" bldStep="gridLegend"/>
                                            </p:graphicEl>
                                          </p:spTgt>
                                        </p:tgtEl>
                                      </p:cBhvr>
                                    </p:animEffect>
                                  </p:childTnLst>
                                </p:cTn>
                              </p:par>
                            </p:childTnLst>
                          </p:cTn>
                        </p:par>
                        <p:par>
                          <p:cTn id="8" fill="hold">
                            <p:stCondLst>
                              <p:cond delay="1000"/>
                            </p:stCondLst>
                            <p:childTnLst>
                              <p:par>
                                <p:cTn id="9" presetID="12" presetClass="entr" presetSubtype="8" fill="hold" grpId="0" nodeType="afterEffect">
                                  <p:stCondLst>
                                    <p:cond delay="0"/>
                                  </p:stCondLst>
                                  <p:childTnLst>
                                    <p:set>
                                      <p:cBhvr>
                                        <p:cTn id="10" dur="1" fill="hold">
                                          <p:stCondLst>
                                            <p:cond delay="0"/>
                                          </p:stCondLst>
                                        </p:cTn>
                                        <p:tgtEl>
                                          <p:spTgt spid="64">
                                            <p:graphicEl>
                                              <a:chart seriesIdx="0" categoryIdx="-4" bldStep="series"/>
                                            </p:graphicEl>
                                          </p:spTgt>
                                        </p:tgtEl>
                                        <p:attrNameLst>
                                          <p:attrName>style.visibility</p:attrName>
                                        </p:attrNameLst>
                                      </p:cBhvr>
                                      <p:to>
                                        <p:strVal val="visible"/>
                                      </p:to>
                                    </p:set>
                                    <p:animEffect transition="in" filter="slide(fromLeft)">
                                      <p:cBhvr>
                                        <p:cTn id="11" dur="1000"/>
                                        <p:tgtEl>
                                          <p:spTgt spid="64">
                                            <p:graphicEl>
                                              <a:chart seriesIdx="0" categoryIdx="-4" bldStep="series"/>
                                            </p:graphicEl>
                                          </p:spTgt>
                                        </p:tgtEl>
                                      </p:cBhvr>
                                    </p:animEffect>
                                  </p:childTnLst>
                                </p:cTn>
                              </p:par>
                            </p:childTnLst>
                          </p:cTn>
                        </p:par>
                        <p:par>
                          <p:cTn id="12" fill="hold">
                            <p:stCondLst>
                              <p:cond delay="2000"/>
                            </p:stCondLst>
                            <p:childTnLst>
                              <p:par>
                                <p:cTn id="13" presetID="12" presetClass="entr" presetSubtype="8" fill="hold" grpId="0" nodeType="afterEffect">
                                  <p:stCondLst>
                                    <p:cond delay="0"/>
                                  </p:stCondLst>
                                  <p:childTnLst>
                                    <p:set>
                                      <p:cBhvr>
                                        <p:cTn id="14" dur="1" fill="hold">
                                          <p:stCondLst>
                                            <p:cond delay="0"/>
                                          </p:stCondLst>
                                        </p:cTn>
                                        <p:tgtEl>
                                          <p:spTgt spid="64">
                                            <p:graphicEl>
                                              <a:chart seriesIdx="1" categoryIdx="-4" bldStep="series"/>
                                            </p:graphicEl>
                                          </p:spTgt>
                                        </p:tgtEl>
                                        <p:attrNameLst>
                                          <p:attrName>style.visibility</p:attrName>
                                        </p:attrNameLst>
                                      </p:cBhvr>
                                      <p:to>
                                        <p:strVal val="visible"/>
                                      </p:to>
                                    </p:set>
                                    <p:animEffect transition="in" filter="slide(fromLeft)">
                                      <p:cBhvr>
                                        <p:cTn id="15" dur="1000"/>
                                        <p:tgtEl>
                                          <p:spTgt spid="64">
                                            <p:graphicEl>
                                              <a:chart seriesIdx="1" categoryIdx="-4" bldStep="series"/>
                                            </p:graphicEl>
                                          </p:spTgt>
                                        </p:tgtEl>
                                      </p:cBhvr>
                                    </p:animEffect>
                                  </p:childTnLst>
                                </p:cTn>
                              </p:par>
                            </p:childTnLst>
                          </p:cTn>
                        </p:par>
                        <p:par>
                          <p:cTn id="16" fill="hold">
                            <p:stCondLst>
                              <p:cond delay="3000"/>
                            </p:stCondLst>
                            <p:childTnLst>
                              <p:par>
                                <p:cTn id="17" presetID="12" presetClass="entr" presetSubtype="8" fill="hold" grpId="0" nodeType="afterEffect">
                                  <p:stCondLst>
                                    <p:cond delay="0"/>
                                  </p:stCondLst>
                                  <p:childTnLst>
                                    <p:set>
                                      <p:cBhvr>
                                        <p:cTn id="18" dur="1" fill="hold">
                                          <p:stCondLst>
                                            <p:cond delay="0"/>
                                          </p:stCondLst>
                                        </p:cTn>
                                        <p:tgtEl>
                                          <p:spTgt spid="64">
                                            <p:graphicEl>
                                              <a:chart seriesIdx="2" categoryIdx="-4" bldStep="series"/>
                                            </p:graphicEl>
                                          </p:spTgt>
                                        </p:tgtEl>
                                        <p:attrNameLst>
                                          <p:attrName>style.visibility</p:attrName>
                                        </p:attrNameLst>
                                      </p:cBhvr>
                                      <p:to>
                                        <p:strVal val="visible"/>
                                      </p:to>
                                    </p:set>
                                    <p:animEffect transition="in" filter="slide(fromLeft)">
                                      <p:cBhvr>
                                        <p:cTn id="19" dur="1000"/>
                                        <p:tgtEl>
                                          <p:spTgt spid="64">
                                            <p:graphicEl>
                                              <a:chart seriesIdx="2" categoryIdx="-4" bldStep="series"/>
                                            </p:graphicEl>
                                          </p:spTgt>
                                        </p:tgtEl>
                                      </p:cBhvr>
                                    </p:animEffect>
                                  </p:childTnLst>
                                </p:cTn>
                              </p:par>
                            </p:childTnLst>
                          </p:cTn>
                        </p:par>
                        <p:par>
                          <p:cTn id="20" fill="hold">
                            <p:stCondLst>
                              <p:cond delay="4000"/>
                            </p:stCondLst>
                            <p:childTnLst>
                              <p:par>
                                <p:cTn id="21" presetID="12" presetClass="entr" presetSubtype="8" fill="hold" grpId="0" nodeType="afterEffect">
                                  <p:stCondLst>
                                    <p:cond delay="0"/>
                                  </p:stCondLst>
                                  <p:childTnLst>
                                    <p:set>
                                      <p:cBhvr>
                                        <p:cTn id="22" dur="1" fill="hold">
                                          <p:stCondLst>
                                            <p:cond delay="0"/>
                                          </p:stCondLst>
                                        </p:cTn>
                                        <p:tgtEl>
                                          <p:spTgt spid="64">
                                            <p:graphicEl>
                                              <a:chart seriesIdx="3" categoryIdx="-4" bldStep="series"/>
                                            </p:graphicEl>
                                          </p:spTgt>
                                        </p:tgtEl>
                                        <p:attrNameLst>
                                          <p:attrName>style.visibility</p:attrName>
                                        </p:attrNameLst>
                                      </p:cBhvr>
                                      <p:to>
                                        <p:strVal val="visible"/>
                                      </p:to>
                                    </p:set>
                                    <p:animEffect transition="in" filter="slide(fromLeft)">
                                      <p:cBhvr>
                                        <p:cTn id="23" dur="1000"/>
                                        <p:tgtEl>
                                          <p:spTgt spid="64">
                                            <p:graphicEl>
                                              <a:chart seriesIdx="3" categoryIdx="-4" bldStep="series"/>
                                            </p:graphicEl>
                                          </p:spTgt>
                                        </p:tgtEl>
                                      </p:cBhvr>
                                    </p:animEffect>
                                  </p:childTnLst>
                                </p:cTn>
                              </p:par>
                            </p:childTnLst>
                          </p:cTn>
                        </p:par>
                        <p:par>
                          <p:cTn id="24" fill="hold">
                            <p:stCondLst>
                              <p:cond delay="5000"/>
                            </p:stCondLst>
                            <p:childTnLst>
                              <p:par>
                                <p:cTn id="25" presetID="12" presetClass="entr" presetSubtype="4" fill="hold" nodeType="after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slide(fromBottom)">
                                      <p:cBhvr>
                                        <p:cTn id="27" dur="500"/>
                                        <p:tgtEl>
                                          <p:spTgt spid="41"/>
                                        </p:tgtEl>
                                      </p:cBhvr>
                                    </p:animEffect>
                                  </p:childTnLst>
                                </p:cTn>
                              </p:par>
                            </p:childTnLst>
                          </p:cTn>
                        </p:par>
                        <p:par>
                          <p:cTn id="28" fill="hold">
                            <p:stCondLst>
                              <p:cond delay="5500"/>
                            </p:stCondLst>
                            <p:childTnLst>
                              <p:par>
                                <p:cTn id="29" presetID="18" presetClass="entr" presetSubtype="3" fill="hold" nodeType="after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strips(upRight)">
                                      <p:cBhvr>
                                        <p:cTn id="31" dur="500"/>
                                        <p:tgtEl>
                                          <p:spTgt spid="55"/>
                                        </p:tgtEl>
                                      </p:cBhvr>
                                    </p:animEffect>
                                  </p:childTnLst>
                                </p:cTn>
                              </p:par>
                            </p:childTnLst>
                          </p:cTn>
                        </p:par>
                        <p:par>
                          <p:cTn id="32" fill="hold">
                            <p:stCondLst>
                              <p:cond delay="6000"/>
                            </p:stCondLst>
                            <p:childTnLst>
                              <p:par>
                                <p:cTn id="33" presetID="10" presetClass="entr" presetSubtype="0" fill="hold" grpId="0" nodeType="after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fade">
                                      <p:cBhvr>
                                        <p:cTn id="3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4" grpId="0">
        <p:bldSub>
          <a:bldChart bld="series"/>
        </p:bldSub>
      </p:bldGraphic>
      <p:bldP spid="5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Box 53"/>
          <p:cNvSpPr txBox="1"/>
          <p:nvPr/>
        </p:nvSpPr>
        <p:spPr>
          <a:xfrm>
            <a:off x="1035440" y="5655394"/>
            <a:ext cx="10121124" cy="615553"/>
          </a:xfrm>
          <a:prstGeom prst="rect">
            <a:avLst/>
          </a:prstGeom>
          <a:noFill/>
        </p:spPr>
        <p:txBody>
          <a:bodyPr wrap="square" lIns="0" tIns="0" rIns="0" bIns="0" rtlCol="0">
            <a:spAutoFit/>
          </a:bodyPr>
          <a:lstStyle/>
          <a:p>
            <a:pPr algn="ctr"/>
            <a:r>
              <a:rPr lang="zh-CN" altLang="en-US" sz="1300" dirty="0">
                <a:solidFill>
                  <a:schemeClr val="tx1">
                    <a:lumMod val="50000"/>
                    <a:lumOff val="50000"/>
                  </a:schemeClr>
                </a:solidFill>
                <a:latin typeface="+mn-ea"/>
              </a:rPr>
              <a:t>此处添加详细文本描述，建议与标题相关并符合整体语言风格，语言描述尽量简洁生动。尽量将每页幻灯片的字数控制在</a:t>
            </a:r>
            <a:r>
              <a:rPr lang="en-US" altLang="zh-CN" sz="1300" dirty="0">
                <a:solidFill>
                  <a:schemeClr val="tx1">
                    <a:lumMod val="50000"/>
                    <a:lumOff val="50000"/>
                  </a:schemeClr>
                </a:solidFill>
                <a:latin typeface="+mn-ea"/>
              </a:rPr>
              <a:t>200</a:t>
            </a:r>
            <a:r>
              <a:rPr lang="zh-CN" altLang="en-US" sz="1300" dirty="0">
                <a:solidFill>
                  <a:schemeClr val="tx1">
                    <a:lumMod val="50000"/>
                    <a:lumOff val="50000"/>
                  </a:schemeClr>
                </a:solidFill>
                <a:latin typeface="+mn-ea"/>
              </a:rPr>
              <a:t>字以内，据统计每页幻灯片的最好控制在</a:t>
            </a:r>
            <a:r>
              <a:rPr lang="en-US" altLang="zh-CN" sz="1300" dirty="0">
                <a:solidFill>
                  <a:schemeClr val="tx1">
                    <a:lumMod val="50000"/>
                    <a:lumOff val="50000"/>
                  </a:schemeClr>
                </a:solidFill>
                <a:latin typeface="+mn-ea"/>
              </a:rPr>
              <a:t>5</a:t>
            </a:r>
            <a:r>
              <a:rPr lang="zh-CN" altLang="en-US" sz="1300" dirty="0">
                <a:solidFill>
                  <a:schemeClr val="tx1">
                    <a:lumMod val="50000"/>
                    <a:lumOff val="50000"/>
                  </a:schemeClr>
                </a:solidFill>
                <a:latin typeface="+mn-ea"/>
              </a:rPr>
              <a:t>分钟之内。此处添加详细文本描述，建议与标题相关并符合整体语言风格，语言描述尽量简洁生动。尽量将每页幻灯片的字数控制在</a:t>
            </a:r>
            <a:r>
              <a:rPr lang="en-US" altLang="zh-CN" sz="1300" dirty="0">
                <a:solidFill>
                  <a:schemeClr val="tx1">
                    <a:lumMod val="50000"/>
                    <a:lumOff val="50000"/>
                  </a:schemeClr>
                </a:solidFill>
                <a:latin typeface="+mn-ea"/>
              </a:rPr>
              <a:t>200</a:t>
            </a:r>
            <a:r>
              <a:rPr lang="zh-CN" altLang="en-US" sz="1300" dirty="0">
                <a:solidFill>
                  <a:schemeClr val="tx1">
                    <a:lumMod val="50000"/>
                    <a:lumOff val="50000"/>
                  </a:schemeClr>
                </a:solidFill>
                <a:latin typeface="+mn-ea"/>
              </a:rPr>
              <a:t>字以内，据统计每页幻灯片的最好控制在</a:t>
            </a:r>
            <a:r>
              <a:rPr lang="en-US" altLang="zh-CN" sz="1300" dirty="0">
                <a:solidFill>
                  <a:schemeClr val="tx1">
                    <a:lumMod val="50000"/>
                    <a:lumOff val="50000"/>
                  </a:schemeClr>
                </a:solidFill>
                <a:latin typeface="+mn-ea"/>
              </a:rPr>
              <a:t>5</a:t>
            </a:r>
            <a:r>
              <a:rPr lang="zh-CN" altLang="en-US" sz="1300" dirty="0">
                <a:solidFill>
                  <a:schemeClr val="tx1">
                    <a:lumMod val="50000"/>
                    <a:lumOff val="50000"/>
                  </a:schemeClr>
                </a:solidFill>
                <a:latin typeface="+mn-ea"/>
              </a:rPr>
              <a:t>分钟之内。</a:t>
            </a:r>
          </a:p>
        </p:txBody>
      </p:sp>
      <p:cxnSp>
        <p:nvCxnSpPr>
          <p:cNvPr id="55" name="Straight Connector 54"/>
          <p:cNvCxnSpPr/>
          <p:nvPr/>
        </p:nvCxnSpPr>
        <p:spPr>
          <a:xfrm>
            <a:off x="1043634" y="5477608"/>
            <a:ext cx="10104735"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7877783" y="1662389"/>
            <a:ext cx="4332505" cy="3225989"/>
            <a:chOff x="5908510" y="1246791"/>
            <a:chExt cx="3249802" cy="2419492"/>
          </a:xfrm>
        </p:grpSpPr>
        <p:grpSp>
          <p:nvGrpSpPr>
            <p:cNvPr id="25" name="Group 24"/>
            <p:cNvGrpSpPr/>
            <p:nvPr/>
          </p:nvGrpSpPr>
          <p:grpSpPr>
            <a:xfrm flipH="1">
              <a:off x="5908510" y="1246791"/>
              <a:ext cx="3249802" cy="518462"/>
              <a:chOff x="1322198" y="1304396"/>
              <a:chExt cx="3249802" cy="518462"/>
            </a:xfrm>
          </p:grpSpPr>
          <p:sp>
            <p:nvSpPr>
              <p:cNvPr id="26" name="Pentagon 25"/>
              <p:cNvSpPr/>
              <p:nvPr/>
            </p:nvSpPr>
            <p:spPr>
              <a:xfrm>
                <a:off x="1322198" y="1304396"/>
                <a:ext cx="3249802" cy="518462"/>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sp>
            <p:nvSpPr>
              <p:cNvPr id="27" name="TextBox 26"/>
              <p:cNvSpPr txBox="1"/>
              <p:nvPr/>
            </p:nvSpPr>
            <p:spPr>
              <a:xfrm>
                <a:off x="3337282" y="1453982"/>
                <a:ext cx="913831" cy="219291"/>
              </a:xfrm>
              <a:prstGeom prst="rect">
                <a:avLst/>
              </a:prstGeom>
              <a:noFill/>
            </p:spPr>
            <p:txBody>
              <a:bodyPr wrap="none" lIns="0" tIns="0" rIns="0" bIns="0" rtlCol="0" anchor="ctr">
                <a:spAutoFit/>
              </a:bodyPr>
              <a:lstStyle/>
              <a:p>
                <a:pPr defTabSz="1218565">
                  <a:spcBef>
                    <a:spcPct val="20000"/>
                  </a:spcBef>
                  <a:defRPr/>
                </a:pPr>
                <a:r>
                  <a:rPr lang="zh-CN" altLang="en-US" sz="1900" dirty="0">
                    <a:solidFill>
                      <a:schemeClr val="bg1"/>
                    </a:solidFill>
                    <a:latin typeface="+mn-ea"/>
                  </a:rPr>
                  <a:t>添加副标题</a:t>
                </a:r>
                <a:endParaRPr lang="en-US" sz="1900" dirty="0">
                  <a:solidFill>
                    <a:schemeClr val="bg1"/>
                  </a:solidFill>
                  <a:latin typeface="+mn-ea"/>
                </a:endParaRPr>
              </a:p>
            </p:txBody>
          </p:sp>
        </p:grpSp>
        <p:grpSp>
          <p:nvGrpSpPr>
            <p:cNvPr id="28" name="Group 27"/>
            <p:cNvGrpSpPr/>
            <p:nvPr/>
          </p:nvGrpSpPr>
          <p:grpSpPr>
            <a:xfrm flipH="1">
              <a:off x="6405679" y="1880468"/>
              <a:ext cx="2731339" cy="518462"/>
              <a:chOff x="1322198" y="2110893"/>
              <a:chExt cx="2731339" cy="518462"/>
            </a:xfrm>
          </p:grpSpPr>
          <p:sp>
            <p:nvSpPr>
              <p:cNvPr id="29" name="Pentagon 28"/>
              <p:cNvSpPr/>
              <p:nvPr/>
            </p:nvSpPr>
            <p:spPr>
              <a:xfrm>
                <a:off x="1322198" y="2110893"/>
                <a:ext cx="2731339" cy="518462"/>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sp>
            <p:nvSpPr>
              <p:cNvPr id="30" name="TextBox 29"/>
              <p:cNvSpPr txBox="1"/>
              <p:nvPr/>
            </p:nvSpPr>
            <p:spPr>
              <a:xfrm>
                <a:off x="2722840" y="2263544"/>
                <a:ext cx="913831" cy="219291"/>
              </a:xfrm>
              <a:prstGeom prst="rect">
                <a:avLst/>
              </a:prstGeom>
              <a:noFill/>
            </p:spPr>
            <p:txBody>
              <a:bodyPr wrap="none" lIns="0" tIns="0" rIns="0" bIns="0" rtlCol="0" anchor="ctr">
                <a:spAutoFit/>
              </a:bodyPr>
              <a:lstStyle/>
              <a:p>
                <a:pPr defTabSz="1218565">
                  <a:spcBef>
                    <a:spcPct val="20000"/>
                  </a:spcBef>
                  <a:defRPr/>
                </a:pPr>
                <a:r>
                  <a:rPr lang="zh-CN" altLang="en-US" sz="1900" dirty="0">
                    <a:solidFill>
                      <a:schemeClr val="bg1"/>
                    </a:solidFill>
                    <a:latin typeface="+mn-ea"/>
                  </a:rPr>
                  <a:t>添加副标题</a:t>
                </a:r>
                <a:endParaRPr lang="en-US" sz="1900" dirty="0">
                  <a:solidFill>
                    <a:schemeClr val="bg1"/>
                  </a:solidFill>
                  <a:latin typeface="+mn-ea"/>
                </a:endParaRPr>
              </a:p>
            </p:txBody>
          </p:sp>
        </p:grpSp>
        <p:grpSp>
          <p:nvGrpSpPr>
            <p:cNvPr id="31" name="Group 30"/>
            <p:cNvGrpSpPr/>
            <p:nvPr/>
          </p:nvGrpSpPr>
          <p:grpSpPr>
            <a:xfrm flipH="1">
              <a:off x="6945435" y="2514145"/>
              <a:ext cx="2212876" cy="518462"/>
              <a:chOff x="1322199" y="2975000"/>
              <a:chExt cx="2212876" cy="518462"/>
            </a:xfrm>
          </p:grpSpPr>
          <p:sp>
            <p:nvSpPr>
              <p:cNvPr id="32" name="Pentagon 31"/>
              <p:cNvSpPr/>
              <p:nvPr/>
            </p:nvSpPr>
            <p:spPr>
              <a:xfrm>
                <a:off x="1322199" y="2975000"/>
                <a:ext cx="2212876" cy="51846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sp>
            <p:nvSpPr>
              <p:cNvPr id="33" name="TextBox 32"/>
              <p:cNvSpPr txBox="1"/>
              <p:nvPr/>
            </p:nvSpPr>
            <p:spPr>
              <a:xfrm>
                <a:off x="2350176" y="3130849"/>
                <a:ext cx="913831" cy="219291"/>
              </a:xfrm>
              <a:prstGeom prst="rect">
                <a:avLst/>
              </a:prstGeom>
              <a:noFill/>
            </p:spPr>
            <p:txBody>
              <a:bodyPr wrap="none" lIns="0" tIns="0" rIns="0" bIns="0" rtlCol="0" anchor="ctr">
                <a:spAutoFit/>
              </a:bodyPr>
              <a:lstStyle/>
              <a:p>
                <a:pPr defTabSz="1218565">
                  <a:spcBef>
                    <a:spcPct val="20000"/>
                  </a:spcBef>
                  <a:defRPr/>
                </a:pPr>
                <a:r>
                  <a:rPr lang="zh-CN" altLang="en-US" sz="1900" dirty="0">
                    <a:solidFill>
                      <a:schemeClr val="bg1"/>
                    </a:solidFill>
                    <a:latin typeface="+mn-ea"/>
                  </a:rPr>
                  <a:t>添加副标题</a:t>
                </a:r>
                <a:endParaRPr lang="en-US" sz="1900" dirty="0">
                  <a:solidFill>
                    <a:schemeClr val="bg1"/>
                  </a:solidFill>
                  <a:latin typeface="+mn-ea"/>
                </a:endParaRPr>
              </a:p>
            </p:txBody>
          </p:sp>
        </p:grpSp>
        <p:grpSp>
          <p:nvGrpSpPr>
            <p:cNvPr id="34" name="Group 33"/>
            <p:cNvGrpSpPr/>
            <p:nvPr/>
          </p:nvGrpSpPr>
          <p:grpSpPr>
            <a:xfrm flipH="1">
              <a:off x="7564598" y="3147821"/>
              <a:ext cx="1579198" cy="518462"/>
              <a:chOff x="1322200" y="3781498"/>
              <a:chExt cx="1579198" cy="518462"/>
            </a:xfrm>
          </p:grpSpPr>
          <p:sp>
            <p:nvSpPr>
              <p:cNvPr id="35" name="Pentagon 34"/>
              <p:cNvSpPr/>
              <p:nvPr/>
            </p:nvSpPr>
            <p:spPr>
              <a:xfrm>
                <a:off x="1322200" y="3781498"/>
                <a:ext cx="1579198" cy="518462"/>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sp>
            <p:nvSpPr>
              <p:cNvPr id="36" name="TextBox 35"/>
              <p:cNvSpPr txBox="1"/>
              <p:nvPr/>
            </p:nvSpPr>
            <p:spPr>
              <a:xfrm>
                <a:off x="1743520" y="3920637"/>
                <a:ext cx="913831" cy="219291"/>
              </a:xfrm>
              <a:prstGeom prst="rect">
                <a:avLst/>
              </a:prstGeom>
              <a:noFill/>
            </p:spPr>
            <p:txBody>
              <a:bodyPr wrap="none" lIns="0" tIns="0" rIns="0" bIns="0" rtlCol="0" anchor="ctr">
                <a:spAutoFit/>
              </a:bodyPr>
              <a:lstStyle/>
              <a:p>
                <a:pPr defTabSz="1218565">
                  <a:spcBef>
                    <a:spcPct val="20000"/>
                  </a:spcBef>
                  <a:defRPr/>
                </a:pPr>
                <a:r>
                  <a:rPr lang="zh-CN" altLang="en-US" sz="1900" dirty="0">
                    <a:solidFill>
                      <a:schemeClr val="bg1"/>
                    </a:solidFill>
                    <a:latin typeface="+mn-ea"/>
                  </a:rPr>
                  <a:t>添加副标题</a:t>
                </a:r>
                <a:endParaRPr lang="en-US" sz="1900" dirty="0">
                  <a:solidFill>
                    <a:schemeClr val="bg1"/>
                  </a:solidFill>
                  <a:latin typeface="+mn-ea"/>
                </a:endParaRPr>
              </a:p>
            </p:txBody>
          </p:sp>
        </p:grpSp>
      </p:grpSp>
      <p:graphicFrame>
        <p:nvGraphicFramePr>
          <p:cNvPr id="38" name="Chart 37"/>
          <p:cNvGraphicFramePr/>
          <p:nvPr/>
        </p:nvGraphicFramePr>
        <p:xfrm>
          <a:off x="796846" y="3391597"/>
          <a:ext cx="7747821" cy="1864052"/>
        </p:xfrm>
        <a:graphic>
          <a:graphicData uri="http://schemas.openxmlformats.org/drawingml/2006/chart">
            <c:chart xmlns:c="http://schemas.openxmlformats.org/drawingml/2006/chart" xmlns:r="http://schemas.openxmlformats.org/officeDocument/2006/relationships" r:id="rId3"/>
          </a:graphicData>
        </a:graphic>
      </p:graphicFrame>
      <p:sp>
        <p:nvSpPr>
          <p:cNvPr id="39" name="TextBox 38"/>
          <p:cNvSpPr txBox="1"/>
          <p:nvPr/>
        </p:nvSpPr>
        <p:spPr>
          <a:xfrm>
            <a:off x="796847" y="1278342"/>
            <a:ext cx="6998370" cy="1805623"/>
          </a:xfrm>
          <a:prstGeom prst="rect">
            <a:avLst/>
          </a:prstGeom>
          <a:noFill/>
        </p:spPr>
        <p:txBody>
          <a:bodyPr wrap="square" lIns="121908" tIns="60954" rIns="121908" bIns="60954" rtlCol="0">
            <a:spAutoFit/>
          </a:bodyPr>
          <a:lstStyle/>
          <a:p>
            <a:r>
              <a:rPr lang="zh-CN" altLang="en-US" sz="2100" dirty="0">
                <a:solidFill>
                  <a:schemeClr val="tx1">
                    <a:lumMod val="75000"/>
                    <a:lumOff val="25000"/>
                  </a:schemeClr>
                </a:solidFill>
                <a:latin typeface="+mn-ea"/>
              </a:rPr>
              <a:t>项目产品开发</a:t>
            </a:r>
            <a:endParaRPr lang="en-US" altLang="zh-CN" sz="2100" dirty="0">
              <a:solidFill>
                <a:schemeClr val="tx1">
                  <a:lumMod val="75000"/>
                  <a:lumOff val="25000"/>
                </a:schemeClr>
              </a:solidFill>
              <a:latin typeface="+mn-ea"/>
            </a:endParaRPr>
          </a:p>
          <a:p>
            <a:endParaRPr lang="en-US" sz="2100" dirty="0">
              <a:solidFill>
                <a:schemeClr val="tx1">
                  <a:lumMod val="75000"/>
                  <a:lumOff val="25000"/>
                </a:schemeClr>
              </a:solidFill>
              <a:latin typeface="+mn-ea"/>
            </a:endParaRPr>
          </a:p>
          <a:p>
            <a:r>
              <a:rPr lang="zh-CN" altLang="en-US" sz="1300" dirty="0">
                <a:solidFill>
                  <a:schemeClr val="tx1">
                    <a:lumMod val="65000"/>
                    <a:lumOff val="35000"/>
                  </a:schemeClr>
                </a:solidFill>
                <a:latin typeface="+mn-ea"/>
              </a:rPr>
              <a:t>此处添加详细文本描述，建议与标题相关并符合整体语言风格，语言描述尽量简洁生动。尽量将每页幻灯片的字数控制在</a:t>
            </a:r>
            <a:r>
              <a:rPr lang="en-US" altLang="zh-CN" sz="1300" dirty="0">
                <a:solidFill>
                  <a:schemeClr val="tx1">
                    <a:lumMod val="65000"/>
                    <a:lumOff val="35000"/>
                  </a:schemeClr>
                </a:solidFill>
                <a:latin typeface="+mn-ea"/>
              </a:rPr>
              <a:t>200</a:t>
            </a:r>
            <a:r>
              <a:rPr lang="zh-CN" altLang="en-US" sz="1300" dirty="0">
                <a:solidFill>
                  <a:schemeClr val="tx1">
                    <a:lumMod val="65000"/>
                    <a:lumOff val="35000"/>
                  </a:schemeClr>
                </a:solidFill>
                <a:latin typeface="+mn-ea"/>
              </a:rPr>
              <a:t>字以内，据统计每页幻灯片的最好控制在</a:t>
            </a:r>
            <a:r>
              <a:rPr lang="en-US" altLang="zh-CN" sz="1300" dirty="0">
                <a:solidFill>
                  <a:schemeClr val="tx1">
                    <a:lumMod val="65000"/>
                    <a:lumOff val="35000"/>
                  </a:schemeClr>
                </a:solidFill>
                <a:latin typeface="+mn-ea"/>
              </a:rPr>
              <a:t>5</a:t>
            </a:r>
            <a:r>
              <a:rPr lang="zh-CN" altLang="en-US" sz="1300" dirty="0">
                <a:solidFill>
                  <a:schemeClr val="tx1">
                    <a:lumMod val="65000"/>
                    <a:lumOff val="35000"/>
                  </a:schemeClr>
                </a:solidFill>
                <a:latin typeface="+mn-ea"/>
              </a:rPr>
              <a:t>分钟之内。</a:t>
            </a:r>
            <a:endParaRPr lang="en-US" altLang="zh-CN" sz="1300" dirty="0">
              <a:solidFill>
                <a:schemeClr val="tx1">
                  <a:lumMod val="65000"/>
                  <a:lumOff val="35000"/>
                </a:schemeClr>
              </a:solidFill>
              <a:latin typeface="+mn-ea"/>
            </a:endParaRPr>
          </a:p>
          <a:p>
            <a:endParaRPr lang="en-US" altLang="zh-CN" sz="1300" dirty="0">
              <a:solidFill>
                <a:schemeClr val="tx1">
                  <a:lumMod val="65000"/>
                  <a:lumOff val="35000"/>
                </a:schemeClr>
              </a:solidFill>
              <a:latin typeface="+mn-ea"/>
            </a:endParaRPr>
          </a:p>
          <a:p>
            <a:r>
              <a:rPr lang="zh-CN" altLang="en-US" sz="1300" dirty="0">
                <a:solidFill>
                  <a:schemeClr val="tx1">
                    <a:lumMod val="65000"/>
                    <a:lumOff val="35000"/>
                  </a:schemeClr>
                </a:solidFill>
                <a:latin typeface="+mn-ea"/>
              </a:rPr>
              <a:t>此处添加详细文本描述，建议与标题相关并符合整体语言风格，语言描述尽量简洁生动。尽量将每页幻灯片的字数控制在</a:t>
            </a:r>
            <a:r>
              <a:rPr lang="en-US" altLang="zh-CN" sz="1300" dirty="0">
                <a:solidFill>
                  <a:schemeClr val="tx1">
                    <a:lumMod val="65000"/>
                    <a:lumOff val="35000"/>
                  </a:schemeClr>
                </a:solidFill>
                <a:latin typeface="+mn-ea"/>
              </a:rPr>
              <a:t>200</a:t>
            </a:r>
            <a:r>
              <a:rPr lang="zh-CN" altLang="en-US" sz="1300" dirty="0">
                <a:solidFill>
                  <a:schemeClr val="tx1">
                    <a:lumMod val="65000"/>
                    <a:lumOff val="35000"/>
                  </a:schemeClr>
                </a:solidFill>
                <a:latin typeface="+mn-ea"/>
              </a:rPr>
              <a:t>字以内，据统计每页幻灯片的最好控制在</a:t>
            </a:r>
            <a:r>
              <a:rPr lang="en-US" altLang="zh-CN" sz="1300" dirty="0">
                <a:solidFill>
                  <a:schemeClr val="tx1">
                    <a:lumMod val="65000"/>
                    <a:lumOff val="35000"/>
                  </a:schemeClr>
                </a:solidFill>
                <a:latin typeface="+mn-ea"/>
              </a:rPr>
              <a:t>5</a:t>
            </a:r>
            <a:r>
              <a:rPr lang="zh-CN" altLang="en-US" sz="1300" dirty="0">
                <a:solidFill>
                  <a:schemeClr val="tx1">
                    <a:lumMod val="65000"/>
                    <a:lumOff val="35000"/>
                  </a:schemeClr>
                </a:solidFill>
                <a:latin typeface="+mn-ea"/>
              </a:rPr>
              <a:t>分钟之内。</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1000"/>
                                        <p:tgtEl>
                                          <p:spTgt spid="39"/>
                                        </p:tgtEl>
                                      </p:cBhvr>
                                    </p:animEffect>
                                  </p:childTnLst>
                                </p:cTn>
                              </p:par>
                            </p:childTnLst>
                          </p:cTn>
                        </p:par>
                        <p:par>
                          <p:cTn id="8" fill="hold">
                            <p:stCondLst>
                              <p:cond delay="1000"/>
                            </p:stCondLst>
                            <p:childTnLst>
                              <p:par>
                                <p:cTn id="9" presetID="12" presetClass="entr" presetSubtype="8" fill="hold" grpId="0" nodeType="afterEffect">
                                  <p:stCondLst>
                                    <p:cond delay="0"/>
                                  </p:stCondLst>
                                  <p:childTnLst>
                                    <p:set>
                                      <p:cBhvr>
                                        <p:cTn id="10" dur="1" fill="hold">
                                          <p:stCondLst>
                                            <p:cond delay="0"/>
                                          </p:stCondLst>
                                        </p:cTn>
                                        <p:tgtEl>
                                          <p:spTgt spid="38">
                                            <p:graphicEl>
                                              <a:chart seriesIdx="-3" categoryIdx="-3" bldStep="gridLegend"/>
                                            </p:graphicEl>
                                          </p:spTgt>
                                        </p:tgtEl>
                                        <p:attrNameLst>
                                          <p:attrName>style.visibility</p:attrName>
                                        </p:attrNameLst>
                                      </p:cBhvr>
                                      <p:to>
                                        <p:strVal val="visible"/>
                                      </p:to>
                                    </p:set>
                                    <p:animEffect transition="in" filter="slide(fromLeft)">
                                      <p:cBhvr>
                                        <p:cTn id="11" dur="500"/>
                                        <p:tgtEl>
                                          <p:spTgt spid="38">
                                            <p:graphicEl>
                                              <a:chart seriesIdx="-3" categoryIdx="-3" bldStep="gridLegend"/>
                                            </p:graphicEl>
                                          </p:spTgt>
                                        </p:tgtEl>
                                      </p:cBhvr>
                                    </p:animEffect>
                                  </p:childTnLst>
                                </p:cTn>
                              </p:par>
                            </p:childTnLst>
                          </p:cTn>
                        </p:par>
                        <p:par>
                          <p:cTn id="12" fill="hold">
                            <p:stCondLst>
                              <p:cond delay="1500"/>
                            </p:stCondLst>
                            <p:childTnLst>
                              <p:par>
                                <p:cTn id="13" presetID="12" presetClass="entr" presetSubtype="8" fill="hold" grpId="0" nodeType="afterEffect">
                                  <p:stCondLst>
                                    <p:cond delay="0"/>
                                  </p:stCondLst>
                                  <p:childTnLst>
                                    <p:set>
                                      <p:cBhvr>
                                        <p:cTn id="14" dur="1" fill="hold">
                                          <p:stCondLst>
                                            <p:cond delay="0"/>
                                          </p:stCondLst>
                                        </p:cTn>
                                        <p:tgtEl>
                                          <p:spTgt spid="38">
                                            <p:graphicEl>
                                              <a:chart seriesIdx="0" categoryIdx="-4" bldStep="series"/>
                                            </p:graphicEl>
                                          </p:spTgt>
                                        </p:tgtEl>
                                        <p:attrNameLst>
                                          <p:attrName>style.visibility</p:attrName>
                                        </p:attrNameLst>
                                      </p:cBhvr>
                                      <p:to>
                                        <p:strVal val="visible"/>
                                      </p:to>
                                    </p:set>
                                    <p:animEffect transition="in" filter="slide(fromLeft)">
                                      <p:cBhvr>
                                        <p:cTn id="15" dur="500"/>
                                        <p:tgtEl>
                                          <p:spTgt spid="38">
                                            <p:graphicEl>
                                              <a:chart seriesIdx="0" categoryIdx="-4" bldStep="series"/>
                                            </p:graphicEl>
                                          </p:spTgt>
                                        </p:tgtEl>
                                      </p:cBhvr>
                                    </p:animEffect>
                                  </p:childTnLst>
                                </p:cTn>
                              </p:par>
                            </p:childTnLst>
                          </p:cTn>
                        </p:par>
                        <p:par>
                          <p:cTn id="16" fill="hold">
                            <p:stCondLst>
                              <p:cond delay="2000"/>
                            </p:stCondLst>
                            <p:childTnLst>
                              <p:par>
                                <p:cTn id="17" presetID="12" presetClass="entr" presetSubtype="8" fill="hold" grpId="0" nodeType="afterEffect">
                                  <p:stCondLst>
                                    <p:cond delay="0"/>
                                  </p:stCondLst>
                                  <p:childTnLst>
                                    <p:set>
                                      <p:cBhvr>
                                        <p:cTn id="18" dur="1" fill="hold">
                                          <p:stCondLst>
                                            <p:cond delay="0"/>
                                          </p:stCondLst>
                                        </p:cTn>
                                        <p:tgtEl>
                                          <p:spTgt spid="38">
                                            <p:graphicEl>
                                              <a:chart seriesIdx="1" categoryIdx="-4" bldStep="series"/>
                                            </p:graphicEl>
                                          </p:spTgt>
                                        </p:tgtEl>
                                        <p:attrNameLst>
                                          <p:attrName>style.visibility</p:attrName>
                                        </p:attrNameLst>
                                      </p:cBhvr>
                                      <p:to>
                                        <p:strVal val="visible"/>
                                      </p:to>
                                    </p:set>
                                    <p:animEffect transition="in" filter="slide(fromLeft)">
                                      <p:cBhvr>
                                        <p:cTn id="19" dur="500"/>
                                        <p:tgtEl>
                                          <p:spTgt spid="38">
                                            <p:graphicEl>
                                              <a:chart seriesIdx="1" categoryIdx="-4" bldStep="series"/>
                                            </p:graphicEl>
                                          </p:spTgt>
                                        </p:tgtEl>
                                      </p:cBhvr>
                                    </p:animEffect>
                                  </p:childTnLst>
                                </p:cTn>
                              </p:par>
                            </p:childTnLst>
                          </p:cTn>
                        </p:par>
                        <p:par>
                          <p:cTn id="20" fill="hold">
                            <p:stCondLst>
                              <p:cond delay="2500"/>
                            </p:stCondLst>
                            <p:childTnLst>
                              <p:par>
                                <p:cTn id="21" presetID="12" presetClass="entr" presetSubtype="8" fill="hold" grpId="0" nodeType="afterEffect">
                                  <p:stCondLst>
                                    <p:cond delay="0"/>
                                  </p:stCondLst>
                                  <p:childTnLst>
                                    <p:set>
                                      <p:cBhvr>
                                        <p:cTn id="22" dur="1" fill="hold">
                                          <p:stCondLst>
                                            <p:cond delay="0"/>
                                          </p:stCondLst>
                                        </p:cTn>
                                        <p:tgtEl>
                                          <p:spTgt spid="38">
                                            <p:graphicEl>
                                              <a:chart seriesIdx="2" categoryIdx="-4" bldStep="series"/>
                                            </p:graphicEl>
                                          </p:spTgt>
                                        </p:tgtEl>
                                        <p:attrNameLst>
                                          <p:attrName>style.visibility</p:attrName>
                                        </p:attrNameLst>
                                      </p:cBhvr>
                                      <p:to>
                                        <p:strVal val="visible"/>
                                      </p:to>
                                    </p:set>
                                    <p:animEffect transition="in" filter="slide(fromLeft)">
                                      <p:cBhvr>
                                        <p:cTn id="23" dur="500"/>
                                        <p:tgtEl>
                                          <p:spTgt spid="38">
                                            <p:graphicEl>
                                              <a:chart seriesIdx="2" categoryIdx="-4" bldStep="series"/>
                                            </p:graphicEl>
                                          </p:spTgt>
                                        </p:tgtEl>
                                      </p:cBhvr>
                                    </p:animEffect>
                                  </p:childTnLst>
                                </p:cTn>
                              </p:par>
                            </p:childTnLst>
                          </p:cTn>
                        </p:par>
                        <p:par>
                          <p:cTn id="24" fill="hold">
                            <p:stCondLst>
                              <p:cond delay="3000"/>
                            </p:stCondLst>
                            <p:childTnLst>
                              <p:par>
                                <p:cTn id="25" presetID="12" presetClass="entr" presetSubtype="8" fill="hold" grpId="0" nodeType="afterEffect">
                                  <p:stCondLst>
                                    <p:cond delay="0"/>
                                  </p:stCondLst>
                                  <p:childTnLst>
                                    <p:set>
                                      <p:cBhvr>
                                        <p:cTn id="26" dur="1" fill="hold">
                                          <p:stCondLst>
                                            <p:cond delay="0"/>
                                          </p:stCondLst>
                                        </p:cTn>
                                        <p:tgtEl>
                                          <p:spTgt spid="38">
                                            <p:graphicEl>
                                              <a:chart seriesIdx="3" categoryIdx="-4" bldStep="series"/>
                                            </p:graphicEl>
                                          </p:spTgt>
                                        </p:tgtEl>
                                        <p:attrNameLst>
                                          <p:attrName>style.visibility</p:attrName>
                                        </p:attrNameLst>
                                      </p:cBhvr>
                                      <p:to>
                                        <p:strVal val="visible"/>
                                      </p:to>
                                    </p:set>
                                    <p:animEffect transition="in" filter="slide(fromLeft)">
                                      <p:cBhvr>
                                        <p:cTn id="27" dur="500"/>
                                        <p:tgtEl>
                                          <p:spTgt spid="38">
                                            <p:graphicEl>
                                              <a:chart seriesIdx="3" categoryIdx="-4" bldStep="series"/>
                                            </p:graphicEl>
                                          </p:spTgt>
                                        </p:tgtEl>
                                      </p:cBhvr>
                                    </p:animEffect>
                                  </p:childTnLst>
                                </p:cTn>
                              </p:par>
                            </p:childTnLst>
                          </p:cTn>
                        </p:par>
                        <p:par>
                          <p:cTn id="28" fill="hold">
                            <p:stCondLst>
                              <p:cond delay="3500"/>
                            </p:stCondLst>
                            <p:childTnLst>
                              <p:par>
                                <p:cTn id="29" presetID="2" presetClass="entr" presetSubtype="2" accel="50000" decel="50000" fill="hold" nodeType="afterEffect">
                                  <p:stCondLst>
                                    <p:cond delay="0"/>
                                  </p:stCondLst>
                                  <p:childTnLst>
                                    <p:set>
                                      <p:cBhvr>
                                        <p:cTn id="30" dur="1" fill="hold">
                                          <p:stCondLst>
                                            <p:cond delay="0"/>
                                          </p:stCondLst>
                                        </p:cTn>
                                        <p:tgtEl>
                                          <p:spTgt spid="40"/>
                                        </p:tgtEl>
                                        <p:attrNameLst>
                                          <p:attrName>style.visibility</p:attrName>
                                        </p:attrNameLst>
                                      </p:cBhvr>
                                      <p:to>
                                        <p:strVal val="visible"/>
                                      </p:to>
                                    </p:set>
                                    <p:anim calcmode="lin" valueType="num">
                                      <p:cBhvr additive="base">
                                        <p:cTn id="31" dur="500" fill="hold"/>
                                        <p:tgtEl>
                                          <p:spTgt spid="40"/>
                                        </p:tgtEl>
                                        <p:attrNameLst>
                                          <p:attrName>ppt_x</p:attrName>
                                        </p:attrNameLst>
                                      </p:cBhvr>
                                      <p:tavLst>
                                        <p:tav tm="0">
                                          <p:val>
                                            <p:strVal val="1+#ppt_w/2"/>
                                          </p:val>
                                        </p:tav>
                                        <p:tav tm="100000">
                                          <p:val>
                                            <p:strVal val="#ppt_x"/>
                                          </p:val>
                                        </p:tav>
                                      </p:tavLst>
                                    </p:anim>
                                    <p:anim calcmode="lin" valueType="num">
                                      <p:cBhvr additive="base">
                                        <p:cTn id="32" dur="500" fill="hold"/>
                                        <p:tgtEl>
                                          <p:spTgt spid="40"/>
                                        </p:tgtEl>
                                        <p:attrNameLst>
                                          <p:attrName>ppt_y</p:attrName>
                                        </p:attrNameLst>
                                      </p:cBhvr>
                                      <p:tavLst>
                                        <p:tav tm="0">
                                          <p:val>
                                            <p:strVal val="#ppt_y"/>
                                          </p:val>
                                        </p:tav>
                                        <p:tav tm="100000">
                                          <p:val>
                                            <p:strVal val="#ppt_y"/>
                                          </p:val>
                                        </p:tav>
                                      </p:tavLst>
                                    </p:anim>
                                  </p:childTnLst>
                                </p:cTn>
                              </p:par>
                            </p:childTnLst>
                          </p:cTn>
                        </p:par>
                        <p:par>
                          <p:cTn id="33" fill="hold">
                            <p:stCondLst>
                              <p:cond delay="4000"/>
                            </p:stCondLst>
                            <p:childTnLst>
                              <p:par>
                                <p:cTn id="34" presetID="18" presetClass="entr" presetSubtype="3" fill="hold" nodeType="afterEffect">
                                  <p:stCondLst>
                                    <p:cond delay="0"/>
                                  </p:stCondLst>
                                  <p:childTnLst>
                                    <p:set>
                                      <p:cBhvr>
                                        <p:cTn id="35" dur="1" fill="hold">
                                          <p:stCondLst>
                                            <p:cond delay="0"/>
                                          </p:stCondLst>
                                        </p:cTn>
                                        <p:tgtEl>
                                          <p:spTgt spid="55"/>
                                        </p:tgtEl>
                                        <p:attrNameLst>
                                          <p:attrName>style.visibility</p:attrName>
                                        </p:attrNameLst>
                                      </p:cBhvr>
                                      <p:to>
                                        <p:strVal val="visible"/>
                                      </p:to>
                                    </p:set>
                                    <p:animEffect transition="in" filter="strips(upRight)">
                                      <p:cBhvr>
                                        <p:cTn id="36" dur="500"/>
                                        <p:tgtEl>
                                          <p:spTgt spid="55"/>
                                        </p:tgtEl>
                                      </p:cBhvr>
                                    </p:animEffect>
                                  </p:childTnLst>
                                </p:cTn>
                              </p:par>
                            </p:childTnLst>
                          </p:cTn>
                        </p:par>
                        <p:par>
                          <p:cTn id="37" fill="hold">
                            <p:stCondLst>
                              <p:cond delay="4500"/>
                            </p:stCondLst>
                            <p:childTnLst>
                              <p:par>
                                <p:cTn id="38" presetID="10" presetClass="entr" presetSubtype="0" fill="hold" grpId="0" nodeType="after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fade">
                                      <p:cBhvr>
                                        <p:cTn id="40"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Graphic spid="38" grpId="0">
        <p:bldSub>
          <a:bldChart bld="series"/>
        </p:bldSub>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81"/>
          <p:cNvGrpSpPr/>
          <p:nvPr/>
        </p:nvGrpSpPr>
        <p:grpSpPr>
          <a:xfrm>
            <a:off x="8015984" y="4137892"/>
            <a:ext cx="979890" cy="1134533"/>
            <a:chOff x="5028984" y="2913471"/>
            <a:chExt cx="735013" cy="850900"/>
          </a:xfrm>
        </p:grpSpPr>
        <p:sp>
          <p:nvSpPr>
            <p:cNvPr id="43" name="Rectangle 6"/>
            <p:cNvSpPr>
              <a:spLocks noChangeArrowheads="1"/>
            </p:cNvSpPr>
            <p:nvPr/>
          </p:nvSpPr>
          <p:spPr bwMode="auto">
            <a:xfrm>
              <a:off x="5451259" y="3251609"/>
              <a:ext cx="50800" cy="512762"/>
            </a:xfrm>
            <a:prstGeom prst="rect">
              <a:avLst/>
            </a:prstGeom>
            <a:solidFill>
              <a:srgbClr val="6F5839"/>
            </a:solidFill>
            <a:ln w="9525">
              <a:noFill/>
              <a:miter lim="800000"/>
            </a:ln>
          </p:spPr>
          <p:txBody>
            <a:bodyPr vert="horz" wrap="square" lIns="91440" tIns="45720" rIns="91440" bIns="45720" numCol="1" anchor="t" anchorCtr="0" compatLnSpc="1"/>
            <a:lstStyle/>
            <a:p>
              <a:endParaRPr lang="en-US">
                <a:latin typeface="+mn-ea"/>
              </a:endParaRPr>
            </a:p>
          </p:txBody>
        </p:sp>
        <p:sp>
          <p:nvSpPr>
            <p:cNvPr id="44" name="Oval 7"/>
            <p:cNvSpPr>
              <a:spLocks noChangeArrowheads="1"/>
            </p:cNvSpPr>
            <p:nvPr/>
          </p:nvSpPr>
          <p:spPr bwMode="auto">
            <a:xfrm>
              <a:off x="5198847" y="3107146"/>
              <a:ext cx="565150" cy="566737"/>
            </a:xfrm>
            <a:prstGeom prst="ellipse">
              <a:avLst/>
            </a:prstGeom>
            <a:solidFill>
              <a:schemeClr val="accent4"/>
            </a:solidFill>
            <a:ln w="9525">
              <a:noFill/>
              <a:round/>
            </a:ln>
          </p:spPr>
          <p:txBody>
            <a:bodyPr vert="horz" wrap="square" lIns="91440" tIns="45720" rIns="91440" bIns="45720" numCol="1" anchor="t" anchorCtr="0" compatLnSpc="1"/>
            <a:lstStyle/>
            <a:p>
              <a:endParaRPr lang="en-US">
                <a:latin typeface="+mn-ea"/>
              </a:endParaRPr>
            </a:p>
          </p:txBody>
        </p:sp>
        <p:sp>
          <p:nvSpPr>
            <p:cNvPr id="45" name="Rectangle 13"/>
            <p:cNvSpPr>
              <a:spLocks noChangeArrowheads="1"/>
            </p:cNvSpPr>
            <p:nvPr/>
          </p:nvSpPr>
          <p:spPr bwMode="auto">
            <a:xfrm>
              <a:off x="5208372" y="3251609"/>
              <a:ext cx="38100" cy="512762"/>
            </a:xfrm>
            <a:prstGeom prst="rect">
              <a:avLst/>
            </a:prstGeom>
            <a:solidFill>
              <a:srgbClr val="6F5839"/>
            </a:solidFill>
            <a:ln w="9525">
              <a:noFill/>
              <a:miter lim="800000"/>
            </a:ln>
          </p:spPr>
          <p:txBody>
            <a:bodyPr vert="horz" wrap="square" lIns="91440" tIns="45720" rIns="91440" bIns="45720" numCol="1" anchor="t" anchorCtr="0" compatLnSpc="1"/>
            <a:lstStyle/>
            <a:p>
              <a:endParaRPr lang="en-US">
                <a:latin typeface="+mn-ea"/>
              </a:endParaRPr>
            </a:p>
          </p:txBody>
        </p:sp>
        <p:sp>
          <p:nvSpPr>
            <p:cNvPr id="46" name="Oval 14"/>
            <p:cNvSpPr>
              <a:spLocks noChangeArrowheads="1"/>
            </p:cNvSpPr>
            <p:nvPr/>
          </p:nvSpPr>
          <p:spPr bwMode="auto">
            <a:xfrm>
              <a:off x="5028984" y="2913471"/>
              <a:ext cx="406400" cy="636587"/>
            </a:xfrm>
            <a:prstGeom prst="ellipse">
              <a:avLst/>
            </a:prstGeom>
            <a:solidFill>
              <a:schemeClr val="accent1"/>
            </a:solidFill>
            <a:ln w="9525">
              <a:noFill/>
              <a:round/>
            </a:ln>
          </p:spPr>
          <p:txBody>
            <a:bodyPr vert="horz" wrap="square" lIns="91440" tIns="45720" rIns="91440" bIns="45720" numCol="1" anchor="t" anchorCtr="0" compatLnSpc="1"/>
            <a:lstStyle/>
            <a:p>
              <a:endParaRPr lang="en-US">
                <a:latin typeface="+mn-ea"/>
              </a:endParaRPr>
            </a:p>
          </p:txBody>
        </p:sp>
      </p:grpSp>
      <p:grpSp>
        <p:nvGrpSpPr>
          <p:cNvPr id="47" name="Group 78"/>
          <p:cNvGrpSpPr/>
          <p:nvPr/>
        </p:nvGrpSpPr>
        <p:grpSpPr>
          <a:xfrm>
            <a:off x="3376022" y="4079233"/>
            <a:ext cx="799996" cy="1270000"/>
            <a:chOff x="2122272" y="2869478"/>
            <a:chExt cx="600075" cy="952500"/>
          </a:xfrm>
        </p:grpSpPr>
        <p:sp>
          <p:nvSpPr>
            <p:cNvPr id="48" name="Rectangle 10"/>
            <p:cNvSpPr>
              <a:spLocks noChangeArrowheads="1"/>
            </p:cNvSpPr>
            <p:nvPr/>
          </p:nvSpPr>
          <p:spPr bwMode="auto">
            <a:xfrm>
              <a:off x="2242922" y="3667991"/>
              <a:ext cx="50800" cy="153987"/>
            </a:xfrm>
            <a:prstGeom prst="rect">
              <a:avLst/>
            </a:prstGeom>
            <a:solidFill>
              <a:srgbClr val="6F5839"/>
            </a:solidFill>
            <a:ln w="9525">
              <a:noFill/>
              <a:miter lim="800000"/>
            </a:ln>
          </p:spPr>
          <p:txBody>
            <a:bodyPr vert="horz" wrap="square" lIns="91440" tIns="45720" rIns="91440" bIns="45720" numCol="1" anchor="t" anchorCtr="0" compatLnSpc="1"/>
            <a:lstStyle/>
            <a:p>
              <a:endParaRPr lang="en-US">
                <a:latin typeface="+mn-ea"/>
              </a:endParaRPr>
            </a:p>
          </p:txBody>
        </p:sp>
        <p:sp>
          <p:nvSpPr>
            <p:cNvPr id="49" name="Rectangle 11"/>
            <p:cNvSpPr>
              <a:spLocks noChangeArrowheads="1"/>
            </p:cNvSpPr>
            <p:nvPr/>
          </p:nvSpPr>
          <p:spPr bwMode="auto">
            <a:xfrm>
              <a:off x="2498509" y="3251609"/>
              <a:ext cx="50800" cy="512762"/>
            </a:xfrm>
            <a:prstGeom prst="rect">
              <a:avLst/>
            </a:prstGeom>
            <a:solidFill>
              <a:srgbClr val="6F5839"/>
            </a:solidFill>
            <a:ln w="9525">
              <a:noFill/>
              <a:miter lim="800000"/>
            </a:ln>
          </p:spPr>
          <p:txBody>
            <a:bodyPr vert="horz" wrap="square" lIns="91440" tIns="45720" rIns="91440" bIns="45720" numCol="1" anchor="t" anchorCtr="0" compatLnSpc="1"/>
            <a:lstStyle/>
            <a:p>
              <a:endParaRPr lang="en-US">
                <a:latin typeface="+mn-ea"/>
              </a:endParaRPr>
            </a:p>
          </p:txBody>
        </p:sp>
        <p:sp>
          <p:nvSpPr>
            <p:cNvPr id="50" name="Oval 12"/>
            <p:cNvSpPr>
              <a:spLocks noChangeArrowheads="1"/>
            </p:cNvSpPr>
            <p:nvPr/>
          </p:nvSpPr>
          <p:spPr bwMode="auto">
            <a:xfrm>
              <a:off x="2312772" y="2949984"/>
              <a:ext cx="409575" cy="635000"/>
            </a:xfrm>
            <a:prstGeom prst="ellipse">
              <a:avLst/>
            </a:prstGeom>
            <a:solidFill>
              <a:schemeClr val="accent4"/>
            </a:solidFill>
            <a:ln w="9525">
              <a:noFill/>
              <a:round/>
            </a:ln>
          </p:spPr>
          <p:txBody>
            <a:bodyPr vert="horz" wrap="square" lIns="91440" tIns="45720" rIns="91440" bIns="45720" numCol="1" anchor="t" anchorCtr="0" compatLnSpc="1"/>
            <a:lstStyle/>
            <a:p>
              <a:endParaRPr lang="en-US">
                <a:latin typeface="+mn-ea"/>
              </a:endParaRPr>
            </a:p>
          </p:txBody>
        </p:sp>
        <p:sp>
          <p:nvSpPr>
            <p:cNvPr id="51" name="Oval 20"/>
            <p:cNvSpPr>
              <a:spLocks noChangeArrowheads="1"/>
            </p:cNvSpPr>
            <p:nvPr/>
          </p:nvSpPr>
          <p:spPr bwMode="auto">
            <a:xfrm>
              <a:off x="2122272" y="2869478"/>
              <a:ext cx="293688" cy="830262"/>
            </a:xfrm>
            <a:prstGeom prst="ellipse">
              <a:avLst/>
            </a:prstGeom>
            <a:solidFill>
              <a:schemeClr val="accent1"/>
            </a:solidFill>
            <a:ln w="9525">
              <a:noFill/>
              <a:round/>
            </a:ln>
          </p:spPr>
          <p:txBody>
            <a:bodyPr vert="horz" wrap="square" lIns="91440" tIns="45720" rIns="91440" bIns="45720" numCol="1" anchor="t" anchorCtr="0" compatLnSpc="1"/>
            <a:lstStyle/>
            <a:p>
              <a:endParaRPr lang="en-US">
                <a:latin typeface="+mn-ea"/>
              </a:endParaRPr>
            </a:p>
          </p:txBody>
        </p:sp>
      </p:grpSp>
      <p:grpSp>
        <p:nvGrpSpPr>
          <p:cNvPr id="52" name="Group 77"/>
          <p:cNvGrpSpPr/>
          <p:nvPr/>
        </p:nvGrpSpPr>
        <p:grpSpPr>
          <a:xfrm>
            <a:off x="1655909" y="4309052"/>
            <a:ext cx="984123" cy="1193800"/>
            <a:chOff x="942759" y="2869021"/>
            <a:chExt cx="738188" cy="895350"/>
          </a:xfrm>
        </p:grpSpPr>
        <p:sp>
          <p:nvSpPr>
            <p:cNvPr id="53" name="Rectangle 8"/>
            <p:cNvSpPr>
              <a:spLocks noChangeArrowheads="1"/>
            </p:cNvSpPr>
            <p:nvPr/>
          </p:nvSpPr>
          <p:spPr bwMode="auto">
            <a:xfrm>
              <a:off x="1182472" y="3251609"/>
              <a:ext cx="50800" cy="512762"/>
            </a:xfrm>
            <a:prstGeom prst="rect">
              <a:avLst/>
            </a:prstGeom>
            <a:solidFill>
              <a:srgbClr val="6F5839"/>
            </a:solidFill>
            <a:ln w="9525">
              <a:noFill/>
              <a:miter lim="800000"/>
            </a:ln>
          </p:spPr>
          <p:txBody>
            <a:bodyPr vert="horz" wrap="square" lIns="91440" tIns="45720" rIns="91440" bIns="45720" numCol="1" anchor="t" anchorCtr="0" compatLnSpc="1"/>
            <a:lstStyle/>
            <a:p>
              <a:endParaRPr lang="en-US">
                <a:latin typeface="+mn-ea"/>
              </a:endParaRPr>
            </a:p>
          </p:txBody>
        </p:sp>
        <p:sp>
          <p:nvSpPr>
            <p:cNvPr id="54" name="Rectangle 9"/>
            <p:cNvSpPr>
              <a:spLocks noChangeArrowheads="1"/>
            </p:cNvSpPr>
            <p:nvPr/>
          </p:nvSpPr>
          <p:spPr bwMode="auto">
            <a:xfrm>
              <a:off x="1450759" y="3384237"/>
              <a:ext cx="38100" cy="346075"/>
            </a:xfrm>
            <a:prstGeom prst="rect">
              <a:avLst/>
            </a:prstGeom>
            <a:solidFill>
              <a:srgbClr val="6F5839"/>
            </a:solidFill>
            <a:ln w="9525">
              <a:noFill/>
              <a:miter lim="800000"/>
            </a:ln>
          </p:spPr>
          <p:txBody>
            <a:bodyPr vert="horz" wrap="square" lIns="91440" tIns="45720" rIns="91440" bIns="45720" numCol="1" anchor="t" anchorCtr="0" compatLnSpc="1"/>
            <a:lstStyle/>
            <a:p>
              <a:endParaRPr lang="en-US">
                <a:latin typeface="+mn-ea"/>
              </a:endParaRPr>
            </a:p>
          </p:txBody>
        </p:sp>
        <p:sp>
          <p:nvSpPr>
            <p:cNvPr id="55" name="Oval 17"/>
            <p:cNvSpPr>
              <a:spLocks noChangeArrowheads="1"/>
            </p:cNvSpPr>
            <p:nvPr/>
          </p:nvSpPr>
          <p:spPr bwMode="auto">
            <a:xfrm>
              <a:off x="942759" y="2869021"/>
              <a:ext cx="520700" cy="523875"/>
            </a:xfrm>
            <a:prstGeom prst="ellipse">
              <a:avLst/>
            </a:prstGeom>
            <a:solidFill>
              <a:schemeClr val="accent4"/>
            </a:solidFill>
            <a:ln w="9525">
              <a:noFill/>
              <a:round/>
            </a:ln>
          </p:spPr>
          <p:txBody>
            <a:bodyPr vert="horz" wrap="square" lIns="91440" tIns="45720" rIns="91440" bIns="45720" numCol="1" anchor="t" anchorCtr="0" compatLnSpc="1"/>
            <a:lstStyle/>
            <a:p>
              <a:endParaRPr lang="en-US">
                <a:latin typeface="+mn-ea"/>
              </a:endParaRPr>
            </a:p>
          </p:txBody>
        </p:sp>
        <p:sp>
          <p:nvSpPr>
            <p:cNvPr id="56" name="Oval 29"/>
            <p:cNvSpPr>
              <a:spLocks noChangeArrowheads="1"/>
            </p:cNvSpPr>
            <p:nvPr/>
          </p:nvSpPr>
          <p:spPr bwMode="auto">
            <a:xfrm>
              <a:off x="1271372" y="3073087"/>
              <a:ext cx="409575" cy="409575"/>
            </a:xfrm>
            <a:prstGeom prst="ellipse">
              <a:avLst/>
            </a:prstGeom>
            <a:solidFill>
              <a:schemeClr val="accent1"/>
            </a:solidFill>
            <a:ln w="9525">
              <a:noFill/>
              <a:round/>
            </a:ln>
          </p:spPr>
          <p:txBody>
            <a:bodyPr vert="horz" wrap="square" lIns="91440" tIns="45720" rIns="91440" bIns="45720" numCol="1" anchor="t" anchorCtr="0" compatLnSpc="1"/>
            <a:lstStyle/>
            <a:p>
              <a:endParaRPr lang="en-US">
                <a:latin typeface="+mn-ea"/>
              </a:endParaRPr>
            </a:p>
          </p:txBody>
        </p:sp>
      </p:grpSp>
      <p:grpSp>
        <p:nvGrpSpPr>
          <p:cNvPr id="57" name="Group 82"/>
          <p:cNvGrpSpPr/>
          <p:nvPr/>
        </p:nvGrpSpPr>
        <p:grpSpPr>
          <a:xfrm>
            <a:off x="9344948" y="4622320"/>
            <a:ext cx="898216" cy="880533"/>
            <a:chOff x="6224853" y="3161578"/>
            <a:chExt cx="673750" cy="660400"/>
          </a:xfrm>
        </p:grpSpPr>
        <p:sp>
          <p:nvSpPr>
            <p:cNvPr id="58" name="Rectangle 24"/>
            <p:cNvSpPr>
              <a:spLocks noChangeArrowheads="1"/>
            </p:cNvSpPr>
            <p:nvPr/>
          </p:nvSpPr>
          <p:spPr bwMode="auto">
            <a:xfrm>
              <a:off x="6397891" y="3327809"/>
              <a:ext cx="50800" cy="436562"/>
            </a:xfrm>
            <a:prstGeom prst="rect">
              <a:avLst/>
            </a:prstGeom>
            <a:solidFill>
              <a:srgbClr val="6F5839"/>
            </a:solidFill>
            <a:ln w="9525">
              <a:noFill/>
              <a:miter lim="800000"/>
            </a:ln>
          </p:spPr>
          <p:txBody>
            <a:bodyPr vert="horz" wrap="square" lIns="91440" tIns="45720" rIns="91440" bIns="45720" numCol="1" anchor="t" anchorCtr="0" compatLnSpc="1"/>
            <a:lstStyle/>
            <a:p>
              <a:endParaRPr lang="en-US">
                <a:latin typeface="+mn-ea"/>
              </a:endParaRPr>
            </a:p>
          </p:txBody>
        </p:sp>
        <p:sp>
          <p:nvSpPr>
            <p:cNvPr id="59" name="Oval 25"/>
            <p:cNvSpPr>
              <a:spLocks noChangeArrowheads="1"/>
            </p:cNvSpPr>
            <p:nvPr/>
          </p:nvSpPr>
          <p:spPr bwMode="auto">
            <a:xfrm>
              <a:off x="6224853" y="3254784"/>
              <a:ext cx="406400" cy="409575"/>
            </a:xfrm>
            <a:prstGeom prst="ellipse">
              <a:avLst/>
            </a:prstGeom>
            <a:solidFill>
              <a:schemeClr val="accent1"/>
            </a:solidFill>
            <a:ln w="9525">
              <a:noFill/>
              <a:round/>
            </a:ln>
          </p:spPr>
          <p:txBody>
            <a:bodyPr vert="horz" wrap="square" lIns="91440" tIns="45720" rIns="91440" bIns="45720" numCol="1" anchor="t" anchorCtr="0" compatLnSpc="1"/>
            <a:lstStyle/>
            <a:p>
              <a:endParaRPr lang="en-US">
                <a:latin typeface="+mn-ea"/>
              </a:endParaRPr>
            </a:p>
          </p:txBody>
        </p:sp>
        <p:sp>
          <p:nvSpPr>
            <p:cNvPr id="60" name="Rectangle 30"/>
            <p:cNvSpPr>
              <a:spLocks noChangeArrowheads="1"/>
            </p:cNvSpPr>
            <p:nvPr/>
          </p:nvSpPr>
          <p:spPr bwMode="auto">
            <a:xfrm>
              <a:off x="6633490" y="3475903"/>
              <a:ext cx="38100" cy="346075"/>
            </a:xfrm>
            <a:prstGeom prst="rect">
              <a:avLst/>
            </a:prstGeom>
            <a:solidFill>
              <a:srgbClr val="6F5839"/>
            </a:solidFill>
            <a:ln w="9525">
              <a:noFill/>
              <a:miter lim="800000"/>
            </a:ln>
          </p:spPr>
          <p:txBody>
            <a:bodyPr vert="horz" wrap="square" lIns="91440" tIns="45720" rIns="91440" bIns="45720" numCol="1" anchor="t" anchorCtr="0" compatLnSpc="1"/>
            <a:lstStyle/>
            <a:p>
              <a:endParaRPr lang="en-US">
                <a:latin typeface="+mn-ea"/>
              </a:endParaRPr>
            </a:p>
          </p:txBody>
        </p:sp>
        <p:sp>
          <p:nvSpPr>
            <p:cNvPr id="61" name="Oval 31"/>
            <p:cNvSpPr>
              <a:spLocks noChangeArrowheads="1"/>
            </p:cNvSpPr>
            <p:nvPr/>
          </p:nvSpPr>
          <p:spPr bwMode="auto">
            <a:xfrm>
              <a:off x="6412828" y="3161578"/>
              <a:ext cx="485775" cy="484187"/>
            </a:xfrm>
            <a:prstGeom prst="ellipse">
              <a:avLst/>
            </a:prstGeom>
            <a:solidFill>
              <a:schemeClr val="accent4"/>
            </a:solidFill>
            <a:ln w="9525">
              <a:noFill/>
              <a:round/>
            </a:ln>
          </p:spPr>
          <p:txBody>
            <a:bodyPr vert="horz" wrap="square" lIns="91440" tIns="45720" rIns="91440" bIns="45720" numCol="1" anchor="t" anchorCtr="0" compatLnSpc="1"/>
            <a:lstStyle/>
            <a:p>
              <a:endParaRPr lang="en-US">
                <a:latin typeface="+mn-ea"/>
              </a:endParaRPr>
            </a:p>
          </p:txBody>
        </p:sp>
      </p:grpSp>
      <p:sp>
        <p:nvSpPr>
          <p:cNvPr id="14" name="Oval 13"/>
          <p:cNvSpPr/>
          <p:nvPr/>
        </p:nvSpPr>
        <p:spPr>
          <a:xfrm>
            <a:off x="6710395" y="1631540"/>
            <a:ext cx="1113828" cy="1113971"/>
          </a:xfrm>
          <a:prstGeom prst="ellipse">
            <a:avLst/>
          </a:prstGeom>
          <a:solidFill>
            <a:schemeClr val="bg1"/>
          </a:solid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r>
              <a:rPr lang="en-US" sz="3200" dirty="0">
                <a:solidFill>
                  <a:schemeClr val="accent1"/>
                </a:solidFill>
                <a:latin typeface="+mn-ea"/>
              </a:rPr>
              <a:t>02</a:t>
            </a:r>
          </a:p>
        </p:txBody>
      </p:sp>
      <p:sp>
        <p:nvSpPr>
          <p:cNvPr id="15" name="Oval 14"/>
          <p:cNvSpPr/>
          <p:nvPr/>
        </p:nvSpPr>
        <p:spPr>
          <a:xfrm>
            <a:off x="4367778" y="1631540"/>
            <a:ext cx="1113828" cy="1113971"/>
          </a:xfrm>
          <a:prstGeom prst="ellipse">
            <a:avLst/>
          </a:prstGeom>
          <a:solidFill>
            <a:schemeClr val="bg1"/>
          </a:solid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r>
              <a:rPr lang="en-US" sz="3200" dirty="0">
                <a:solidFill>
                  <a:schemeClr val="accent1"/>
                </a:solidFill>
                <a:latin typeface="+mn-ea"/>
              </a:rPr>
              <a:t>01</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
        <p:nvSpPr>
          <p:cNvPr id="68" name="Slide Number Placeholder 67"/>
          <p:cNvSpPr>
            <a:spLocks noGrp="1"/>
          </p:cNvSpPr>
          <p:nvPr>
            <p:ph type="sldNum" sz="quarter" idx="4294967295"/>
          </p:nvPr>
        </p:nvSpPr>
        <p:spPr>
          <a:xfrm>
            <a:off x="8737257" y="6356352"/>
            <a:ext cx="2844430" cy="365125"/>
          </a:xfrm>
          <a:prstGeom prst="rect">
            <a:avLst/>
          </a:prstGeom>
        </p:spPr>
        <p:txBody>
          <a:bodyPr/>
          <a:lstStyle/>
          <a:p>
            <a:fld id="{C136B7D2-B98C-44FD-8D04-7EC62A564975}" type="slidenum">
              <a:rPr lang="en-US" smtClean="0">
                <a:latin typeface="+mn-ea"/>
              </a:rPr>
              <a:pPr/>
              <a:t>17</a:t>
            </a:fld>
            <a:endParaRPr lang="en-US" dirty="0">
              <a:latin typeface="+mn-ea"/>
            </a:endParaRPr>
          </a:p>
        </p:txBody>
      </p:sp>
      <p:sp>
        <p:nvSpPr>
          <p:cNvPr id="8" name="Freeform 5"/>
          <p:cNvSpPr/>
          <p:nvPr/>
        </p:nvSpPr>
        <p:spPr bwMode="auto">
          <a:xfrm>
            <a:off x="5173259" y="2207846"/>
            <a:ext cx="1845485" cy="3371817"/>
          </a:xfrm>
          <a:custGeom>
            <a:avLst/>
            <a:gdLst/>
            <a:ahLst/>
            <a:cxnLst>
              <a:cxn ang="0">
                <a:pos x="173" y="908"/>
              </a:cxn>
              <a:cxn ang="0">
                <a:pos x="187" y="613"/>
              </a:cxn>
              <a:cxn ang="0">
                <a:pos x="0" y="357"/>
              </a:cxn>
              <a:cxn ang="0">
                <a:pos x="0" y="357"/>
              </a:cxn>
              <a:cxn ang="0">
                <a:pos x="203" y="547"/>
              </a:cxn>
              <a:cxn ang="0">
                <a:pos x="230" y="0"/>
              </a:cxn>
              <a:cxn ang="0">
                <a:pos x="255" y="237"/>
              </a:cxn>
              <a:cxn ang="0">
                <a:pos x="271" y="439"/>
              </a:cxn>
              <a:cxn ang="0">
                <a:pos x="496" y="295"/>
              </a:cxn>
              <a:cxn ang="0">
                <a:pos x="496" y="295"/>
              </a:cxn>
              <a:cxn ang="0">
                <a:pos x="291" y="500"/>
              </a:cxn>
              <a:cxn ang="0">
                <a:pos x="282" y="660"/>
              </a:cxn>
              <a:cxn ang="0">
                <a:pos x="307" y="905"/>
              </a:cxn>
              <a:cxn ang="0">
                <a:pos x="173" y="908"/>
              </a:cxn>
            </a:cxnLst>
            <a:rect l="0" t="0" r="r" b="b"/>
            <a:pathLst>
              <a:path w="496" h="908">
                <a:moveTo>
                  <a:pt x="173" y="908"/>
                </a:moveTo>
                <a:cubicBezTo>
                  <a:pt x="173" y="908"/>
                  <a:pt x="208" y="680"/>
                  <a:pt x="187" y="613"/>
                </a:cubicBezTo>
                <a:cubicBezTo>
                  <a:pt x="0" y="357"/>
                  <a:pt x="0" y="357"/>
                  <a:pt x="0" y="357"/>
                </a:cubicBezTo>
                <a:cubicBezTo>
                  <a:pt x="0" y="357"/>
                  <a:pt x="0" y="357"/>
                  <a:pt x="0" y="357"/>
                </a:cubicBezTo>
                <a:cubicBezTo>
                  <a:pt x="203" y="547"/>
                  <a:pt x="203" y="547"/>
                  <a:pt x="203" y="547"/>
                </a:cubicBezTo>
                <a:cubicBezTo>
                  <a:pt x="230" y="0"/>
                  <a:pt x="230" y="0"/>
                  <a:pt x="230" y="0"/>
                </a:cubicBezTo>
                <a:cubicBezTo>
                  <a:pt x="255" y="237"/>
                  <a:pt x="255" y="237"/>
                  <a:pt x="255" y="237"/>
                </a:cubicBezTo>
                <a:cubicBezTo>
                  <a:pt x="271" y="439"/>
                  <a:pt x="271" y="439"/>
                  <a:pt x="271" y="439"/>
                </a:cubicBezTo>
                <a:cubicBezTo>
                  <a:pt x="496" y="295"/>
                  <a:pt x="496" y="295"/>
                  <a:pt x="496" y="295"/>
                </a:cubicBezTo>
                <a:cubicBezTo>
                  <a:pt x="496" y="295"/>
                  <a:pt x="496" y="295"/>
                  <a:pt x="496" y="295"/>
                </a:cubicBezTo>
                <a:cubicBezTo>
                  <a:pt x="291" y="500"/>
                  <a:pt x="291" y="500"/>
                  <a:pt x="291" y="500"/>
                </a:cubicBezTo>
                <a:cubicBezTo>
                  <a:pt x="291" y="500"/>
                  <a:pt x="268" y="500"/>
                  <a:pt x="282" y="660"/>
                </a:cubicBezTo>
                <a:cubicBezTo>
                  <a:pt x="295" y="819"/>
                  <a:pt x="307" y="905"/>
                  <a:pt x="307" y="905"/>
                </a:cubicBezTo>
                <a:lnTo>
                  <a:pt x="173" y="908"/>
                </a:lnTo>
                <a:close/>
              </a:path>
            </a:pathLst>
          </a:custGeom>
          <a:solidFill>
            <a:schemeClr val="accent2"/>
          </a:solidFill>
          <a:ln w="9525">
            <a:noFill/>
            <a:round/>
          </a:ln>
        </p:spPr>
        <p:txBody>
          <a:bodyPr vert="horz" wrap="square" lIns="121908" tIns="60954" rIns="121908" bIns="60954" numCol="1" anchor="t" anchorCtr="0" compatLnSpc="1"/>
          <a:lstStyle/>
          <a:p>
            <a:endParaRPr lang="en-US">
              <a:latin typeface="+mn-ea"/>
            </a:endParaRPr>
          </a:p>
        </p:txBody>
      </p:sp>
      <p:sp>
        <p:nvSpPr>
          <p:cNvPr id="9" name="Freeform 5"/>
          <p:cNvSpPr/>
          <p:nvPr/>
        </p:nvSpPr>
        <p:spPr bwMode="auto">
          <a:xfrm>
            <a:off x="795" y="5157003"/>
            <a:ext cx="12190413" cy="1706033"/>
          </a:xfrm>
          <a:custGeom>
            <a:avLst/>
            <a:gdLst/>
            <a:ahLst/>
            <a:cxnLst>
              <a:cxn ang="0">
                <a:pos x="0" y="1489"/>
              </a:cxn>
              <a:cxn ang="0">
                <a:pos x="0" y="700"/>
              </a:cxn>
              <a:cxn ang="0">
                <a:pos x="940" y="320"/>
              </a:cxn>
              <a:cxn ang="0">
                <a:pos x="3842" y="0"/>
              </a:cxn>
              <a:cxn ang="0">
                <a:pos x="6745" y="320"/>
              </a:cxn>
              <a:cxn ang="0">
                <a:pos x="7680" y="696"/>
              </a:cxn>
              <a:cxn ang="0">
                <a:pos x="7680" y="1492"/>
              </a:cxn>
              <a:cxn ang="0">
                <a:pos x="7659" y="1506"/>
              </a:cxn>
              <a:cxn ang="0">
                <a:pos x="25" y="1506"/>
              </a:cxn>
              <a:cxn ang="0">
                <a:pos x="0" y="1489"/>
              </a:cxn>
            </a:cxnLst>
            <a:rect l="0" t="0" r="r" b="b"/>
            <a:pathLst>
              <a:path w="7680" h="1506">
                <a:moveTo>
                  <a:pt x="0" y="1489"/>
                </a:moveTo>
                <a:cubicBezTo>
                  <a:pt x="0" y="700"/>
                  <a:pt x="0" y="700"/>
                  <a:pt x="0" y="700"/>
                </a:cubicBezTo>
                <a:cubicBezTo>
                  <a:pt x="199" y="561"/>
                  <a:pt x="512" y="434"/>
                  <a:pt x="940" y="320"/>
                </a:cubicBezTo>
                <a:cubicBezTo>
                  <a:pt x="1741" y="107"/>
                  <a:pt x="2709" y="0"/>
                  <a:pt x="3842" y="0"/>
                </a:cubicBezTo>
                <a:cubicBezTo>
                  <a:pt x="4976" y="0"/>
                  <a:pt x="5943" y="107"/>
                  <a:pt x="6745" y="320"/>
                </a:cubicBezTo>
                <a:cubicBezTo>
                  <a:pt x="7168" y="433"/>
                  <a:pt x="7480" y="559"/>
                  <a:pt x="7680" y="696"/>
                </a:cubicBezTo>
                <a:cubicBezTo>
                  <a:pt x="7680" y="1492"/>
                  <a:pt x="7680" y="1492"/>
                  <a:pt x="7680" y="1492"/>
                </a:cubicBezTo>
                <a:cubicBezTo>
                  <a:pt x="7673" y="1497"/>
                  <a:pt x="7666" y="1501"/>
                  <a:pt x="7659" y="1506"/>
                </a:cubicBezTo>
                <a:cubicBezTo>
                  <a:pt x="25" y="1506"/>
                  <a:pt x="25" y="1506"/>
                  <a:pt x="25" y="1506"/>
                </a:cubicBezTo>
                <a:cubicBezTo>
                  <a:pt x="16" y="1500"/>
                  <a:pt x="8" y="1494"/>
                  <a:pt x="0" y="1489"/>
                </a:cubicBezTo>
                <a:close/>
              </a:path>
            </a:pathLst>
          </a:custGeom>
          <a:solidFill>
            <a:schemeClr val="accent2">
              <a:lumMod val="75000"/>
            </a:schemeClr>
          </a:solidFill>
          <a:ln w="9525">
            <a:noFill/>
            <a:round/>
          </a:ln>
        </p:spPr>
        <p:txBody>
          <a:bodyPr vert="horz" wrap="square" lIns="121908" tIns="60954" rIns="121908" bIns="60954" numCol="1" anchor="t" anchorCtr="0" compatLnSpc="1"/>
          <a:lstStyle/>
          <a:p>
            <a:endParaRPr lang="en-US">
              <a:latin typeface="+mn-ea"/>
            </a:endParaRPr>
          </a:p>
        </p:txBody>
      </p:sp>
      <p:sp>
        <p:nvSpPr>
          <p:cNvPr id="10" name="TextBox 9"/>
          <p:cNvSpPr txBox="1"/>
          <p:nvPr/>
        </p:nvSpPr>
        <p:spPr>
          <a:xfrm>
            <a:off x="1035440" y="5834257"/>
            <a:ext cx="10121124" cy="615553"/>
          </a:xfrm>
          <a:prstGeom prst="rect">
            <a:avLst/>
          </a:prstGeom>
          <a:noFill/>
        </p:spPr>
        <p:txBody>
          <a:bodyPr wrap="square" lIns="0" tIns="0" rIns="0" bIns="0" rtlCol="0">
            <a:spAutoFit/>
          </a:bodyPr>
          <a:lstStyle/>
          <a:p>
            <a:pPr algn="ctr"/>
            <a:r>
              <a:rPr lang="zh-CN" altLang="en-US" sz="1300" dirty="0">
                <a:solidFill>
                  <a:schemeClr val="bg1"/>
                </a:solidFill>
                <a:latin typeface="+mn-ea"/>
              </a:rPr>
              <a:t>此处添加详细文本描述，建议与标题相关并符合整体语言风格，语言描述尽量简洁生动。尽量将每页幻灯片的字数控制在</a:t>
            </a:r>
            <a:r>
              <a:rPr lang="en-US" altLang="zh-CN" sz="1300" dirty="0">
                <a:solidFill>
                  <a:schemeClr val="bg1"/>
                </a:solidFill>
                <a:latin typeface="+mn-ea"/>
              </a:rPr>
              <a:t>200</a:t>
            </a:r>
            <a:r>
              <a:rPr lang="zh-CN" altLang="en-US" sz="1300" dirty="0">
                <a:solidFill>
                  <a:schemeClr val="bg1"/>
                </a:solidFill>
                <a:latin typeface="+mn-ea"/>
              </a:rPr>
              <a:t>字以内，据统计每页幻灯片的最好控制在</a:t>
            </a:r>
            <a:r>
              <a:rPr lang="en-US" altLang="zh-CN" sz="1300" dirty="0">
                <a:solidFill>
                  <a:schemeClr val="bg1"/>
                </a:solidFill>
                <a:latin typeface="+mn-ea"/>
              </a:rPr>
              <a:t>5</a:t>
            </a:r>
            <a:r>
              <a:rPr lang="zh-CN" altLang="en-US" sz="1300" dirty="0">
                <a:solidFill>
                  <a:schemeClr val="bg1"/>
                </a:solidFill>
                <a:latin typeface="+mn-ea"/>
              </a:rPr>
              <a:t>分钟之内。此处添加详细文本描述，建议与标题相关并符合整体语言风格，语言描述尽量简洁生动。尽量将每页幻灯片的字数控制在</a:t>
            </a:r>
            <a:r>
              <a:rPr lang="en-US" altLang="zh-CN" sz="1300" dirty="0">
                <a:solidFill>
                  <a:schemeClr val="bg1"/>
                </a:solidFill>
                <a:latin typeface="+mn-ea"/>
              </a:rPr>
              <a:t>200</a:t>
            </a:r>
            <a:r>
              <a:rPr lang="zh-CN" altLang="en-US" sz="1300" dirty="0">
                <a:solidFill>
                  <a:schemeClr val="bg1"/>
                </a:solidFill>
                <a:latin typeface="+mn-ea"/>
              </a:rPr>
              <a:t>字以内，据统计每页幻灯片的最好控制在</a:t>
            </a:r>
            <a:r>
              <a:rPr lang="en-US" altLang="zh-CN" sz="1300" dirty="0">
                <a:solidFill>
                  <a:schemeClr val="bg1"/>
                </a:solidFill>
                <a:latin typeface="+mn-ea"/>
              </a:rPr>
              <a:t>5</a:t>
            </a:r>
            <a:r>
              <a:rPr lang="zh-CN" altLang="en-US" sz="1300" dirty="0">
                <a:solidFill>
                  <a:schemeClr val="bg1"/>
                </a:solidFill>
                <a:latin typeface="+mn-ea"/>
              </a:rPr>
              <a:t>分钟之内。</a:t>
            </a:r>
          </a:p>
        </p:txBody>
      </p:sp>
      <p:cxnSp>
        <p:nvCxnSpPr>
          <p:cNvPr id="11" name="Straight Connector 10"/>
          <p:cNvCxnSpPr/>
          <p:nvPr/>
        </p:nvCxnSpPr>
        <p:spPr>
          <a:xfrm>
            <a:off x="2596228" y="5656471"/>
            <a:ext cx="6999547" cy="0"/>
          </a:xfrm>
          <a:prstGeom prst="line">
            <a:avLst/>
          </a:prstGeom>
          <a:ln w="19050">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5173258" y="1066215"/>
            <a:ext cx="1788660" cy="1788891"/>
          </a:xfrm>
          <a:prstGeom prst="ellipse">
            <a:avLst/>
          </a:prstGeom>
          <a:solidFill>
            <a:schemeClr val="bg1"/>
          </a:solidFill>
          <a:ln w="38100" cmpd="sng">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r>
              <a:rPr lang="en-US" sz="4300" dirty="0">
                <a:solidFill>
                  <a:schemeClr val="accent1"/>
                </a:solidFill>
                <a:latin typeface="+mn-ea"/>
              </a:rPr>
              <a:t>03</a:t>
            </a:r>
          </a:p>
        </p:txBody>
      </p:sp>
      <p:sp>
        <p:nvSpPr>
          <p:cNvPr id="13" name="Oval 12"/>
          <p:cNvSpPr/>
          <p:nvPr/>
        </p:nvSpPr>
        <p:spPr>
          <a:xfrm>
            <a:off x="6338992" y="2499705"/>
            <a:ext cx="1459454" cy="1459644"/>
          </a:xfrm>
          <a:prstGeom prst="ellipse">
            <a:avLst/>
          </a:prstGeom>
          <a:solidFill>
            <a:schemeClr val="bg1"/>
          </a:solid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08" tIns="0" rIns="121908" bIns="121908" rtlCol="0" anchor="ctr"/>
          <a:lstStyle/>
          <a:p>
            <a:pPr algn="ctr"/>
            <a:r>
              <a:rPr lang="en-US" sz="4300" dirty="0">
                <a:solidFill>
                  <a:schemeClr val="accent1"/>
                </a:solidFill>
                <a:latin typeface="+mn-ea"/>
              </a:rPr>
              <a:t>05</a:t>
            </a:r>
          </a:p>
        </p:txBody>
      </p:sp>
      <p:sp>
        <p:nvSpPr>
          <p:cNvPr id="16" name="Oval 15"/>
          <p:cNvSpPr/>
          <p:nvPr/>
        </p:nvSpPr>
        <p:spPr>
          <a:xfrm>
            <a:off x="4379326" y="2499705"/>
            <a:ext cx="1459454" cy="1459644"/>
          </a:xfrm>
          <a:prstGeom prst="ellipse">
            <a:avLst/>
          </a:prstGeom>
          <a:solidFill>
            <a:schemeClr val="bg1"/>
          </a:solid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r>
              <a:rPr lang="en-US" sz="4300" dirty="0">
                <a:solidFill>
                  <a:schemeClr val="accent1"/>
                </a:solidFill>
                <a:latin typeface="+mn-ea"/>
              </a:rPr>
              <a:t>04</a:t>
            </a:r>
          </a:p>
        </p:txBody>
      </p:sp>
      <p:grpSp>
        <p:nvGrpSpPr>
          <p:cNvPr id="26" name="Group 25"/>
          <p:cNvGrpSpPr/>
          <p:nvPr/>
        </p:nvGrpSpPr>
        <p:grpSpPr>
          <a:xfrm>
            <a:off x="8054146" y="1782686"/>
            <a:ext cx="1886374" cy="631750"/>
            <a:chOff x="1662668" y="928077"/>
            <a:chExt cx="1414965" cy="473813"/>
          </a:xfrm>
        </p:grpSpPr>
        <p:sp>
          <p:nvSpPr>
            <p:cNvPr id="27" name="Text Placeholder 3"/>
            <p:cNvSpPr txBox="1"/>
            <p:nvPr/>
          </p:nvSpPr>
          <p:spPr>
            <a:xfrm>
              <a:off x="1662668" y="928077"/>
              <a:ext cx="673349" cy="161583"/>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dirty="0">
                  <a:solidFill>
                    <a:schemeClr val="tx1">
                      <a:lumMod val="65000"/>
                      <a:lumOff val="35000"/>
                    </a:schemeClr>
                  </a:solidFill>
                  <a:latin typeface="+mn-ea"/>
                </a:rPr>
                <a:t>添加副标题</a:t>
              </a:r>
              <a:endParaRPr lang="en-US" dirty="0">
                <a:solidFill>
                  <a:schemeClr val="tx1">
                    <a:lumMod val="65000"/>
                    <a:lumOff val="35000"/>
                  </a:schemeClr>
                </a:solidFill>
                <a:latin typeface="+mn-ea"/>
              </a:endParaRPr>
            </a:p>
          </p:txBody>
        </p:sp>
        <p:sp>
          <p:nvSpPr>
            <p:cNvPr id="28" name="Text Placeholder 3"/>
            <p:cNvSpPr txBox="1"/>
            <p:nvPr/>
          </p:nvSpPr>
          <p:spPr>
            <a:xfrm>
              <a:off x="1662668" y="1094113"/>
              <a:ext cx="1414965" cy="307777"/>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tx1">
                      <a:lumMod val="50000"/>
                      <a:lumOff val="50000"/>
                    </a:schemeClr>
                  </a:solidFill>
                  <a:latin typeface="+mn-ea"/>
                </a:rPr>
                <a:t>此处添加详细文本描述，建议与标题。</a:t>
              </a:r>
            </a:p>
          </p:txBody>
        </p:sp>
      </p:grpSp>
      <p:grpSp>
        <p:nvGrpSpPr>
          <p:cNvPr id="29" name="Group 28"/>
          <p:cNvGrpSpPr/>
          <p:nvPr/>
        </p:nvGrpSpPr>
        <p:grpSpPr>
          <a:xfrm>
            <a:off x="2094003" y="1698291"/>
            <a:ext cx="2043854" cy="639336"/>
            <a:chOff x="1253094" y="928077"/>
            <a:chExt cx="1533090" cy="479502"/>
          </a:xfrm>
        </p:grpSpPr>
        <p:sp>
          <p:nvSpPr>
            <p:cNvPr id="30" name="Text Placeholder 3"/>
            <p:cNvSpPr txBox="1"/>
            <p:nvPr/>
          </p:nvSpPr>
          <p:spPr>
            <a:xfrm>
              <a:off x="2112834" y="928077"/>
              <a:ext cx="673349" cy="161583"/>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r" defTabSz="1218565">
                <a:spcBef>
                  <a:spcPct val="20000"/>
                </a:spcBef>
                <a:defRPr/>
              </a:pPr>
              <a:r>
                <a:rPr lang="zh-CN" altLang="en-US" dirty="0">
                  <a:solidFill>
                    <a:schemeClr val="tx1">
                      <a:lumMod val="65000"/>
                      <a:lumOff val="35000"/>
                    </a:schemeClr>
                  </a:solidFill>
                  <a:latin typeface="+mn-ea"/>
                </a:rPr>
                <a:t>添加副标题</a:t>
              </a:r>
              <a:endParaRPr lang="en-US" dirty="0">
                <a:solidFill>
                  <a:schemeClr val="tx1">
                    <a:lumMod val="65000"/>
                    <a:lumOff val="35000"/>
                  </a:schemeClr>
                </a:solidFill>
                <a:latin typeface="+mn-ea"/>
              </a:endParaRPr>
            </a:p>
          </p:txBody>
        </p:sp>
        <p:sp>
          <p:nvSpPr>
            <p:cNvPr id="31" name="Text Placeholder 3"/>
            <p:cNvSpPr txBox="1"/>
            <p:nvPr/>
          </p:nvSpPr>
          <p:spPr>
            <a:xfrm>
              <a:off x="1253094" y="1099802"/>
              <a:ext cx="1533090" cy="307777"/>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r" defTabSz="1218565">
                <a:spcBef>
                  <a:spcPct val="20000"/>
                </a:spcBef>
                <a:defRPr/>
              </a:pPr>
              <a:r>
                <a:rPr lang="zh-CN" altLang="en-US" sz="1300" dirty="0">
                  <a:solidFill>
                    <a:schemeClr val="tx1">
                      <a:lumMod val="50000"/>
                      <a:lumOff val="50000"/>
                    </a:schemeClr>
                  </a:solidFill>
                  <a:latin typeface="+mn-ea"/>
                </a:rPr>
                <a:t>此处添加详细文本描述，建议与标题。</a:t>
              </a:r>
              <a:endParaRPr lang="en-US" sz="1300" dirty="0">
                <a:solidFill>
                  <a:schemeClr val="tx1">
                    <a:lumMod val="50000"/>
                    <a:lumOff val="50000"/>
                  </a:schemeClr>
                </a:solidFill>
                <a:latin typeface="+mn-ea"/>
              </a:endParaRPr>
            </a:p>
          </p:txBody>
        </p:sp>
      </p:grpSp>
      <p:grpSp>
        <p:nvGrpSpPr>
          <p:cNvPr id="62" name="Group 61"/>
          <p:cNvGrpSpPr/>
          <p:nvPr/>
        </p:nvGrpSpPr>
        <p:grpSpPr>
          <a:xfrm>
            <a:off x="8054146" y="2975406"/>
            <a:ext cx="1886374" cy="631750"/>
            <a:chOff x="1662668" y="928077"/>
            <a:chExt cx="1414965" cy="473813"/>
          </a:xfrm>
        </p:grpSpPr>
        <p:sp>
          <p:nvSpPr>
            <p:cNvPr id="63" name="Text Placeholder 3"/>
            <p:cNvSpPr txBox="1"/>
            <p:nvPr/>
          </p:nvSpPr>
          <p:spPr>
            <a:xfrm>
              <a:off x="1662668" y="928077"/>
              <a:ext cx="673349" cy="161583"/>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dirty="0">
                  <a:solidFill>
                    <a:schemeClr val="tx1">
                      <a:lumMod val="65000"/>
                      <a:lumOff val="35000"/>
                    </a:schemeClr>
                  </a:solidFill>
                  <a:latin typeface="+mn-ea"/>
                </a:rPr>
                <a:t>添加副标题</a:t>
              </a:r>
              <a:endParaRPr lang="en-US" dirty="0">
                <a:solidFill>
                  <a:schemeClr val="tx1">
                    <a:lumMod val="65000"/>
                    <a:lumOff val="35000"/>
                  </a:schemeClr>
                </a:solidFill>
                <a:latin typeface="+mn-ea"/>
              </a:endParaRPr>
            </a:p>
          </p:txBody>
        </p:sp>
        <p:sp>
          <p:nvSpPr>
            <p:cNvPr id="64" name="Text Placeholder 3"/>
            <p:cNvSpPr txBox="1"/>
            <p:nvPr/>
          </p:nvSpPr>
          <p:spPr>
            <a:xfrm>
              <a:off x="1662668" y="1094113"/>
              <a:ext cx="1414965" cy="307777"/>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tx1">
                      <a:lumMod val="50000"/>
                      <a:lumOff val="50000"/>
                    </a:schemeClr>
                  </a:solidFill>
                  <a:latin typeface="+mn-ea"/>
                </a:rPr>
                <a:t>此处添加详细文本描述，建议与标题。</a:t>
              </a:r>
            </a:p>
          </p:txBody>
        </p:sp>
      </p:grpSp>
      <p:grpSp>
        <p:nvGrpSpPr>
          <p:cNvPr id="65" name="Group 64"/>
          <p:cNvGrpSpPr/>
          <p:nvPr/>
        </p:nvGrpSpPr>
        <p:grpSpPr>
          <a:xfrm>
            <a:off x="2094003" y="2891012"/>
            <a:ext cx="2043854" cy="639334"/>
            <a:chOff x="1253094" y="928077"/>
            <a:chExt cx="1533090" cy="479501"/>
          </a:xfrm>
        </p:grpSpPr>
        <p:sp>
          <p:nvSpPr>
            <p:cNvPr id="66" name="Text Placeholder 3"/>
            <p:cNvSpPr txBox="1"/>
            <p:nvPr/>
          </p:nvSpPr>
          <p:spPr>
            <a:xfrm>
              <a:off x="2112834" y="928077"/>
              <a:ext cx="673349" cy="161583"/>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r" defTabSz="1218565">
                <a:spcBef>
                  <a:spcPct val="20000"/>
                </a:spcBef>
                <a:defRPr/>
              </a:pPr>
              <a:r>
                <a:rPr lang="zh-CN" altLang="en-US" dirty="0">
                  <a:solidFill>
                    <a:schemeClr val="tx1">
                      <a:lumMod val="65000"/>
                      <a:lumOff val="35000"/>
                    </a:schemeClr>
                  </a:solidFill>
                  <a:latin typeface="+mn-ea"/>
                </a:rPr>
                <a:t>添加副标题</a:t>
              </a:r>
              <a:endParaRPr lang="en-US" dirty="0">
                <a:solidFill>
                  <a:schemeClr val="tx1">
                    <a:lumMod val="65000"/>
                    <a:lumOff val="35000"/>
                  </a:schemeClr>
                </a:solidFill>
                <a:latin typeface="+mn-ea"/>
              </a:endParaRPr>
            </a:p>
          </p:txBody>
        </p:sp>
        <p:sp>
          <p:nvSpPr>
            <p:cNvPr id="67" name="Text Placeholder 3"/>
            <p:cNvSpPr txBox="1"/>
            <p:nvPr/>
          </p:nvSpPr>
          <p:spPr>
            <a:xfrm>
              <a:off x="1253094" y="1099801"/>
              <a:ext cx="1533090" cy="307777"/>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r" defTabSz="1218565">
                <a:spcBef>
                  <a:spcPct val="20000"/>
                </a:spcBef>
                <a:defRPr/>
              </a:pPr>
              <a:r>
                <a:rPr lang="zh-CN" altLang="en-US" sz="1300" dirty="0">
                  <a:solidFill>
                    <a:schemeClr val="tx1">
                      <a:lumMod val="50000"/>
                      <a:lumOff val="50000"/>
                    </a:schemeClr>
                  </a:solidFill>
                  <a:latin typeface="+mn-ea"/>
                </a:rPr>
                <a:t>此处添加详细文本描述，建议与标题。</a:t>
              </a:r>
              <a:endParaRPr lang="en-US" altLang="zh-CN" sz="1300" dirty="0">
                <a:solidFill>
                  <a:schemeClr val="tx1">
                    <a:lumMod val="50000"/>
                    <a:lumOff val="50000"/>
                  </a:schemeClr>
                </a:solidFill>
                <a:latin typeface="+mn-ea"/>
              </a:endParaRPr>
            </a:p>
          </p:txBody>
        </p:sp>
      </p:gr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4"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1000"/>
                                        <p:tgtEl>
                                          <p:spTgt spid="8"/>
                                        </p:tgtEl>
                                      </p:cBhvr>
                                    </p:animEffect>
                                  </p:childTnLst>
                                </p:cTn>
                              </p:par>
                            </p:childTnLst>
                          </p:cTn>
                        </p:par>
                        <p:par>
                          <p:cTn id="13" fill="hold">
                            <p:stCondLst>
                              <p:cond delay="1500"/>
                            </p:stCondLst>
                            <p:childTnLst>
                              <p:par>
                                <p:cTn id="14" presetID="23" presetClass="entr" presetSubtype="16"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p:cTn id="16" dur="500" fill="hold"/>
                                        <p:tgtEl>
                                          <p:spTgt spid="12"/>
                                        </p:tgtEl>
                                        <p:attrNameLst>
                                          <p:attrName>ppt_w</p:attrName>
                                        </p:attrNameLst>
                                      </p:cBhvr>
                                      <p:tavLst>
                                        <p:tav tm="0">
                                          <p:val>
                                            <p:fltVal val="0"/>
                                          </p:val>
                                        </p:tav>
                                        <p:tav tm="100000">
                                          <p:val>
                                            <p:strVal val="#ppt_w"/>
                                          </p:val>
                                        </p:tav>
                                      </p:tavLst>
                                    </p:anim>
                                    <p:anim calcmode="lin" valueType="num">
                                      <p:cBhvr>
                                        <p:cTn id="17" dur="500" fill="hold"/>
                                        <p:tgtEl>
                                          <p:spTgt spid="12"/>
                                        </p:tgtEl>
                                        <p:attrNameLst>
                                          <p:attrName>ppt_h</p:attrName>
                                        </p:attrNameLst>
                                      </p:cBhvr>
                                      <p:tavLst>
                                        <p:tav tm="0">
                                          <p:val>
                                            <p:fltVal val="0"/>
                                          </p:val>
                                        </p:tav>
                                        <p:tav tm="100000">
                                          <p:val>
                                            <p:strVal val="#ppt_h"/>
                                          </p:val>
                                        </p:tav>
                                      </p:tavLst>
                                    </p:anim>
                                  </p:childTnLst>
                                </p:cTn>
                              </p:par>
                            </p:childTnLst>
                          </p:cTn>
                        </p:par>
                        <p:par>
                          <p:cTn id="18" fill="hold">
                            <p:stCondLst>
                              <p:cond delay="2000"/>
                            </p:stCondLst>
                            <p:childTnLst>
                              <p:par>
                                <p:cTn id="19" presetID="23" presetClass="entr" presetSubtype="16"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p:cTn id="21" dur="500" fill="hold"/>
                                        <p:tgtEl>
                                          <p:spTgt spid="13"/>
                                        </p:tgtEl>
                                        <p:attrNameLst>
                                          <p:attrName>ppt_w</p:attrName>
                                        </p:attrNameLst>
                                      </p:cBhvr>
                                      <p:tavLst>
                                        <p:tav tm="0">
                                          <p:val>
                                            <p:fltVal val="0"/>
                                          </p:val>
                                        </p:tav>
                                        <p:tav tm="100000">
                                          <p:val>
                                            <p:strVal val="#ppt_w"/>
                                          </p:val>
                                        </p:tav>
                                      </p:tavLst>
                                    </p:anim>
                                    <p:anim calcmode="lin" valueType="num">
                                      <p:cBhvr>
                                        <p:cTn id="22" dur="500" fill="hold"/>
                                        <p:tgtEl>
                                          <p:spTgt spid="13"/>
                                        </p:tgtEl>
                                        <p:attrNameLst>
                                          <p:attrName>ppt_h</p:attrName>
                                        </p:attrNameLst>
                                      </p:cBhvr>
                                      <p:tavLst>
                                        <p:tav tm="0">
                                          <p:val>
                                            <p:fltVal val="0"/>
                                          </p:val>
                                        </p:tav>
                                        <p:tav tm="100000">
                                          <p:val>
                                            <p:strVal val="#ppt_h"/>
                                          </p:val>
                                        </p:tav>
                                      </p:tavLst>
                                    </p:anim>
                                  </p:childTnLst>
                                </p:cTn>
                              </p:par>
                            </p:childTnLst>
                          </p:cTn>
                        </p:par>
                        <p:par>
                          <p:cTn id="23" fill="hold">
                            <p:stCondLst>
                              <p:cond delay="2500"/>
                            </p:stCondLst>
                            <p:childTnLst>
                              <p:par>
                                <p:cTn id="24" presetID="23" presetClass="entr" presetSubtype="16" fill="hold" grpId="0" nodeType="afterEffect">
                                  <p:stCondLst>
                                    <p:cond delay="0"/>
                                  </p:stCondLst>
                                  <p:childTnLst>
                                    <p:set>
                                      <p:cBhvr>
                                        <p:cTn id="25" dur="1" fill="hold">
                                          <p:stCondLst>
                                            <p:cond delay="0"/>
                                          </p:stCondLst>
                                        </p:cTn>
                                        <p:tgtEl>
                                          <p:spTgt spid="16"/>
                                        </p:tgtEl>
                                        <p:attrNameLst>
                                          <p:attrName>style.visibility</p:attrName>
                                        </p:attrNameLst>
                                      </p:cBhvr>
                                      <p:to>
                                        <p:strVal val="visible"/>
                                      </p:to>
                                    </p:set>
                                    <p:anim calcmode="lin" valueType="num">
                                      <p:cBhvr>
                                        <p:cTn id="26" dur="500" fill="hold"/>
                                        <p:tgtEl>
                                          <p:spTgt spid="16"/>
                                        </p:tgtEl>
                                        <p:attrNameLst>
                                          <p:attrName>ppt_w</p:attrName>
                                        </p:attrNameLst>
                                      </p:cBhvr>
                                      <p:tavLst>
                                        <p:tav tm="0">
                                          <p:val>
                                            <p:fltVal val="0"/>
                                          </p:val>
                                        </p:tav>
                                        <p:tav tm="100000">
                                          <p:val>
                                            <p:strVal val="#ppt_w"/>
                                          </p:val>
                                        </p:tav>
                                      </p:tavLst>
                                    </p:anim>
                                    <p:anim calcmode="lin" valueType="num">
                                      <p:cBhvr>
                                        <p:cTn id="27" dur="500" fill="hold"/>
                                        <p:tgtEl>
                                          <p:spTgt spid="16"/>
                                        </p:tgtEl>
                                        <p:attrNameLst>
                                          <p:attrName>ppt_h</p:attrName>
                                        </p:attrNameLst>
                                      </p:cBhvr>
                                      <p:tavLst>
                                        <p:tav tm="0">
                                          <p:val>
                                            <p:fltVal val="0"/>
                                          </p:val>
                                        </p:tav>
                                        <p:tav tm="100000">
                                          <p:val>
                                            <p:strVal val="#ppt_h"/>
                                          </p:val>
                                        </p:tav>
                                      </p:tavLst>
                                    </p:anim>
                                  </p:childTnLst>
                                </p:cTn>
                              </p:par>
                            </p:childTnLst>
                          </p:cTn>
                        </p:par>
                        <p:par>
                          <p:cTn id="28" fill="hold">
                            <p:stCondLst>
                              <p:cond delay="3000"/>
                            </p:stCondLst>
                            <p:childTnLst>
                              <p:par>
                                <p:cTn id="29" presetID="23" presetClass="entr" presetSubtype="16" fill="hold" grpId="0" nodeType="after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p:cTn id="31" dur="500" fill="hold"/>
                                        <p:tgtEl>
                                          <p:spTgt spid="14"/>
                                        </p:tgtEl>
                                        <p:attrNameLst>
                                          <p:attrName>ppt_w</p:attrName>
                                        </p:attrNameLst>
                                      </p:cBhvr>
                                      <p:tavLst>
                                        <p:tav tm="0">
                                          <p:val>
                                            <p:fltVal val="0"/>
                                          </p:val>
                                        </p:tav>
                                        <p:tav tm="100000">
                                          <p:val>
                                            <p:strVal val="#ppt_w"/>
                                          </p:val>
                                        </p:tav>
                                      </p:tavLst>
                                    </p:anim>
                                    <p:anim calcmode="lin" valueType="num">
                                      <p:cBhvr>
                                        <p:cTn id="32" dur="500" fill="hold"/>
                                        <p:tgtEl>
                                          <p:spTgt spid="14"/>
                                        </p:tgtEl>
                                        <p:attrNameLst>
                                          <p:attrName>ppt_h</p:attrName>
                                        </p:attrNameLst>
                                      </p:cBhvr>
                                      <p:tavLst>
                                        <p:tav tm="0">
                                          <p:val>
                                            <p:fltVal val="0"/>
                                          </p:val>
                                        </p:tav>
                                        <p:tav tm="100000">
                                          <p:val>
                                            <p:strVal val="#ppt_h"/>
                                          </p:val>
                                        </p:tav>
                                      </p:tavLst>
                                    </p:anim>
                                  </p:childTnLst>
                                </p:cTn>
                              </p:par>
                            </p:childTnLst>
                          </p:cTn>
                        </p:par>
                        <p:par>
                          <p:cTn id="33" fill="hold">
                            <p:stCondLst>
                              <p:cond delay="3500"/>
                            </p:stCondLst>
                            <p:childTnLst>
                              <p:par>
                                <p:cTn id="34" presetID="23" presetClass="entr" presetSubtype="16" fill="hold" grpId="0" nodeType="afterEffect">
                                  <p:stCondLst>
                                    <p:cond delay="0"/>
                                  </p:stCondLst>
                                  <p:childTnLst>
                                    <p:set>
                                      <p:cBhvr>
                                        <p:cTn id="35" dur="1" fill="hold">
                                          <p:stCondLst>
                                            <p:cond delay="0"/>
                                          </p:stCondLst>
                                        </p:cTn>
                                        <p:tgtEl>
                                          <p:spTgt spid="15"/>
                                        </p:tgtEl>
                                        <p:attrNameLst>
                                          <p:attrName>style.visibility</p:attrName>
                                        </p:attrNameLst>
                                      </p:cBhvr>
                                      <p:to>
                                        <p:strVal val="visible"/>
                                      </p:to>
                                    </p:set>
                                    <p:anim calcmode="lin" valueType="num">
                                      <p:cBhvr>
                                        <p:cTn id="36" dur="500" fill="hold"/>
                                        <p:tgtEl>
                                          <p:spTgt spid="15"/>
                                        </p:tgtEl>
                                        <p:attrNameLst>
                                          <p:attrName>ppt_w</p:attrName>
                                        </p:attrNameLst>
                                      </p:cBhvr>
                                      <p:tavLst>
                                        <p:tav tm="0">
                                          <p:val>
                                            <p:fltVal val="0"/>
                                          </p:val>
                                        </p:tav>
                                        <p:tav tm="100000">
                                          <p:val>
                                            <p:strVal val="#ppt_w"/>
                                          </p:val>
                                        </p:tav>
                                      </p:tavLst>
                                    </p:anim>
                                    <p:anim calcmode="lin" valueType="num">
                                      <p:cBhvr>
                                        <p:cTn id="37" dur="500" fill="hold"/>
                                        <p:tgtEl>
                                          <p:spTgt spid="15"/>
                                        </p:tgtEl>
                                        <p:attrNameLst>
                                          <p:attrName>ppt_h</p:attrName>
                                        </p:attrNameLst>
                                      </p:cBhvr>
                                      <p:tavLst>
                                        <p:tav tm="0">
                                          <p:val>
                                            <p:fltVal val="0"/>
                                          </p:val>
                                        </p:tav>
                                        <p:tav tm="100000">
                                          <p:val>
                                            <p:strVal val="#ppt_h"/>
                                          </p:val>
                                        </p:tav>
                                      </p:tavLst>
                                    </p:anim>
                                  </p:childTnLst>
                                </p:cTn>
                              </p:par>
                            </p:childTnLst>
                          </p:cTn>
                        </p:par>
                        <p:par>
                          <p:cTn id="38" fill="hold">
                            <p:stCondLst>
                              <p:cond delay="4000"/>
                            </p:stCondLst>
                            <p:childTnLst>
                              <p:par>
                                <p:cTn id="39" presetID="12" presetClass="entr" presetSubtype="4" fill="hold" nodeType="afterEffect">
                                  <p:stCondLst>
                                    <p:cond delay="0"/>
                                  </p:stCondLst>
                                  <p:childTnLst>
                                    <p:set>
                                      <p:cBhvr>
                                        <p:cTn id="40" dur="1" fill="hold">
                                          <p:stCondLst>
                                            <p:cond delay="0"/>
                                          </p:stCondLst>
                                        </p:cTn>
                                        <p:tgtEl>
                                          <p:spTgt spid="52"/>
                                        </p:tgtEl>
                                        <p:attrNameLst>
                                          <p:attrName>style.visibility</p:attrName>
                                        </p:attrNameLst>
                                      </p:cBhvr>
                                      <p:to>
                                        <p:strVal val="visible"/>
                                      </p:to>
                                    </p:set>
                                    <p:animEffect transition="in" filter="slide(fromBottom)">
                                      <p:cBhvr>
                                        <p:cTn id="41" dur="500"/>
                                        <p:tgtEl>
                                          <p:spTgt spid="52"/>
                                        </p:tgtEl>
                                      </p:cBhvr>
                                    </p:animEffect>
                                  </p:childTnLst>
                                </p:cTn>
                              </p:par>
                            </p:childTnLst>
                          </p:cTn>
                        </p:par>
                        <p:par>
                          <p:cTn id="42" fill="hold">
                            <p:stCondLst>
                              <p:cond delay="4500"/>
                            </p:stCondLst>
                            <p:childTnLst>
                              <p:par>
                                <p:cTn id="43" presetID="12" presetClass="entr" presetSubtype="4" fill="hold" nodeType="afterEffect">
                                  <p:stCondLst>
                                    <p:cond delay="0"/>
                                  </p:stCondLst>
                                  <p:childTnLst>
                                    <p:set>
                                      <p:cBhvr>
                                        <p:cTn id="44" dur="1" fill="hold">
                                          <p:stCondLst>
                                            <p:cond delay="0"/>
                                          </p:stCondLst>
                                        </p:cTn>
                                        <p:tgtEl>
                                          <p:spTgt spid="47"/>
                                        </p:tgtEl>
                                        <p:attrNameLst>
                                          <p:attrName>style.visibility</p:attrName>
                                        </p:attrNameLst>
                                      </p:cBhvr>
                                      <p:to>
                                        <p:strVal val="visible"/>
                                      </p:to>
                                    </p:set>
                                    <p:animEffect transition="in" filter="slide(fromBottom)">
                                      <p:cBhvr>
                                        <p:cTn id="45" dur="500"/>
                                        <p:tgtEl>
                                          <p:spTgt spid="47"/>
                                        </p:tgtEl>
                                      </p:cBhvr>
                                    </p:animEffect>
                                  </p:childTnLst>
                                </p:cTn>
                              </p:par>
                            </p:childTnLst>
                          </p:cTn>
                        </p:par>
                        <p:par>
                          <p:cTn id="46" fill="hold">
                            <p:stCondLst>
                              <p:cond delay="5000"/>
                            </p:stCondLst>
                            <p:childTnLst>
                              <p:par>
                                <p:cTn id="47" presetID="12" presetClass="entr" presetSubtype="4" fill="hold" nodeType="after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slide(fromBottom)">
                                      <p:cBhvr>
                                        <p:cTn id="49" dur="500"/>
                                        <p:tgtEl>
                                          <p:spTgt spid="42"/>
                                        </p:tgtEl>
                                      </p:cBhvr>
                                    </p:animEffect>
                                  </p:childTnLst>
                                </p:cTn>
                              </p:par>
                            </p:childTnLst>
                          </p:cTn>
                        </p:par>
                        <p:par>
                          <p:cTn id="50" fill="hold">
                            <p:stCondLst>
                              <p:cond delay="5500"/>
                            </p:stCondLst>
                            <p:childTnLst>
                              <p:par>
                                <p:cTn id="51" presetID="12" presetClass="entr" presetSubtype="4" fill="hold" nodeType="afterEffect">
                                  <p:stCondLst>
                                    <p:cond delay="0"/>
                                  </p:stCondLst>
                                  <p:childTnLst>
                                    <p:set>
                                      <p:cBhvr>
                                        <p:cTn id="52" dur="1" fill="hold">
                                          <p:stCondLst>
                                            <p:cond delay="0"/>
                                          </p:stCondLst>
                                        </p:cTn>
                                        <p:tgtEl>
                                          <p:spTgt spid="57"/>
                                        </p:tgtEl>
                                        <p:attrNameLst>
                                          <p:attrName>style.visibility</p:attrName>
                                        </p:attrNameLst>
                                      </p:cBhvr>
                                      <p:to>
                                        <p:strVal val="visible"/>
                                      </p:to>
                                    </p:set>
                                    <p:animEffect transition="in" filter="slide(fromBottom)">
                                      <p:cBhvr>
                                        <p:cTn id="53" dur="500"/>
                                        <p:tgtEl>
                                          <p:spTgt spid="57"/>
                                        </p:tgtEl>
                                      </p:cBhvr>
                                    </p:animEffect>
                                  </p:childTnLst>
                                </p:cTn>
                              </p:par>
                            </p:childTnLst>
                          </p:cTn>
                        </p:par>
                        <p:par>
                          <p:cTn id="54" fill="hold">
                            <p:stCondLst>
                              <p:cond delay="6000"/>
                            </p:stCondLst>
                            <p:childTnLst>
                              <p:par>
                                <p:cTn id="55" presetID="12" presetClass="entr" presetSubtype="8" fill="hold" nodeType="after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slide(fromLeft)">
                                      <p:cBhvr>
                                        <p:cTn id="57" dur="500"/>
                                        <p:tgtEl>
                                          <p:spTgt spid="26"/>
                                        </p:tgtEl>
                                      </p:cBhvr>
                                    </p:animEffect>
                                  </p:childTnLst>
                                </p:cTn>
                              </p:par>
                            </p:childTnLst>
                          </p:cTn>
                        </p:par>
                        <p:par>
                          <p:cTn id="58" fill="hold">
                            <p:stCondLst>
                              <p:cond delay="6500"/>
                            </p:stCondLst>
                            <p:childTnLst>
                              <p:par>
                                <p:cTn id="59" presetID="12" presetClass="entr" presetSubtype="2" fill="hold" nodeType="afterEffect">
                                  <p:stCondLst>
                                    <p:cond delay="0"/>
                                  </p:stCondLst>
                                  <p:childTnLst>
                                    <p:set>
                                      <p:cBhvr>
                                        <p:cTn id="60" dur="1" fill="hold">
                                          <p:stCondLst>
                                            <p:cond delay="0"/>
                                          </p:stCondLst>
                                        </p:cTn>
                                        <p:tgtEl>
                                          <p:spTgt spid="29"/>
                                        </p:tgtEl>
                                        <p:attrNameLst>
                                          <p:attrName>style.visibility</p:attrName>
                                        </p:attrNameLst>
                                      </p:cBhvr>
                                      <p:to>
                                        <p:strVal val="visible"/>
                                      </p:to>
                                    </p:set>
                                    <p:animEffect transition="in" filter="slide(fromRight)">
                                      <p:cBhvr>
                                        <p:cTn id="61" dur="500"/>
                                        <p:tgtEl>
                                          <p:spTgt spid="29"/>
                                        </p:tgtEl>
                                      </p:cBhvr>
                                    </p:animEffect>
                                  </p:childTnLst>
                                </p:cTn>
                              </p:par>
                            </p:childTnLst>
                          </p:cTn>
                        </p:par>
                        <p:par>
                          <p:cTn id="62" fill="hold">
                            <p:stCondLst>
                              <p:cond delay="7000"/>
                            </p:stCondLst>
                            <p:childTnLst>
                              <p:par>
                                <p:cTn id="63" presetID="12" presetClass="entr" presetSubtype="8" fill="hold" nodeType="afterEffect">
                                  <p:stCondLst>
                                    <p:cond delay="0"/>
                                  </p:stCondLst>
                                  <p:childTnLst>
                                    <p:set>
                                      <p:cBhvr>
                                        <p:cTn id="64" dur="1" fill="hold">
                                          <p:stCondLst>
                                            <p:cond delay="0"/>
                                          </p:stCondLst>
                                        </p:cTn>
                                        <p:tgtEl>
                                          <p:spTgt spid="62"/>
                                        </p:tgtEl>
                                        <p:attrNameLst>
                                          <p:attrName>style.visibility</p:attrName>
                                        </p:attrNameLst>
                                      </p:cBhvr>
                                      <p:to>
                                        <p:strVal val="visible"/>
                                      </p:to>
                                    </p:set>
                                    <p:animEffect transition="in" filter="slide(fromLeft)">
                                      <p:cBhvr>
                                        <p:cTn id="65" dur="500"/>
                                        <p:tgtEl>
                                          <p:spTgt spid="62"/>
                                        </p:tgtEl>
                                      </p:cBhvr>
                                    </p:animEffect>
                                  </p:childTnLst>
                                </p:cTn>
                              </p:par>
                            </p:childTnLst>
                          </p:cTn>
                        </p:par>
                        <p:par>
                          <p:cTn id="66" fill="hold">
                            <p:stCondLst>
                              <p:cond delay="7500"/>
                            </p:stCondLst>
                            <p:childTnLst>
                              <p:par>
                                <p:cTn id="67" presetID="12" presetClass="entr" presetSubtype="2" fill="hold" nodeType="afterEffect">
                                  <p:stCondLst>
                                    <p:cond delay="0"/>
                                  </p:stCondLst>
                                  <p:childTnLst>
                                    <p:set>
                                      <p:cBhvr>
                                        <p:cTn id="68" dur="1" fill="hold">
                                          <p:stCondLst>
                                            <p:cond delay="0"/>
                                          </p:stCondLst>
                                        </p:cTn>
                                        <p:tgtEl>
                                          <p:spTgt spid="65"/>
                                        </p:tgtEl>
                                        <p:attrNameLst>
                                          <p:attrName>style.visibility</p:attrName>
                                        </p:attrNameLst>
                                      </p:cBhvr>
                                      <p:to>
                                        <p:strVal val="visible"/>
                                      </p:to>
                                    </p:set>
                                    <p:animEffect transition="in" filter="slide(fromRight)">
                                      <p:cBhvr>
                                        <p:cTn id="69" dur="500"/>
                                        <p:tgtEl>
                                          <p:spTgt spid="65"/>
                                        </p:tgtEl>
                                      </p:cBhvr>
                                    </p:animEffect>
                                  </p:childTnLst>
                                </p:cTn>
                              </p:par>
                            </p:childTnLst>
                          </p:cTn>
                        </p:par>
                        <p:par>
                          <p:cTn id="70" fill="hold">
                            <p:stCondLst>
                              <p:cond delay="8000"/>
                            </p:stCondLst>
                            <p:childTnLst>
                              <p:par>
                                <p:cTn id="71" presetID="18" presetClass="entr" presetSubtype="3" fill="hold" nodeType="afterEffect">
                                  <p:stCondLst>
                                    <p:cond delay="0"/>
                                  </p:stCondLst>
                                  <p:childTnLst>
                                    <p:set>
                                      <p:cBhvr>
                                        <p:cTn id="72" dur="1" fill="hold">
                                          <p:stCondLst>
                                            <p:cond delay="0"/>
                                          </p:stCondLst>
                                        </p:cTn>
                                        <p:tgtEl>
                                          <p:spTgt spid="11"/>
                                        </p:tgtEl>
                                        <p:attrNameLst>
                                          <p:attrName>style.visibility</p:attrName>
                                        </p:attrNameLst>
                                      </p:cBhvr>
                                      <p:to>
                                        <p:strVal val="visible"/>
                                      </p:to>
                                    </p:set>
                                    <p:animEffect transition="in" filter="strips(upRight)">
                                      <p:cBhvr>
                                        <p:cTn id="73" dur="500"/>
                                        <p:tgtEl>
                                          <p:spTgt spid="11"/>
                                        </p:tgtEl>
                                      </p:cBhvr>
                                    </p:animEffect>
                                  </p:childTnLst>
                                </p:cTn>
                              </p:par>
                            </p:childTnLst>
                          </p:cTn>
                        </p:par>
                        <p:par>
                          <p:cTn id="74" fill="hold">
                            <p:stCondLst>
                              <p:cond delay="8500"/>
                            </p:stCondLst>
                            <p:childTnLst>
                              <p:par>
                                <p:cTn id="75" presetID="10" presetClass="entr" presetSubtype="0" fill="hold" grpId="0" nodeType="afterEffect">
                                  <p:stCondLst>
                                    <p:cond delay="0"/>
                                  </p:stCondLst>
                                  <p:childTnLst>
                                    <p:set>
                                      <p:cBhvr>
                                        <p:cTn id="76" dur="1" fill="hold">
                                          <p:stCondLst>
                                            <p:cond delay="0"/>
                                          </p:stCondLst>
                                        </p:cTn>
                                        <p:tgtEl>
                                          <p:spTgt spid="10"/>
                                        </p:tgtEl>
                                        <p:attrNameLst>
                                          <p:attrName>style.visibility</p:attrName>
                                        </p:attrNameLst>
                                      </p:cBhvr>
                                      <p:to>
                                        <p:strVal val="visible"/>
                                      </p:to>
                                    </p:set>
                                    <p:animEffect transition="in" filter="fade">
                                      <p:cBhvr>
                                        <p:cTn id="7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8" grpId="0" animBg="1"/>
      <p:bldP spid="9" grpId="0" animBg="1"/>
      <p:bldP spid="10" grpId="0"/>
      <p:bldP spid="12" grpId="0" animBg="1"/>
      <p:bldP spid="13" grpId="0" animBg="1"/>
      <p:bldP spid="1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41"/>
          <p:cNvGrpSpPr/>
          <p:nvPr/>
        </p:nvGrpSpPr>
        <p:grpSpPr>
          <a:xfrm>
            <a:off x="3903788" y="3141312"/>
            <a:ext cx="1479815" cy="1655219"/>
            <a:chOff x="4097338" y="2217738"/>
            <a:chExt cx="1139825" cy="1274763"/>
          </a:xfrm>
          <a:solidFill>
            <a:schemeClr val="accent1"/>
          </a:solidFill>
        </p:grpSpPr>
        <p:sp>
          <p:nvSpPr>
            <p:cNvPr id="5125" name="Freeform 5"/>
            <p:cNvSpPr/>
            <p:nvPr/>
          </p:nvSpPr>
          <p:spPr bwMode="auto">
            <a:xfrm>
              <a:off x="5102225" y="3086100"/>
              <a:ext cx="120650" cy="233363"/>
            </a:xfrm>
            <a:custGeom>
              <a:avLst/>
              <a:gdLst/>
              <a:ahLst/>
              <a:cxnLst>
                <a:cxn ang="0">
                  <a:pos x="9" y="114"/>
                </a:cxn>
                <a:cxn ang="0">
                  <a:pos x="18" y="94"/>
                </a:cxn>
                <a:cxn ang="0">
                  <a:pos x="11" y="71"/>
                </a:cxn>
                <a:cxn ang="0">
                  <a:pos x="40" y="43"/>
                </a:cxn>
                <a:cxn ang="0">
                  <a:pos x="71" y="13"/>
                </a:cxn>
                <a:cxn ang="0">
                  <a:pos x="73" y="0"/>
                </a:cxn>
                <a:cxn ang="0">
                  <a:pos x="91" y="42"/>
                </a:cxn>
                <a:cxn ang="0">
                  <a:pos x="91" y="49"/>
                </a:cxn>
                <a:cxn ang="0">
                  <a:pos x="84" y="47"/>
                </a:cxn>
                <a:cxn ang="0">
                  <a:pos x="64" y="126"/>
                </a:cxn>
                <a:cxn ang="0">
                  <a:pos x="25" y="175"/>
                </a:cxn>
                <a:cxn ang="0">
                  <a:pos x="5" y="151"/>
                </a:cxn>
                <a:cxn ang="0">
                  <a:pos x="5" y="140"/>
                </a:cxn>
                <a:cxn ang="0">
                  <a:pos x="0" y="122"/>
                </a:cxn>
                <a:cxn ang="0">
                  <a:pos x="9" y="114"/>
                </a:cxn>
              </a:cxnLst>
              <a:rect l="0" t="0" r="r" b="b"/>
              <a:pathLst>
                <a:path w="91" h="175">
                  <a:moveTo>
                    <a:pt x="9" y="114"/>
                  </a:moveTo>
                  <a:cubicBezTo>
                    <a:pt x="9" y="114"/>
                    <a:pt x="18" y="95"/>
                    <a:pt x="18" y="94"/>
                  </a:cubicBezTo>
                  <a:cubicBezTo>
                    <a:pt x="18" y="89"/>
                    <a:pt x="11" y="78"/>
                    <a:pt x="11" y="71"/>
                  </a:cubicBezTo>
                  <a:cubicBezTo>
                    <a:pt x="11" y="49"/>
                    <a:pt x="27" y="50"/>
                    <a:pt x="40" y="43"/>
                  </a:cubicBezTo>
                  <a:cubicBezTo>
                    <a:pt x="50" y="37"/>
                    <a:pt x="64" y="20"/>
                    <a:pt x="71" y="13"/>
                  </a:cubicBezTo>
                  <a:cubicBezTo>
                    <a:pt x="73" y="11"/>
                    <a:pt x="72" y="4"/>
                    <a:pt x="73" y="0"/>
                  </a:cubicBezTo>
                  <a:cubicBezTo>
                    <a:pt x="88" y="2"/>
                    <a:pt x="87" y="31"/>
                    <a:pt x="91" y="42"/>
                  </a:cubicBezTo>
                  <a:cubicBezTo>
                    <a:pt x="91" y="49"/>
                    <a:pt x="91" y="49"/>
                    <a:pt x="91" y="49"/>
                  </a:cubicBezTo>
                  <a:cubicBezTo>
                    <a:pt x="89" y="48"/>
                    <a:pt x="85" y="47"/>
                    <a:pt x="84" y="47"/>
                  </a:cubicBezTo>
                  <a:cubicBezTo>
                    <a:pt x="84" y="79"/>
                    <a:pt x="74" y="101"/>
                    <a:pt x="64" y="126"/>
                  </a:cubicBezTo>
                  <a:cubicBezTo>
                    <a:pt x="56" y="146"/>
                    <a:pt x="52" y="175"/>
                    <a:pt x="25" y="175"/>
                  </a:cubicBezTo>
                  <a:cubicBezTo>
                    <a:pt x="14" y="175"/>
                    <a:pt x="5" y="163"/>
                    <a:pt x="5" y="151"/>
                  </a:cubicBezTo>
                  <a:cubicBezTo>
                    <a:pt x="5" y="145"/>
                    <a:pt x="6" y="143"/>
                    <a:pt x="5" y="140"/>
                  </a:cubicBezTo>
                  <a:cubicBezTo>
                    <a:pt x="0" y="136"/>
                    <a:pt x="0" y="129"/>
                    <a:pt x="0" y="122"/>
                  </a:cubicBezTo>
                  <a:cubicBezTo>
                    <a:pt x="0" y="121"/>
                    <a:pt x="8" y="114"/>
                    <a:pt x="9" y="11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5126" name="Freeform 6"/>
            <p:cNvSpPr/>
            <p:nvPr/>
          </p:nvSpPr>
          <p:spPr bwMode="auto">
            <a:xfrm>
              <a:off x="4097338" y="2217738"/>
              <a:ext cx="1139825" cy="1274763"/>
            </a:xfrm>
            <a:custGeom>
              <a:avLst/>
              <a:gdLst/>
              <a:ahLst/>
              <a:cxnLst>
                <a:cxn ang="0">
                  <a:pos x="499" y="66"/>
                </a:cxn>
                <a:cxn ang="0">
                  <a:pos x="527" y="81"/>
                </a:cxn>
                <a:cxn ang="0">
                  <a:pos x="609" y="86"/>
                </a:cxn>
                <a:cxn ang="0">
                  <a:pos x="644" y="89"/>
                </a:cxn>
                <a:cxn ang="0">
                  <a:pos x="644" y="136"/>
                </a:cxn>
                <a:cxn ang="0">
                  <a:pos x="620" y="115"/>
                </a:cxn>
                <a:cxn ang="0">
                  <a:pos x="679" y="223"/>
                </a:cxn>
                <a:cxn ang="0">
                  <a:pos x="699" y="267"/>
                </a:cxn>
                <a:cxn ang="0">
                  <a:pos x="730" y="310"/>
                </a:cxn>
                <a:cxn ang="0">
                  <a:pos x="755" y="348"/>
                </a:cxn>
                <a:cxn ang="0">
                  <a:pos x="787" y="359"/>
                </a:cxn>
                <a:cxn ang="0">
                  <a:pos x="853" y="346"/>
                </a:cxn>
                <a:cxn ang="0">
                  <a:pos x="826" y="425"/>
                </a:cxn>
                <a:cxn ang="0">
                  <a:pos x="719" y="541"/>
                </a:cxn>
                <a:cxn ang="0">
                  <a:pos x="708" y="600"/>
                </a:cxn>
                <a:cxn ang="0">
                  <a:pos x="721" y="638"/>
                </a:cxn>
                <a:cxn ang="0">
                  <a:pos x="720" y="676"/>
                </a:cxn>
                <a:cxn ang="0">
                  <a:pos x="660" y="745"/>
                </a:cxn>
                <a:cxn ang="0">
                  <a:pos x="659" y="788"/>
                </a:cxn>
                <a:cxn ang="0">
                  <a:pos x="643" y="816"/>
                </a:cxn>
                <a:cxn ang="0">
                  <a:pos x="627" y="846"/>
                </a:cxn>
                <a:cxn ang="0">
                  <a:pos x="592" y="902"/>
                </a:cxn>
                <a:cxn ang="0">
                  <a:pos x="538" y="946"/>
                </a:cxn>
                <a:cxn ang="0">
                  <a:pos x="512" y="944"/>
                </a:cxn>
                <a:cxn ang="0">
                  <a:pos x="452" y="949"/>
                </a:cxn>
                <a:cxn ang="0">
                  <a:pos x="440" y="929"/>
                </a:cxn>
                <a:cxn ang="0">
                  <a:pos x="431" y="893"/>
                </a:cxn>
                <a:cxn ang="0">
                  <a:pos x="395" y="789"/>
                </a:cxn>
                <a:cxn ang="0">
                  <a:pos x="360" y="708"/>
                </a:cxn>
                <a:cxn ang="0">
                  <a:pos x="382" y="621"/>
                </a:cxn>
                <a:cxn ang="0">
                  <a:pos x="364" y="558"/>
                </a:cxn>
                <a:cxn ang="0">
                  <a:pos x="337" y="490"/>
                </a:cxn>
                <a:cxn ang="0">
                  <a:pos x="342" y="461"/>
                </a:cxn>
                <a:cxn ang="0">
                  <a:pos x="295" y="443"/>
                </a:cxn>
                <a:cxn ang="0">
                  <a:pos x="206" y="433"/>
                </a:cxn>
                <a:cxn ang="0">
                  <a:pos x="164" y="434"/>
                </a:cxn>
                <a:cxn ang="0">
                  <a:pos x="109" y="439"/>
                </a:cxn>
                <a:cxn ang="0">
                  <a:pos x="40" y="369"/>
                </a:cxn>
                <a:cxn ang="0">
                  <a:pos x="7" y="338"/>
                </a:cxn>
                <a:cxn ang="0">
                  <a:pos x="7" y="324"/>
                </a:cxn>
                <a:cxn ang="0">
                  <a:pos x="18" y="269"/>
                </a:cxn>
                <a:cxn ang="0">
                  <a:pos x="22" y="199"/>
                </a:cxn>
                <a:cxn ang="0">
                  <a:pos x="77" y="132"/>
                </a:cxn>
                <a:cxn ang="0">
                  <a:pos x="104" y="77"/>
                </a:cxn>
                <a:cxn ang="0">
                  <a:pos x="141" y="36"/>
                </a:cxn>
                <a:cxn ang="0">
                  <a:pos x="187" y="35"/>
                </a:cxn>
                <a:cxn ang="0">
                  <a:pos x="273" y="6"/>
                </a:cxn>
                <a:cxn ang="0">
                  <a:pos x="307" y="4"/>
                </a:cxn>
                <a:cxn ang="0">
                  <a:pos x="338" y="0"/>
                </a:cxn>
                <a:cxn ang="0">
                  <a:pos x="358" y="6"/>
                </a:cxn>
                <a:cxn ang="0">
                  <a:pos x="357" y="27"/>
                </a:cxn>
                <a:cxn ang="0">
                  <a:pos x="371" y="64"/>
                </a:cxn>
                <a:cxn ang="0">
                  <a:pos x="455" y="100"/>
                </a:cxn>
                <a:cxn ang="0">
                  <a:pos x="464" y="84"/>
                </a:cxn>
                <a:cxn ang="0">
                  <a:pos x="490" y="66"/>
                </a:cxn>
              </a:cxnLst>
              <a:rect l="0" t="0" r="r" b="b"/>
              <a:pathLst>
                <a:path w="856" h="957">
                  <a:moveTo>
                    <a:pt x="490" y="66"/>
                  </a:moveTo>
                  <a:cubicBezTo>
                    <a:pt x="499" y="66"/>
                    <a:pt x="499" y="66"/>
                    <a:pt x="499" y="66"/>
                  </a:cubicBezTo>
                  <a:cubicBezTo>
                    <a:pt x="499" y="73"/>
                    <a:pt x="504" y="74"/>
                    <a:pt x="506" y="77"/>
                  </a:cubicBezTo>
                  <a:cubicBezTo>
                    <a:pt x="510" y="82"/>
                    <a:pt x="520" y="78"/>
                    <a:pt x="527" y="81"/>
                  </a:cubicBezTo>
                  <a:cubicBezTo>
                    <a:pt x="541" y="86"/>
                    <a:pt x="561" y="93"/>
                    <a:pt x="576" y="93"/>
                  </a:cubicBezTo>
                  <a:cubicBezTo>
                    <a:pt x="591" y="93"/>
                    <a:pt x="595" y="86"/>
                    <a:pt x="609" y="86"/>
                  </a:cubicBezTo>
                  <a:cubicBezTo>
                    <a:pt x="617" y="86"/>
                    <a:pt x="622" y="92"/>
                    <a:pt x="632" y="92"/>
                  </a:cubicBezTo>
                  <a:cubicBezTo>
                    <a:pt x="638" y="92"/>
                    <a:pt x="638" y="90"/>
                    <a:pt x="644" y="89"/>
                  </a:cubicBezTo>
                  <a:cubicBezTo>
                    <a:pt x="647" y="96"/>
                    <a:pt x="653" y="102"/>
                    <a:pt x="653" y="111"/>
                  </a:cubicBezTo>
                  <a:cubicBezTo>
                    <a:pt x="653" y="115"/>
                    <a:pt x="646" y="131"/>
                    <a:pt x="644" y="136"/>
                  </a:cubicBezTo>
                  <a:cubicBezTo>
                    <a:pt x="635" y="135"/>
                    <a:pt x="627" y="115"/>
                    <a:pt x="620" y="107"/>
                  </a:cubicBezTo>
                  <a:cubicBezTo>
                    <a:pt x="620" y="115"/>
                    <a:pt x="620" y="115"/>
                    <a:pt x="620" y="115"/>
                  </a:cubicBezTo>
                  <a:cubicBezTo>
                    <a:pt x="662" y="189"/>
                    <a:pt x="662" y="189"/>
                    <a:pt x="662" y="189"/>
                  </a:cubicBezTo>
                  <a:cubicBezTo>
                    <a:pt x="659" y="198"/>
                    <a:pt x="673" y="218"/>
                    <a:pt x="679" y="223"/>
                  </a:cubicBezTo>
                  <a:cubicBezTo>
                    <a:pt x="679" y="246"/>
                    <a:pt x="679" y="246"/>
                    <a:pt x="679" y="246"/>
                  </a:cubicBezTo>
                  <a:cubicBezTo>
                    <a:pt x="684" y="258"/>
                    <a:pt x="692" y="258"/>
                    <a:pt x="699" y="267"/>
                  </a:cubicBezTo>
                  <a:cubicBezTo>
                    <a:pt x="707" y="278"/>
                    <a:pt x="702" y="289"/>
                    <a:pt x="710" y="297"/>
                  </a:cubicBezTo>
                  <a:cubicBezTo>
                    <a:pt x="717" y="304"/>
                    <a:pt x="722" y="305"/>
                    <a:pt x="730" y="310"/>
                  </a:cubicBezTo>
                  <a:cubicBezTo>
                    <a:pt x="737" y="316"/>
                    <a:pt x="741" y="334"/>
                    <a:pt x="755" y="334"/>
                  </a:cubicBezTo>
                  <a:cubicBezTo>
                    <a:pt x="755" y="341"/>
                    <a:pt x="759" y="343"/>
                    <a:pt x="755" y="348"/>
                  </a:cubicBezTo>
                  <a:cubicBezTo>
                    <a:pt x="761" y="352"/>
                    <a:pt x="767" y="366"/>
                    <a:pt x="774" y="366"/>
                  </a:cubicBezTo>
                  <a:cubicBezTo>
                    <a:pt x="781" y="366"/>
                    <a:pt x="782" y="361"/>
                    <a:pt x="787" y="359"/>
                  </a:cubicBezTo>
                  <a:cubicBezTo>
                    <a:pt x="794" y="357"/>
                    <a:pt x="798" y="360"/>
                    <a:pt x="805" y="359"/>
                  </a:cubicBezTo>
                  <a:cubicBezTo>
                    <a:pt x="822" y="356"/>
                    <a:pt x="838" y="350"/>
                    <a:pt x="853" y="346"/>
                  </a:cubicBezTo>
                  <a:cubicBezTo>
                    <a:pt x="855" y="348"/>
                    <a:pt x="856" y="350"/>
                    <a:pt x="856" y="352"/>
                  </a:cubicBezTo>
                  <a:cubicBezTo>
                    <a:pt x="856" y="377"/>
                    <a:pt x="837" y="410"/>
                    <a:pt x="826" y="425"/>
                  </a:cubicBezTo>
                  <a:cubicBezTo>
                    <a:pt x="812" y="443"/>
                    <a:pt x="807" y="459"/>
                    <a:pt x="790" y="471"/>
                  </a:cubicBezTo>
                  <a:cubicBezTo>
                    <a:pt x="761" y="494"/>
                    <a:pt x="730" y="501"/>
                    <a:pt x="719" y="541"/>
                  </a:cubicBezTo>
                  <a:cubicBezTo>
                    <a:pt x="716" y="552"/>
                    <a:pt x="704" y="555"/>
                    <a:pt x="704" y="567"/>
                  </a:cubicBezTo>
                  <a:cubicBezTo>
                    <a:pt x="704" y="581"/>
                    <a:pt x="708" y="587"/>
                    <a:pt x="708" y="600"/>
                  </a:cubicBezTo>
                  <a:cubicBezTo>
                    <a:pt x="708" y="615"/>
                    <a:pt x="724" y="623"/>
                    <a:pt x="724" y="631"/>
                  </a:cubicBezTo>
                  <a:cubicBezTo>
                    <a:pt x="724" y="634"/>
                    <a:pt x="722" y="637"/>
                    <a:pt x="721" y="638"/>
                  </a:cubicBezTo>
                  <a:cubicBezTo>
                    <a:pt x="721" y="649"/>
                    <a:pt x="721" y="649"/>
                    <a:pt x="721" y="649"/>
                  </a:cubicBezTo>
                  <a:cubicBezTo>
                    <a:pt x="721" y="656"/>
                    <a:pt x="720" y="664"/>
                    <a:pt x="720" y="676"/>
                  </a:cubicBezTo>
                  <a:cubicBezTo>
                    <a:pt x="722" y="679"/>
                    <a:pt x="723" y="682"/>
                    <a:pt x="723" y="685"/>
                  </a:cubicBezTo>
                  <a:cubicBezTo>
                    <a:pt x="723" y="720"/>
                    <a:pt x="665" y="716"/>
                    <a:pt x="660" y="745"/>
                  </a:cubicBezTo>
                  <a:cubicBezTo>
                    <a:pt x="654" y="746"/>
                    <a:pt x="647" y="753"/>
                    <a:pt x="647" y="758"/>
                  </a:cubicBezTo>
                  <a:cubicBezTo>
                    <a:pt x="647" y="768"/>
                    <a:pt x="659" y="774"/>
                    <a:pt x="659" y="788"/>
                  </a:cubicBezTo>
                  <a:cubicBezTo>
                    <a:pt x="659" y="795"/>
                    <a:pt x="658" y="809"/>
                    <a:pt x="656" y="813"/>
                  </a:cubicBezTo>
                  <a:cubicBezTo>
                    <a:pt x="653" y="817"/>
                    <a:pt x="646" y="815"/>
                    <a:pt x="643" y="816"/>
                  </a:cubicBezTo>
                  <a:cubicBezTo>
                    <a:pt x="632" y="822"/>
                    <a:pt x="626" y="826"/>
                    <a:pt x="621" y="837"/>
                  </a:cubicBezTo>
                  <a:cubicBezTo>
                    <a:pt x="624" y="839"/>
                    <a:pt x="627" y="842"/>
                    <a:pt x="627" y="846"/>
                  </a:cubicBezTo>
                  <a:cubicBezTo>
                    <a:pt x="627" y="859"/>
                    <a:pt x="615" y="868"/>
                    <a:pt x="610" y="874"/>
                  </a:cubicBezTo>
                  <a:cubicBezTo>
                    <a:pt x="600" y="883"/>
                    <a:pt x="599" y="893"/>
                    <a:pt x="592" y="902"/>
                  </a:cubicBezTo>
                  <a:cubicBezTo>
                    <a:pt x="581" y="916"/>
                    <a:pt x="576" y="929"/>
                    <a:pt x="558" y="938"/>
                  </a:cubicBezTo>
                  <a:cubicBezTo>
                    <a:pt x="550" y="941"/>
                    <a:pt x="539" y="938"/>
                    <a:pt x="538" y="946"/>
                  </a:cubicBezTo>
                  <a:cubicBezTo>
                    <a:pt x="532" y="946"/>
                    <a:pt x="529" y="949"/>
                    <a:pt x="525" y="949"/>
                  </a:cubicBezTo>
                  <a:cubicBezTo>
                    <a:pt x="520" y="949"/>
                    <a:pt x="517" y="944"/>
                    <a:pt x="512" y="944"/>
                  </a:cubicBezTo>
                  <a:cubicBezTo>
                    <a:pt x="494" y="944"/>
                    <a:pt x="483" y="957"/>
                    <a:pt x="466" y="957"/>
                  </a:cubicBezTo>
                  <a:cubicBezTo>
                    <a:pt x="459" y="957"/>
                    <a:pt x="455" y="953"/>
                    <a:pt x="452" y="949"/>
                  </a:cubicBezTo>
                  <a:cubicBezTo>
                    <a:pt x="449" y="949"/>
                    <a:pt x="449" y="950"/>
                    <a:pt x="448" y="951"/>
                  </a:cubicBezTo>
                  <a:cubicBezTo>
                    <a:pt x="448" y="942"/>
                    <a:pt x="443" y="932"/>
                    <a:pt x="440" y="929"/>
                  </a:cubicBezTo>
                  <a:cubicBezTo>
                    <a:pt x="443" y="925"/>
                    <a:pt x="445" y="922"/>
                    <a:pt x="445" y="917"/>
                  </a:cubicBezTo>
                  <a:cubicBezTo>
                    <a:pt x="445" y="910"/>
                    <a:pt x="433" y="897"/>
                    <a:pt x="431" y="893"/>
                  </a:cubicBezTo>
                  <a:cubicBezTo>
                    <a:pt x="415" y="866"/>
                    <a:pt x="395" y="840"/>
                    <a:pt x="395" y="801"/>
                  </a:cubicBezTo>
                  <a:cubicBezTo>
                    <a:pt x="395" y="794"/>
                    <a:pt x="395" y="792"/>
                    <a:pt x="395" y="789"/>
                  </a:cubicBezTo>
                  <a:cubicBezTo>
                    <a:pt x="395" y="783"/>
                    <a:pt x="389" y="781"/>
                    <a:pt x="386" y="774"/>
                  </a:cubicBezTo>
                  <a:cubicBezTo>
                    <a:pt x="374" y="754"/>
                    <a:pt x="360" y="737"/>
                    <a:pt x="360" y="708"/>
                  </a:cubicBezTo>
                  <a:cubicBezTo>
                    <a:pt x="360" y="677"/>
                    <a:pt x="388" y="670"/>
                    <a:pt x="388" y="646"/>
                  </a:cubicBezTo>
                  <a:cubicBezTo>
                    <a:pt x="388" y="635"/>
                    <a:pt x="384" y="631"/>
                    <a:pt x="382" y="621"/>
                  </a:cubicBezTo>
                  <a:cubicBezTo>
                    <a:pt x="379" y="602"/>
                    <a:pt x="376" y="596"/>
                    <a:pt x="371" y="585"/>
                  </a:cubicBezTo>
                  <a:cubicBezTo>
                    <a:pt x="368" y="576"/>
                    <a:pt x="370" y="566"/>
                    <a:pt x="364" y="558"/>
                  </a:cubicBezTo>
                  <a:cubicBezTo>
                    <a:pt x="352" y="544"/>
                    <a:pt x="327" y="528"/>
                    <a:pt x="327" y="508"/>
                  </a:cubicBezTo>
                  <a:cubicBezTo>
                    <a:pt x="327" y="503"/>
                    <a:pt x="334" y="492"/>
                    <a:pt x="337" y="490"/>
                  </a:cubicBezTo>
                  <a:cubicBezTo>
                    <a:pt x="336" y="486"/>
                    <a:pt x="337" y="485"/>
                    <a:pt x="337" y="483"/>
                  </a:cubicBezTo>
                  <a:cubicBezTo>
                    <a:pt x="337" y="478"/>
                    <a:pt x="337" y="465"/>
                    <a:pt x="342" y="461"/>
                  </a:cubicBezTo>
                  <a:cubicBezTo>
                    <a:pt x="337" y="451"/>
                    <a:pt x="329" y="443"/>
                    <a:pt x="314" y="443"/>
                  </a:cubicBezTo>
                  <a:cubicBezTo>
                    <a:pt x="306" y="443"/>
                    <a:pt x="299" y="443"/>
                    <a:pt x="295" y="443"/>
                  </a:cubicBezTo>
                  <a:cubicBezTo>
                    <a:pt x="282" y="443"/>
                    <a:pt x="279" y="417"/>
                    <a:pt x="261" y="417"/>
                  </a:cubicBezTo>
                  <a:cubicBezTo>
                    <a:pt x="239" y="417"/>
                    <a:pt x="223" y="427"/>
                    <a:pt x="206" y="433"/>
                  </a:cubicBezTo>
                  <a:cubicBezTo>
                    <a:pt x="199" y="435"/>
                    <a:pt x="197" y="440"/>
                    <a:pt x="191" y="440"/>
                  </a:cubicBezTo>
                  <a:cubicBezTo>
                    <a:pt x="184" y="440"/>
                    <a:pt x="173" y="434"/>
                    <a:pt x="164" y="434"/>
                  </a:cubicBezTo>
                  <a:cubicBezTo>
                    <a:pt x="147" y="434"/>
                    <a:pt x="139" y="443"/>
                    <a:pt x="122" y="443"/>
                  </a:cubicBezTo>
                  <a:cubicBezTo>
                    <a:pt x="117" y="443"/>
                    <a:pt x="111" y="440"/>
                    <a:pt x="109" y="439"/>
                  </a:cubicBezTo>
                  <a:cubicBezTo>
                    <a:pt x="97" y="430"/>
                    <a:pt x="71" y="415"/>
                    <a:pt x="62" y="401"/>
                  </a:cubicBezTo>
                  <a:cubicBezTo>
                    <a:pt x="53" y="388"/>
                    <a:pt x="51" y="377"/>
                    <a:pt x="40" y="369"/>
                  </a:cubicBezTo>
                  <a:cubicBezTo>
                    <a:pt x="37" y="366"/>
                    <a:pt x="13" y="346"/>
                    <a:pt x="13" y="344"/>
                  </a:cubicBezTo>
                  <a:cubicBezTo>
                    <a:pt x="11" y="341"/>
                    <a:pt x="10" y="340"/>
                    <a:pt x="7" y="338"/>
                  </a:cubicBezTo>
                  <a:cubicBezTo>
                    <a:pt x="9" y="338"/>
                    <a:pt x="9" y="338"/>
                    <a:pt x="9" y="338"/>
                  </a:cubicBezTo>
                  <a:cubicBezTo>
                    <a:pt x="9" y="331"/>
                    <a:pt x="7" y="328"/>
                    <a:pt x="7" y="324"/>
                  </a:cubicBezTo>
                  <a:cubicBezTo>
                    <a:pt x="7" y="317"/>
                    <a:pt x="3" y="315"/>
                    <a:pt x="0" y="309"/>
                  </a:cubicBezTo>
                  <a:cubicBezTo>
                    <a:pt x="10" y="304"/>
                    <a:pt x="18" y="280"/>
                    <a:pt x="18" y="269"/>
                  </a:cubicBezTo>
                  <a:cubicBezTo>
                    <a:pt x="18" y="250"/>
                    <a:pt x="10" y="238"/>
                    <a:pt x="10" y="220"/>
                  </a:cubicBezTo>
                  <a:cubicBezTo>
                    <a:pt x="10" y="211"/>
                    <a:pt x="20" y="206"/>
                    <a:pt x="22" y="199"/>
                  </a:cubicBezTo>
                  <a:cubicBezTo>
                    <a:pt x="28" y="182"/>
                    <a:pt x="41" y="158"/>
                    <a:pt x="52" y="144"/>
                  </a:cubicBezTo>
                  <a:cubicBezTo>
                    <a:pt x="58" y="135"/>
                    <a:pt x="69" y="136"/>
                    <a:pt x="77" y="132"/>
                  </a:cubicBezTo>
                  <a:cubicBezTo>
                    <a:pt x="84" y="128"/>
                    <a:pt x="95" y="119"/>
                    <a:pt x="97" y="112"/>
                  </a:cubicBezTo>
                  <a:cubicBezTo>
                    <a:pt x="102" y="96"/>
                    <a:pt x="96" y="89"/>
                    <a:pt x="104" y="77"/>
                  </a:cubicBezTo>
                  <a:cubicBezTo>
                    <a:pt x="116" y="63"/>
                    <a:pt x="131" y="49"/>
                    <a:pt x="142" y="36"/>
                  </a:cubicBezTo>
                  <a:cubicBezTo>
                    <a:pt x="141" y="36"/>
                    <a:pt x="141" y="36"/>
                    <a:pt x="141" y="36"/>
                  </a:cubicBezTo>
                  <a:cubicBezTo>
                    <a:pt x="145" y="31"/>
                    <a:pt x="146" y="27"/>
                    <a:pt x="150" y="24"/>
                  </a:cubicBezTo>
                  <a:cubicBezTo>
                    <a:pt x="161" y="32"/>
                    <a:pt x="172" y="35"/>
                    <a:pt x="187" y="35"/>
                  </a:cubicBezTo>
                  <a:cubicBezTo>
                    <a:pt x="197" y="35"/>
                    <a:pt x="198" y="29"/>
                    <a:pt x="204" y="27"/>
                  </a:cubicBezTo>
                  <a:cubicBezTo>
                    <a:pt x="221" y="18"/>
                    <a:pt x="254" y="6"/>
                    <a:pt x="273" y="6"/>
                  </a:cubicBezTo>
                  <a:cubicBezTo>
                    <a:pt x="280" y="6"/>
                    <a:pt x="285" y="10"/>
                    <a:pt x="289" y="10"/>
                  </a:cubicBezTo>
                  <a:cubicBezTo>
                    <a:pt x="294" y="10"/>
                    <a:pt x="301" y="4"/>
                    <a:pt x="307" y="4"/>
                  </a:cubicBezTo>
                  <a:cubicBezTo>
                    <a:pt x="313" y="4"/>
                    <a:pt x="316" y="7"/>
                    <a:pt x="321" y="7"/>
                  </a:cubicBezTo>
                  <a:cubicBezTo>
                    <a:pt x="329" y="7"/>
                    <a:pt x="330" y="0"/>
                    <a:pt x="338" y="0"/>
                  </a:cubicBezTo>
                  <a:cubicBezTo>
                    <a:pt x="347" y="0"/>
                    <a:pt x="344" y="8"/>
                    <a:pt x="351" y="8"/>
                  </a:cubicBezTo>
                  <a:cubicBezTo>
                    <a:pt x="354" y="8"/>
                    <a:pt x="355" y="6"/>
                    <a:pt x="358" y="6"/>
                  </a:cubicBezTo>
                  <a:cubicBezTo>
                    <a:pt x="358" y="12"/>
                    <a:pt x="351" y="11"/>
                    <a:pt x="351" y="17"/>
                  </a:cubicBezTo>
                  <a:cubicBezTo>
                    <a:pt x="351" y="21"/>
                    <a:pt x="357" y="23"/>
                    <a:pt x="357" y="27"/>
                  </a:cubicBezTo>
                  <a:cubicBezTo>
                    <a:pt x="357" y="33"/>
                    <a:pt x="351" y="37"/>
                    <a:pt x="351" y="44"/>
                  </a:cubicBezTo>
                  <a:cubicBezTo>
                    <a:pt x="351" y="55"/>
                    <a:pt x="363" y="64"/>
                    <a:pt x="371" y="64"/>
                  </a:cubicBezTo>
                  <a:cubicBezTo>
                    <a:pt x="377" y="64"/>
                    <a:pt x="380" y="64"/>
                    <a:pt x="384" y="64"/>
                  </a:cubicBezTo>
                  <a:cubicBezTo>
                    <a:pt x="412" y="64"/>
                    <a:pt x="423" y="100"/>
                    <a:pt x="455" y="100"/>
                  </a:cubicBezTo>
                  <a:cubicBezTo>
                    <a:pt x="459" y="100"/>
                    <a:pt x="464" y="95"/>
                    <a:pt x="464" y="93"/>
                  </a:cubicBezTo>
                  <a:cubicBezTo>
                    <a:pt x="464" y="90"/>
                    <a:pt x="464" y="87"/>
                    <a:pt x="464" y="84"/>
                  </a:cubicBezTo>
                  <a:cubicBezTo>
                    <a:pt x="464" y="70"/>
                    <a:pt x="475" y="70"/>
                    <a:pt x="488" y="66"/>
                  </a:cubicBezTo>
                  <a:lnTo>
                    <a:pt x="490" y="66"/>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grpSp>
        <p:nvGrpSpPr>
          <p:cNvPr id="4" name="Group 274"/>
          <p:cNvGrpSpPr/>
          <p:nvPr/>
        </p:nvGrpSpPr>
        <p:grpSpPr>
          <a:xfrm>
            <a:off x="2518781" y="3734964"/>
            <a:ext cx="1011963" cy="1634605"/>
            <a:chOff x="3030538" y="2674938"/>
            <a:chExt cx="779463" cy="1258888"/>
          </a:xfrm>
          <a:solidFill>
            <a:schemeClr val="bg2"/>
          </a:solidFill>
        </p:grpSpPr>
        <p:sp>
          <p:nvSpPr>
            <p:cNvPr id="5142" name="Freeform 22"/>
            <p:cNvSpPr/>
            <p:nvPr/>
          </p:nvSpPr>
          <p:spPr bwMode="auto">
            <a:xfrm>
              <a:off x="3541713" y="2881313"/>
              <a:ext cx="39688" cy="31750"/>
            </a:xfrm>
            <a:custGeom>
              <a:avLst/>
              <a:gdLst/>
              <a:ahLst/>
              <a:cxnLst>
                <a:cxn ang="0">
                  <a:pos x="10" y="0"/>
                </a:cxn>
                <a:cxn ang="0">
                  <a:pos x="20" y="4"/>
                </a:cxn>
                <a:cxn ang="0">
                  <a:pos x="27" y="5"/>
                </a:cxn>
                <a:cxn ang="0">
                  <a:pos x="30" y="9"/>
                </a:cxn>
                <a:cxn ang="0">
                  <a:pos x="18" y="23"/>
                </a:cxn>
                <a:cxn ang="0">
                  <a:pos x="0" y="11"/>
                </a:cxn>
                <a:cxn ang="0">
                  <a:pos x="9" y="0"/>
                </a:cxn>
                <a:cxn ang="0">
                  <a:pos x="10" y="0"/>
                </a:cxn>
              </a:cxnLst>
              <a:rect l="0" t="0" r="r" b="b"/>
              <a:pathLst>
                <a:path w="30" h="23">
                  <a:moveTo>
                    <a:pt x="10" y="0"/>
                  </a:moveTo>
                  <a:cubicBezTo>
                    <a:pt x="13" y="1"/>
                    <a:pt x="16" y="4"/>
                    <a:pt x="20" y="4"/>
                  </a:cubicBezTo>
                  <a:cubicBezTo>
                    <a:pt x="21" y="9"/>
                    <a:pt x="25" y="5"/>
                    <a:pt x="27" y="5"/>
                  </a:cubicBezTo>
                  <a:cubicBezTo>
                    <a:pt x="29" y="5"/>
                    <a:pt x="30" y="8"/>
                    <a:pt x="30" y="9"/>
                  </a:cubicBezTo>
                  <a:cubicBezTo>
                    <a:pt x="30" y="12"/>
                    <a:pt x="23" y="23"/>
                    <a:pt x="18" y="23"/>
                  </a:cubicBezTo>
                  <a:cubicBezTo>
                    <a:pt x="11" y="23"/>
                    <a:pt x="0" y="15"/>
                    <a:pt x="0" y="11"/>
                  </a:cubicBezTo>
                  <a:cubicBezTo>
                    <a:pt x="0" y="4"/>
                    <a:pt x="3" y="0"/>
                    <a:pt x="9" y="0"/>
                  </a:cubicBezTo>
                  <a:cubicBezTo>
                    <a:pt x="9" y="0"/>
                    <a:pt x="10" y="0"/>
                    <a:pt x="10"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5143" name="Freeform 23"/>
            <p:cNvSpPr/>
            <p:nvPr/>
          </p:nvSpPr>
          <p:spPr bwMode="auto">
            <a:xfrm>
              <a:off x="3030538" y="2674938"/>
              <a:ext cx="779463" cy="1258888"/>
            </a:xfrm>
            <a:custGeom>
              <a:avLst/>
              <a:gdLst/>
              <a:ahLst/>
              <a:cxnLst>
                <a:cxn ang="0">
                  <a:pos x="46" y="91"/>
                </a:cxn>
                <a:cxn ang="0">
                  <a:pos x="51" y="51"/>
                </a:cxn>
                <a:cxn ang="0">
                  <a:pos x="59" y="46"/>
                </a:cxn>
                <a:cxn ang="0">
                  <a:pos x="82" y="18"/>
                </a:cxn>
                <a:cxn ang="0">
                  <a:pos x="128" y="6"/>
                </a:cxn>
                <a:cxn ang="0">
                  <a:pos x="126" y="42"/>
                </a:cxn>
                <a:cxn ang="0">
                  <a:pos x="136" y="13"/>
                </a:cxn>
                <a:cxn ang="0">
                  <a:pos x="146" y="5"/>
                </a:cxn>
                <a:cxn ang="0">
                  <a:pos x="194" y="24"/>
                </a:cxn>
                <a:cxn ang="0">
                  <a:pos x="227" y="20"/>
                </a:cxn>
                <a:cxn ang="0">
                  <a:pos x="233" y="26"/>
                </a:cxn>
                <a:cxn ang="0">
                  <a:pos x="270" y="50"/>
                </a:cxn>
                <a:cxn ang="0">
                  <a:pos x="328" y="84"/>
                </a:cxn>
                <a:cxn ang="0">
                  <a:pos x="354" y="89"/>
                </a:cxn>
                <a:cxn ang="0">
                  <a:pos x="389" y="130"/>
                </a:cxn>
                <a:cxn ang="0">
                  <a:pos x="383" y="170"/>
                </a:cxn>
                <a:cxn ang="0">
                  <a:pos x="403" y="185"/>
                </a:cxn>
                <a:cxn ang="0">
                  <a:pos x="454" y="175"/>
                </a:cxn>
                <a:cxn ang="0">
                  <a:pos x="467" y="191"/>
                </a:cxn>
                <a:cxn ang="0">
                  <a:pos x="513" y="191"/>
                </a:cxn>
                <a:cxn ang="0">
                  <a:pos x="575" y="220"/>
                </a:cxn>
                <a:cxn ang="0">
                  <a:pos x="549" y="310"/>
                </a:cxn>
                <a:cxn ang="0">
                  <a:pos x="532" y="374"/>
                </a:cxn>
                <a:cxn ang="0">
                  <a:pos x="522" y="405"/>
                </a:cxn>
                <a:cxn ang="0">
                  <a:pos x="485" y="449"/>
                </a:cxn>
                <a:cxn ang="0">
                  <a:pos x="429" y="474"/>
                </a:cxn>
                <a:cxn ang="0">
                  <a:pos x="412" y="524"/>
                </a:cxn>
                <a:cxn ang="0">
                  <a:pos x="388" y="559"/>
                </a:cxn>
                <a:cxn ang="0">
                  <a:pos x="311" y="614"/>
                </a:cxn>
                <a:cxn ang="0">
                  <a:pos x="297" y="619"/>
                </a:cxn>
                <a:cxn ang="0">
                  <a:pos x="308" y="654"/>
                </a:cxn>
                <a:cxn ang="0">
                  <a:pos x="244" y="677"/>
                </a:cxn>
                <a:cxn ang="0">
                  <a:pos x="240" y="707"/>
                </a:cxn>
                <a:cxn ang="0">
                  <a:pos x="205" y="711"/>
                </a:cxn>
                <a:cxn ang="0">
                  <a:pos x="225" y="730"/>
                </a:cxn>
                <a:cxn ang="0">
                  <a:pos x="214" y="739"/>
                </a:cxn>
                <a:cxn ang="0">
                  <a:pos x="178" y="787"/>
                </a:cxn>
                <a:cxn ang="0">
                  <a:pos x="176" y="846"/>
                </a:cxn>
                <a:cxn ang="0">
                  <a:pos x="161" y="884"/>
                </a:cxn>
                <a:cxn ang="0">
                  <a:pos x="200" y="935"/>
                </a:cxn>
                <a:cxn ang="0">
                  <a:pos x="169" y="945"/>
                </a:cxn>
                <a:cxn ang="0">
                  <a:pos x="127" y="921"/>
                </a:cxn>
                <a:cxn ang="0">
                  <a:pos x="92" y="903"/>
                </a:cxn>
                <a:cxn ang="0">
                  <a:pos x="93" y="889"/>
                </a:cxn>
                <a:cxn ang="0">
                  <a:pos x="84" y="857"/>
                </a:cxn>
                <a:cxn ang="0">
                  <a:pos x="82" y="791"/>
                </a:cxn>
                <a:cxn ang="0">
                  <a:pos x="86" y="782"/>
                </a:cxn>
                <a:cxn ang="0">
                  <a:pos x="112" y="718"/>
                </a:cxn>
                <a:cxn ang="0">
                  <a:pos x="95" y="708"/>
                </a:cxn>
                <a:cxn ang="0">
                  <a:pos x="102" y="680"/>
                </a:cxn>
                <a:cxn ang="0">
                  <a:pos x="114" y="626"/>
                </a:cxn>
                <a:cxn ang="0">
                  <a:pos x="124" y="562"/>
                </a:cxn>
                <a:cxn ang="0">
                  <a:pos x="136" y="494"/>
                </a:cxn>
                <a:cxn ang="0">
                  <a:pos x="143" y="434"/>
                </a:cxn>
                <a:cxn ang="0">
                  <a:pos x="104" y="370"/>
                </a:cxn>
                <a:cxn ang="0">
                  <a:pos x="62" y="330"/>
                </a:cxn>
                <a:cxn ang="0">
                  <a:pos x="28" y="261"/>
                </a:cxn>
                <a:cxn ang="0">
                  <a:pos x="11" y="242"/>
                </a:cxn>
                <a:cxn ang="0">
                  <a:pos x="18" y="191"/>
                </a:cxn>
                <a:cxn ang="0">
                  <a:pos x="14" y="148"/>
                </a:cxn>
                <a:cxn ang="0">
                  <a:pos x="47" y="106"/>
                </a:cxn>
              </a:cxnLst>
              <a:rect l="0" t="0" r="r" b="b"/>
              <a:pathLst>
                <a:path w="586" h="945">
                  <a:moveTo>
                    <a:pt x="49" y="103"/>
                  </a:moveTo>
                  <a:cubicBezTo>
                    <a:pt x="49" y="102"/>
                    <a:pt x="49" y="101"/>
                    <a:pt x="49" y="100"/>
                  </a:cubicBezTo>
                  <a:cubicBezTo>
                    <a:pt x="49" y="97"/>
                    <a:pt x="46" y="94"/>
                    <a:pt x="46" y="91"/>
                  </a:cubicBezTo>
                  <a:cubicBezTo>
                    <a:pt x="46" y="85"/>
                    <a:pt x="48" y="84"/>
                    <a:pt x="48" y="79"/>
                  </a:cubicBezTo>
                  <a:cubicBezTo>
                    <a:pt x="48" y="70"/>
                    <a:pt x="40" y="71"/>
                    <a:pt x="40" y="63"/>
                  </a:cubicBezTo>
                  <a:cubicBezTo>
                    <a:pt x="40" y="57"/>
                    <a:pt x="49" y="55"/>
                    <a:pt x="51" y="51"/>
                  </a:cubicBezTo>
                  <a:cubicBezTo>
                    <a:pt x="55" y="52"/>
                    <a:pt x="53" y="52"/>
                    <a:pt x="57" y="51"/>
                  </a:cubicBezTo>
                  <a:cubicBezTo>
                    <a:pt x="57" y="50"/>
                    <a:pt x="57" y="49"/>
                    <a:pt x="57" y="48"/>
                  </a:cubicBezTo>
                  <a:cubicBezTo>
                    <a:pt x="57" y="48"/>
                    <a:pt x="58" y="46"/>
                    <a:pt x="59" y="46"/>
                  </a:cubicBezTo>
                  <a:cubicBezTo>
                    <a:pt x="59" y="42"/>
                    <a:pt x="64" y="40"/>
                    <a:pt x="66" y="39"/>
                  </a:cubicBezTo>
                  <a:cubicBezTo>
                    <a:pt x="69" y="37"/>
                    <a:pt x="69" y="31"/>
                    <a:pt x="70" y="28"/>
                  </a:cubicBezTo>
                  <a:cubicBezTo>
                    <a:pt x="72" y="21"/>
                    <a:pt x="76" y="19"/>
                    <a:pt x="82" y="18"/>
                  </a:cubicBezTo>
                  <a:cubicBezTo>
                    <a:pt x="93" y="14"/>
                    <a:pt x="100" y="12"/>
                    <a:pt x="111" y="9"/>
                  </a:cubicBezTo>
                  <a:cubicBezTo>
                    <a:pt x="117" y="7"/>
                    <a:pt x="118" y="0"/>
                    <a:pt x="124" y="0"/>
                  </a:cubicBezTo>
                  <a:cubicBezTo>
                    <a:pt x="126" y="0"/>
                    <a:pt x="128" y="5"/>
                    <a:pt x="128" y="6"/>
                  </a:cubicBezTo>
                  <a:cubicBezTo>
                    <a:pt x="128" y="9"/>
                    <a:pt x="125" y="11"/>
                    <a:pt x="123" y="11"/>
                  </a:cubicBezTo>
                  <a:cubicBezTo>
                    <a:pt x="122" y="18"/>
                    <a:pt x="119" y="25"/>
                    <a:pt x="119" y="29"/>
                  </a:cubicBezTo>
                  <a:cubicBezTo>
                    <a:pt x="119" y="34"/>
                    <a:pt x="122" y="42"/>
                    <a:pt x="126" y="42"/>
                  </a:cubicBezTo>
                  <a:cubicBezTo>
                    <a:pt x="128" y="42"/>
                    <a:pt x="131" y="37"/>
                    <a:pt x="131" y="35"/>
                  </a:cubicBezTo>
                  <a:cubicBezTo>
                    <a:pt x="131" y="30"/>
                    <a:pt x="125" y="27"/>
                    <a:pt x="125" y="21"/>
                  </a:cubicBezTo>
                  <a:cubicBezTo>
                    <a:pt x="125" y="15"/>
                    <a:pt x="132" y="16"/>
                    <a:pt x="136" y="13"/>
                  </a:cubicBezTo>
                  <a:cubicBezTo>
                    <a:pt x="147" y="13"/>
                    <a:pt x="147" y="13"/>
                    <a:pt x="147" y="13"/>
                  </a:cubicBezTo>
                  <a:cubicBezTo>
                    <a:pt x="145" y="8"/>
                    <a:pt x="139" y="10"/>
                    <a:pt x="139" y="5"/>
                  </a:cubicBezTo>
                  <a:cubicBezTo>
                    <a:pt x="146" y="5"/>
                    <a:pt x="146" y="5"/>
                    <a:pt x="146" y="5"/>
                  </a:cubicBezTo>
                  <a:cubicBezTo>
                    <a:pt x="148" y="12"/>
                    <a:pt x="158" y="14"/>
                    <a:pt x="165" y="16"/>
                  </a:cubicBezTo>
                  <a:cubicBezTo>
                    <a:pt x="165" y="20"/>
                    <a:pt x="167" y="23"/>
                    <a:pt x="170" y="24"/>
                  </a:cubicBezTo>
                  <a:cubicBezTo>
                    <a:pt x="177" y="24"/>
                    <a:pt x="190" y="24"/>
                    <a:pt x="194" y="24"/>
                  </a:cubicBezTo>
                  <a:cubicBezTo>
                    <a:pt x="194" y="28"/>
                    <a:pt x="199" y="29"/>
                    <a:pt x="203" y="29"/>
                  </a:cubicBezTo>
                  <a:cubicBezTo>
                    <a:pt x="209" y="28"/>
                    <a:pt x="214" y="28"/>
                    <a:pt x="216" y="22"/>
                  </a:cubicBezTo>
                  <a:cubicBezTo>
                    <a:pt x="217" y="21"/>
                    <a:pt x="226" y="21"/>
                    <a:pt x="227" y="20"/>
                  </a:cubicBezTo>
                  <a:cubicBezTo>
                    <a:pt x="232" y="20"/>
                    <a:pt x="240" y="21"/>
                    <a:pt x="240" y="21"/>
                  </a:cubicBezTo>
                  <a:cubicBezTo>
                    <a:pt x="238" y="23"/>
                    <a:pt x="234" y="23"/>
                    <a:pt x="233" y="22"/>
                  </a:cubicBezTo>
                  <a:cubicBezTo>
                    <a:pt x="233" y="26"/>
                    <a:pt x="233" y="26"/>
                    <a:pt x="233" y="26"/>
                  </a:cubicBezTo>
                  <a:cubicBezTo>
                    <a:pt x="236" y="32"/>
                    <a:pt x="245" y="33"/>
                    <a:pt x="252" y="36"/>
                  </a:cubicBezTo>
                  <a:cubicBezTo>
                    <a:pt x="258" y="37"/>
                    <a:pt x="256" y="44"/>
                    <a:pt x="258" y="50"/>
                  </a:cubicBezTo>
                  <a:cubicBezTo>
                    <a:pt x="270" y="50"/>
                    <a:pt x="270" y="50"/>
                    <a:pt x="270" y="50"/>
                  </a:cubicBezTo>
                  <a:cubicBezTo>
                    <a:pt x="279" y="58"/>
                    <a:pt x="283" y="57"/>
                    <a:pt x="288" y="68"/>
                  </a:cubicBezTo>
                  <a:cubicBezTo>
                    <a:pt x="289" y="70"/>
                    <a:pt x="293" y="70"/>
                    <a:pt x="295" y="70"/>
                  </a:cubicBezTo>
                  <a:cubicBezTo>
                    <a:pt x="298" y="83"/>
                    <a:pt x="316" y="81"/>
                    <a:pt x="328" y="84"/>
                  </a:cubicBezTo>
                  <a:cubicBezTo>
                    <a:pt x="340" y="84"/>
                    <a:pt x="340" y="84"/>
                    <a:pt x="340" y="84"/>
                  </a:cubicBezTo>
                  <a:cubicBezTo>
                    <a:pt x="343" y="85"/>
                    <a:pt x="350" y="89"/>
                    <a:pt x="354" y="89"/>
                  </a:cubicBezTo>
                  <a:cubicBezTo>
                    <a:pt x="354" y="89"/>
                    <a:pt x="354" y="89"/>
                    <a:pt x="354" y="89"/>
                  </a:cubicBezTo>
                  <a:cubicBezTo>
                    <a:pt x="355" y="89"/>
                    <a:pt x="356" y="89"/>
                    <a:pt x="357" y="89"/>
                  </a:cubicBezTo>
                  <a:cubicBezTo>
                    <a:pt x="364" y="89"/>
                    <a:pt x="373" y="104"/>
                    <a:pt x="381" y="106"/>
                  </a:cubicBezTo>
                  <a:cubicBezTo>
                    <a:pt x="381" y="111"/>
                    <a:pt x="386" y="125"/>
                    <a:pt x="389" y="130"/>
                  </a:cubicBezTo>
                  <a:cubicBezTo>
                    <a:pt x="391" y="134"/>
                    <a:pt x="397" y="134"/>
                    <a:pt x="397" y="139"/>
                  </a:cubicBezTo>
                  <a:cubicBezTo>
                    <a:pt x="390" y="148"/>
                    <a:pt x="377" y="152"/>
                    <a:pt x="377" y="165"/>
                  </a:cubicBezTo>
                  <a:cubicBezTo>
                    <a:pt x="377" y="170"/>
                    <a:pt x="381" y="169"/>
                    <a:pt x="383" y="170"/>
                  </a:cubicBezTo>
                  <a:cubicBezTo>
                    <a:pt x="387" y="172"/>
                    <a:pt x="390" y="176"/>
                    <a:pt x="390" y="180"/>
                  </a:cubicBezTo>
                  <a:cubicBezTo>
                    <a:pt x="401" y="180"/>
                    <a:pt x="401" y="180"/>
                    <a:pt x="401" y="180"/>
                  </a:cubicBezTo>
                  <a:cubicBezTo>
                    <a:pt x="401" y="182"/>
                    <a:pt x="402" y="185"/>
                    <a:pt x="403" y="185"/>
                  </a:cubicBezTo>
                  <a:cubicBezTo>
                    <a:pt x="405" y="185"/>
                    <a:pt x="407" y="182"/>
                    <a:pt x="408" y="180"/>
                  </a:cubicBezTo>
                  <a:cubicBezTo>
                    <a:pt x="413" y="173"/>
                    <a:pt x="418" y="164"/>
                    <a:pt x="425" y="164"/>
                  </a:cubicBezTo>
                  <a:cubicBezTo>
                    <a:pt x="433" y="164"/>
                    <a:pt x="449" y="172"/>
                    <a:pt x="454" y="175"/>
                  </a:cubicBezTo>
                  <a:cubicBezTo>
                    <a:pt x="458" y="178"/>
                    <a:pt x="462" y="177"/>
                    <a:pt x="463" y="180"/>
                  </a:cubicBezTo>
                  <a:cubicBezTo>
                    <a:pt x="464" y="184"/>
                    <a:pt x="464" y="187"/>
                    <a:pt x="464" y="191"/>
                  </a:cubicBezTo>
                  <a:cubicBezTo>
                    <a:pt x="467" y="191"/>
                    <a:pt x="467" y="191"/>
                    <a:pt x="467" y="191"/>
                  </a:cubicBezTo>
                  <a:cubicBezTo>
                    <a:pt x="471" y="190"/>
                    <a:pt x="472" y="186"/>
                    <a:pt x="476" y="186"/>
                  </a:cubicBezTo>
                  <a:cubicBezTo>
                    <a:pt x="486" y="186"/>
                    <a:pt x="487" y="194"/>
                    <a:pt x="496" y="194"/>
                  </a:cubicBezTo>
                  <a:cubicBezTo>
                    <a:pt x="513" y="191"/>
                    <a:pt x="513" y="191"/>
                    <a:pt x="513" y="191"/>
                  </a:cubicBezTo>
                  <a:cubicBezTo>
                    <a:pt x="521" y="193"/>
                    <a:pt x="529" y="196"/>
                    <a:pt x="534" y="198"/>
                  </a:cubicBezTo>
                  <a:cubicBezTo>
                    <a:pt x="538" y="205"/>
                    <a:pt x="551" y="217"/>
                    <a:pt x="558" y="220"/>
                  </a:cubicBezTo>
                  <a:cubicBezTo>
                    <a:pt x="565" y="221"/>
                    <a:pt x="569" y="219"/>
                    <a:pt x="575" y="220"/>
                  </a:cubicBezTo>
                  <a:cubicBezTo>
                    <a:pt x="584" y="223"/>
                    <a:pt x="586" y="232"/>
                    <a:pt x="586" y="242"/>
                  </a:cubicBezTo>
                  <a:cubicBezTo>
                    <a:pt x="586" y="274"/>
                    <a:pt x="568" y="283"/>
                    <a:pt x="556" y="301"/>
                  </a:cubicBezTo>
                  <a:cubicBezTo>
                    <a:pt x="553" y="305"/>
                    <a:pt x="551" y="306"/>
                    <a:pt x="549" y="310"/>
                  </a:cubicBezTo>
                  <a:cubicBezTo>
                    <a:pt x="544" y="317"/>
                    <a:pt x="540" y="317"/>
                    <a:pt x="535" y="322"/>
                  </a:cubicBezTo>
                  <a:cubicBezTo>
                    <a:pt x="529" y="328"/>
                    <a:pt x="535" y="343"/>
                    <a:pt x="535" y="353"/>
                  </a:cubicBezTo>
                  <a:cubicBezTo>
                    <a:pt x="535" y="361"/>
                    <a:pt x="532" y="369"/>
                    <a:pt x="532" y="374"/>
                  </a:cubicBezTo>
                  <a:cubicBezTo>
                    <a:pt x="532" y="377"/>
                    <a:pt x="530" y="378"/>
                    <a:pt x="530" y="380"/>
                  </a:cubicBezTo>
                  <a:cubicBezTo>
                    <a:pt x="528" y="382"/>
                    <a:pt x="524" y="386"/>
                    <a:pt x="524" y="390"/>
                  </a:cubicBezTo>
                  <a:cubicBezTo>
                    <a:pt x="524" y="394"/>
                    <a:pt x="523" y="403"/>
                    <a:pt x="522" y="405"/>
                  </a:cubicBezTo>
                  <a:cubicBezTo>
                    <a:pt x="515" y="415"/>
                    <a:pt x="513" y="419"/>
                    <a:pt x="506" y="428"/>
                  </a:cubicBezTo>
                  <a:cubicBezTo>
                    <a:pt x="505" y="431"/>
                    <a:pt x="505" y="436"/>
                    <a:pt x="504" y="438"/>
                  </a:cubicBezTo>
                  <a:cubicBezTo>
                    <a:pt x="502" y="443"/>
                    <a:pt x="492" y="449"/>
                    <a:pt x="485" y="449"/>
                  </a:cubicBezTo>
                  <a:cubicBezTo>
                    <a:pt x="476" y="449"/>
                    <a:pt x="470" y="449"/>
                    <a:pt x="463" y="452"/>
                  </a:cubicBezTo>
                  <a:cubicBezTo>
                    <a:pt x="461" y="453"/>
                    <a:pt x="460" y="455"/>
                    <a:pt x="459" y="457"/>
                  </a:cubicBezTo>
                  <a:cubicBezTo>
                    <a:pt x="448" y="467"/>
                    <a:pt x="437" y="461"/>
                    <a:pt x="429" y="474"/>
                  </a:cubicBezTo>
                  <a:cubicBezTo>
                    <a:pt x="426" y="479"/>
                    <a:pt x="420" y="479"/>
                    <a:pt x="416" y="483"/>
                  </a:cubicBezTo>
                  <a:cubicBezTo>
                    <a:pt x="411" y="489"/>
                    <a:pt x="412" y="495"/>
                    <a:pt x="412" y="503"/>
                  </a:cubicBezTo>
                  <a:cubicBezTo>
                    <a:pt x="412" y="524"/>
                    <a:pt x="412" y="524"/>
                    <a:pt x="412" y="524"/>
                  </a:cubicBezTo>
                  <a:cubicBezTo>
                    <a:pt x="403" y="528"/>
                    <a:pt x="398" y="536"/>
                    <a:pt x="394" y="545"/>
                  </a:cubicBezTo>
                  <a:cubicBezTo>
                    <a:pt x="394" y="545"/>
                    <a:pt x="394" y="545"/>
                    <a:pt x="394" y="545"/>
                  </a:cubicBezTo>
                  <a:cubicBezTo>
                    <a:pt x="391" y="550"/>
                    <a:pt x="391" y="553"/>
                    <a:pt x="388" y="559"/>
                  </a:cubicBezTo>
                  <a:cubicBezTo>
                    <a:pt x="380" y="571"/>
                    <a:pt x="371" y="572"/>
                    <a:pt x="364" y="584"/>
                  </a:cubicBezTo>
                  <a:cubicBezTo>
                    <a:pt x="355" y="597"/>
                    <a:pt x="351" y="619"/>
                    <a:pt x="331" y="619"/>
                  </a:cubicBezTo>
                  <a:cubicBezTo>
                    <a:pt x="324" y="619"/>
                    <a:pt x="314" y="614"/>
                    <a:pt x="311" y="614"/>
                  </a:cubicBezTo>
                  <a:cubicBezTo>
                    <a:pt x="305" y="614"/>
                    <a:pt x="299" y="609"/>
                    <a:pt x="293" y="609"/>
                  </a:cubicBezTo>
                  <a:cubicBezTo>
                    <a:pt x="291" y="609"/>
                    <a:pt x="289" y="610"/>
                    <a:pt x="289" y="611"/>
                  </a:cubicBezTo>
                  <a:cubicBezTo>
                    <a:pt x="289" y="615"/>
                    <a:pt x="296" y="617"/>
                    <a:pt x="297" y="619"/>
                  </a:cubicBezTo>
                  <a:cubicBezTo>
                    <a:pt x="300" y="622"/>
                    <a:pt x="300" y="627"/>
                    <a:pt x="302" y="632"/>
                  </a:cubicBezTo>
                  <a:cubicBezTo>
                    <a:pt x="304" y="637"/>
                    <a:pt x="311" y="637"/>
                    <a:pt x="311" y="642"/>
                  </a:cubicBezTo>
                  <a:cubicBezTo>
                    <a:pt x="311" y="647"/>
                    <a:pt x="311" y="650"/>
                    <a:pt x="308" y="654"/>
                  </a:cubicBezTo>
                  <a:cubicBezTo>
                    <a:pt x="304" y="660"/>
                    <a:pt x="301" y="663"/>
                    <a:pt x="297" y="667"/>
                  </a:cubicBezTo>
                  <a:cubicBezTo>
                    <a:pt x="289" y="675"/>
                    <a:pt x="280" y="673"/>
                    <a:pt x="270" y="676"/>
                  </a:cubicBezTo>
                  <a:cubicBezTo>
                    <a:pt x="263" y="678"/>
                    <a:pt x="248" y="673"/>
                    <a:pt x="244" y="677"/>
                  </a:cubicBezTo>
                  <a:cubicBezTo>
                    <a:pt x="238" y="683"/>
                    <a:pt x="243" y="696"/>
                    <a:pt x="240" y="703"/>
                  </a:cubicBezTo>
                  <a:cubicBezTo>
                    <a:pt x="240" y="702"/>
                    <a:pt x="240" y="702"/>
                    <a:pt x="240" y="702"/>
                  </a:cubicBezTo>
                  <a:cubicBezTo>
                    <a:pt x="240" y="703"/>
                    <a:pt x="240" y="706"/>
                    <a:pt x="240" y="707"/>
                  </a:cubicBezTo>
                  <a:cubicBezTo>
                    <a:pt x="240" y="709"/>
                    <a:pt x="233" y="712"/>
                    <a:pt x="229" y="712"/>
                  </a:cubicBezTo>
                  <a:cubicBezTo>
                    <a:pt x="220" y="712"/>
                    <a:pt x="218" y="706"/>
                    <a:pt x="210" y="706"/>
                  </a:cubicBezTo>
                  <a:cubicBezTo>
                    <a:pt x="207" y="706"/>
                    <a:pt x="205" y="709"/>
                    <a:pt x="205" y="711"/>
                  </a:cubicBezTo>
                  <a:cubicBezTo>
                    <a:pt x="205" y="717"/>
                    <a:pt x="211" y="729"/>
                    <a:pt x="214" y="729"/>
                  </a:cubicBezTo>
                  <a:cubicBezTo>
                    <a:pt x="217" y="729"/>
                    <a:pt x="219" y="726"/>
                    <a:pt x="221" y="726"/>
                  </a:cubicBezTo>
                  <a:cubicBezTo>
                    <a:pt x="222" y="728"/>
                    <a:pt x="225" y="728"/>
                    <a:pt x="225" y="730"/>
                  </a:cubicBezTo>
                  <a:cubicBezTo>
                    <a:pt x="225" y="733"/>
                    <a:pt x="221" y="736"/>
                    <a:pt x="220" y="736"/>
                  </a:cubicBezTo>
                  <a:cubicBezTo>
                    <a:pt x="215" y="736"/>
                    <a:pt x="213" y="732"/>
                    <a:pt x="209" y="732"/>
                  </a:cubicBezTo>
                  <a:cubicBezTo>
                    <a:pt x="209" y="737"/>
                    <a:pt x="211" y="738"/>
                    <a:pt x="214" y="739"/>
                  </a:cubicBezTo>
                  <a:cubicBezTo>
                    <a:pt x="206" y="747"/>
                    <a:pt x="206" y="755"/>
                    <a:pt x="203" y="766"/>
                  </a:cubicBezTo>
                  <a:cubicBezTo>
                    <a:pt x="202" y="770"/>
                    <a:pt x="194" y="771"/>
                    <a:pt x="191" y="771"/>
                  </a:cubicBezTo>
                  <a:cubicBezTo>
                    <a:pt x="184" y="773"/>
                    <a:pt x="178" y="779"/>
                    <a:pt x="178" y="787"/>
                  </a:cubicBezTo>
                  <a:cubicBezTo>
                    <a:pt x="178" y="804"/>
                    <a:pt x="198" y="798"/>
                    <a:pt x="198" y="811"/>
                  </a:cubicBezTo>
                  <a:cubicBezTo>
                    <a:pt x="198" y="824"/>
                    <a:pt x="187" y="825"/>
                    <a:pt x="181" y="831"/>
                  </a:cubicBezTo>
                  <a:cubicBezTo>
                    <a:pt x="177" y="835"/>
                    <a:pt x="178" y="841"/>
                    <a:pt x="176" y="846"/>
                  </a:cubicBezTo>
                  <a:cubicBezTo>
                    <a:pt x="173" y="852"/>
                    <a:pt x="166" y="850"/>
                    <a:pt x="162" y="854"/>
                  </a:cubicBezTo>
                  <a:cubicBezTo>
                    <a:pt x="156" y="859"/>
                    <a:pt x="154" y="865"/>
                    <a:pt x="154" y="874"/>
                  </a:cubicBezTo>
                  <a:cubicBezTo>
                    <a:pt x="154" y="878"/>
                    <a:pt x="158" y="883"/>
                    <a:pt x="161" y="884"/>
                  </a:cubicBezTo>
                  <a:cubicBezTo>
                    <a:pt x="169" y="888"/>
                    <a:pt x="168" y="908"/>
                    <a:pt x="174" y="914"/>
                  </a:cubicBezTo>
                  <a:cubicBezTo>
                    <a:pt x="184" y="924"/>
                    <a:pt x="196" y="928"/>
                    <a:pt x="207" y="934"/>
                  </a:cubicBezTo>
                  <a:cubicBezTo>
                    <a:pt x="206" y="936"/>
                    <a:pt x="203" y="935"/>
                    <a:pt x="200" y="935"/>
                  </a:cubicBezTo>
                  <a:cubicBezTo>
                    <a:pt x="194" y="935"/>
                    <a:pt x="183" y="943"/>
                    <a:pt x="179" y="943"/>
                  </a:cubicBezTo>
                  <a:cubicBezTo>
                    <a:pt x="176" y="943"/>
                    <a:pt x="176" y="943"/>
                    <a:pt x="174" y="943"/>
                  </a:cubicBezTo>
                  <a:cubicBezTo>
                    <a:pt x="173" y="943"/>
                    <a:pt x="171" y="945"/>
                    <a:pt x="169" y="945"/>
                  </a:cubicBezTo>
                  <a:cubicBezTo>
                    <a:pt x="165" y="945"/>
                    <a:pt x="162" y="945"/>
                    <a:pt x="157" y="945"/>
                  </a:cubicBezTo>
                  <a:cubicBezTo>
                    <a:pt x="147" y="945"/>
                    <a:pt x="151" y="933"/>
                    <a:pt x="143" y="931"/>
                  </a:cubicBezTo>
                  <a:cubicBezTo>
                    <a:pt x="137" y="929"/>
                    <a:pt x="127" y="929"/>
                    <a:pt x="127" y="921"/>
                  </a:cubicBezTo>
                  <a:cubicBezTo>
                    <a:pt x="124" y="921"/>
                    <a:pt x="122" y="921"/>
                    <a:pt x="119" y="921"/>
                  </a:cubicBezTo>
                  <a:cubicBezTo>
                    <a:pt x="115" y="921"/>
                    <a:pt x="114" y="917"/>
                    <a:pt x="114" y="915"/>
                  </a:cubicBezTo>
                  <a:cubicBezTo>
                    <a:pt x="102" y="915"/>
                    <a:pt x="98" y="909"/>
                    <a:pt x="92" y="903"/>
                  </a:cubicBezTo>
                  <a:cubicBezTo>
                    <a:pt x="91" y="902"/>
                    <a:pt x="88" y="900"/>
                    <a:pt x="88" y="899"/>
                  </a:cubicBezTo>
                  <a:cubicBezTo>
                    <a:pt x="88" y="895"/>
                    <a:pt x="96" y="895"/>
                    <a:pt x="97" y="891"/>
                  </a:cubicBezTo>
                  <a:cubicBezTo>
                    <a:pt x="95" y="891"/>
                    <a:pt x="94" y="890"/>
                    <a:pt x="93" y="889"/>
                  </a:cubicBezTo>
                  <a:cubicBezTo>
                    <a:pt x="94" y="887"/>
                    <a:pt x="96" y="884"/>
                    <a:pt x="96" y="882"/>
                  </a:cubicBezTo>
                  <a:cubicBezTo>
                    <a:pt x="96" y="871"/>
                    <a:pt x="84" y="873"/>
                    <a:pt x="84" y="863"/>
                  </a:cubicBezTo>
                  <a:cubicBezTo>
                    <a:pt x="84" y="860"/>
                    <a:pt x="84" y="859"/>
                    <a:pt x="84" y="857"/>
                  </a:cubicBezTo>
                  <a:cubicBezTo>
                    <a:pt x="84" y="848"/>
                    <a:pt x="78" y="832"/>
                    <a:pt x="78" y="825"/>
                  </a:cubicBezTo>
                  <a:cubicBezTo>
                    <a:pt x="78" y="817"/>
                    <a:pt x="88" y="814"/>
                    <a:pt x="88" y="807"/>
                  </a:cubicBezTo>
                  <a:cubicBezTo>
                    <a:pt x="88" y="803"/>
                    <a:pt x="83" y="796"/>
                    <a:pt x="82" y="791"/>
                  </a:cubicBezTo>
                  <a:cubicBezTo>
                    <a:pt x="82" y="787"/>
                    <a:pt x="82" y="787"/>
                    <a:pt x="82" y="787"/>
                  </a:cubicBezTo>
                  <a:cubicBezTo>
                    <a:pt x="82" y="787"/>
                    <a:pt x="82" y="787"/>
                    <a:pt x="82" y="787"/>
                  </a:cubicBezTo>
                  <a:cubicBezTo>
                    <a:pt x="82" y="784"/>
                    <a:pt x="84" y="782"/>
                    <a:pt x="86" y="782"/>
                  </a:cubicBezTo>
                  <a:cubicBezTo>
                    <a:pt x="94" y="782"/>
                    <a:pt x="91" y="790"/>
                    <a:pt x="98" y="790"/>
                  </a:cubicBezTo>
                  <a:cubicBezTo>
                    <a:pt x="112" y="725"/>
                    <a:pt x="112" y="725"/>
                    <a:pt x="112" y="725"/>
                  </a:cubicBezTo>
                  <a:cubicBezTo>
                    <a:pt x="112" y="718"/>
                    <a:pt x="112" y="718"/>
                    <a:pt x="112" y="718"/>
                  </a:cubicBezTo>
                  <a:cubicBezTo>
                    <a:pt x="111" y="718"/>
                    <a:pt x="109" y="717"/>
                    <a:pt x="108" y="718"/>
                  </a:cubicBezTo>
                  <a:cubicBezTo>
                    <a:pt x="105" y="719"/>
                    <a:pt x="105" y="723"/>
                    <a:pt x="102" y="723"/>
                  </a:cubicBezTo>
                  <a:cubicBezTo>
                    <a:pt x="98" y="723"/>
                    <a:pt x="95" y="713"/>
                    <a:pt x="95" y="708"/>
                  </a:cubicBezTo>
                  <a:cubicBezTo>
                    <a:pt x="95" y="699"/>
                    <a:pt x="98" y="696"/>
                    <a:pt x="100" y="688"/>
                  </a:cubicBezTo>
                  <a:cubicBezTo>
                    <a:pt x="103" y="688"/>
                    <a:pt x="104" y="687"/>
                    <a:pt x="104" y="685"/>
                  </a:cubicBezTo>
                  <a:cubicBezTo>
                    <a:pt x="104" y="683"/>
                    <a:pt x="102" y="680"/>
                    <a:pt x="102" y="680"/>
                  </a:cubicBezTo>
                  <a:cubicBezTo>
                    <a:pt x="100" y="680"/>
                    <a:pt x="99" y="668"/>
                    <a:pt x="99" y="665"/>
                  </a:cubicBezTo>
                  <a:cubicBezTo>
                    <a:pt x="99" y="655"/>
                    <a:pt x="106" y="645"/>
                    <a:pt x="109" y="639"/>
                  </a:cubicBezTo>
                  <a:cubicBezTo>
                    <a:pt x="111" y="635"/>
                    <a:pt x="112" y="629"/>
                    <a:pt x="114" y="626"/>
                  </a:cubicBezTo>
                  <a:cubicBezTo>
                    <a:pt x="116" y="624"/>
                    <a:pt x="118" y="625"/>
                    <a:pt x="118" y="623"/>
                  </a:cubicBezTo>
                  <a:cubicBezTo>
                    <a:pt x="121" y="613"/>
                    <a:pt x="121" y="605"/>
                    <a:pt x="124" y="595"/>
                  </a:cubicBezTo>
                  <a:cubicBezTo>
                    <a:pt x="124" y="562"/>
                    <a:pt x="124" y="562"/>
                    <a:pt x="124" y="562"/>
                  </a:cubicBezTo>
                  <a:cubicBezTo>
                    <a:pt x="121" y="554"/>
                    <a:pt x="126" y="548"/>
                    <a:pt x="126" y="541"/>
                  </a:cubicBezTo>
                  <a:cubicBezTo>
                    <a:pt x="126" y="524"/>
                    <a:pt x="136" y="513"/>
                    <a:pt x="136" y="498"/>
                  </a:cubicBezTo>
                  <a:cubicBezTo>
                    <a:pt x="136" y="497"/>
                    <a:pt x="136" y="495"/>
                    <a:pt x="136" y="494"/>
                  </a:cubicBezTo>
                  <a:cubicBezTo>
                    <a:pt x="136" y="491"/>
                    <a:pt x="138" y="483"/>
                    <a:pt x="139" y="478"/>
                  </a:cubicBezTo>
                  <a:cubicBezTo>
                    <a:pt x="139" y="465"/>
                    <a:pt x="139" y="465"/>
                    <a:pt x="139" y="459"/>
                  </a:cubicBezTo>
                  <a:cubicBezTo>
                    <a:pt x="139" y="453"/>
                    <a:pt x="143" y="441"/>
                    <a:pt x="143" y="434"/>
                  </a:cubicBezTo>
                  <a:cubicBezTo>
                    <a:pt x="143" y="429"/>
                    <a:pt x="141" y="403"/>
                    <a:pt x="140" y="399"/>
                  </a:cubicBezTo>
                  <a:cubicBezTo>
                    <a:pt x="136" y="388"/>
                    <a:pt x="128" y="381"/>
                    <a:pt x="121" y="377"/>
                  </a:cubicBezTo>
                  <a:cubicBezTo>
                    <a:pt x="114" y="374"/>
                    <a:pt x="109" y="375"/>
                    <a:pt x="104" y="370"/>
                  </a:cubicBezTo>
                  <a:cubicBezTo>
                    <a:pt x="99" y="365"/>
                    <a:pt x="96" y="363"/>
                    <a:pt x="90" y="362"/>
                  </a:cubicBezTo>
                  <a:cubicBezTo>
                    <a:pt x="78" y="358"/>
                    <a:pt x="72" y="351"/>
                    <a:pt x="64" y="343"/>
                  </a:cubicBezTo>
                  <a:cubicBezTo>
                    <a:pt x="60" y="340"/>
                    <a:pt x="62" y="335"/>
                    <a:pt x="62" y="330"/>
                  </a:cubicBezTo>
                  <a:cubicBezTo>
                    <a:pt x="62" y="323"/>
                    <a:pt x="55" y="319"/>
                    <a:pt x="53" y="313"/>
                  </a:cubicBezTo>
                  <a:cubicBezTo>
                    <a:pt x="50" y="302"/>
                    <a:pt x="41" y="294"/>
                    <a:pt x="38" y="285"/>
                  </a:cubicBezTo>
                  <a:cubicBezTo>
                    <a:pt x="35" y="275"/>
                    <a:pt x="32" y="269"/>
                    <a:pt x="28" y="261"/>
                  </a:cubicBezTo>
                  <a:cubicBezTo>
                    <a:pt x="27" y="258"/>
                    <a:pt x="24" y="259"/>
                    <a:pt x="23" y="257"/>
                  </a:cubicBezTo>
                  <a:cubicBezTo>
                    <a:pt x="20" y="254"/>
                    <a:pt x="19" y="248"/>
                    <a:pt x="17" y="245"/>
                  </a:cubicBezTo>
                  <a:cubicBezTo>
                    <a:pt x="16" y="242"/>
                    <a:pt x="12" y="243"/>
                    <a:pt x="11" y="242"/>
                  </a:cubicBezTo>
                  <a:cubicBezTo>
                    <a:pt x="6" y="237"/>
                    <a:pt x="0" y="228"/>
                    <a:pt x="0" y="220"/>
                  </a:cubicBezTo>
                  <a:cubicBezTo>
                    <a:pt x="0" y="215"/>
                    <a:pt x="3" y="209"/>
                    <a:pt x="5" y="207"/>
                  </a:cubicBezTo>
                  <a:cubicBezTo>
                    <a:pt x="8" y="200"/>
                    <a:pt x="16" y="198"/>
                    <a:pt x="18" y="191"/>
                  </a:cubicBezTo>
                  <a:cubicBezTo>
                    <a:pt x="14" y="189"/>
                    <a:pt x="15" y="191"/>
                    <a:pt x="12" y="191"/>
                  </a:cubicBezTo>
                  <a:cubicBezTo>
                    <a:pt x="5" y="191"/>
                    <a:pt x="5" y="182"/>
                    <a:pt x="5" y="176"/>
                  </a:cubicBezTo>
                  <a:cubicBezTo>
                    <a:pt x="5" y="166"/>
                    <a:pt x="16" y="168"/>
                    <a:pt x="14" y="148"/>
                  </a:cubicBezTo>
                  <a:cubicBezTo>
                    <a:pt x="26" y="148"/>
                    <a:pt x="29" y="136"/>
                    <a:pt x="32" y="129"/>
                  </a:cubicBezTo>
                  <a:cubicBezTo>
                    <a:pt x="37" y="119"/>
                    <a:pt x="49" y="123"/>
                    <a:pt x="51" y="111"/>
                  </a:cubicBezTo>
                  <a:cubicBezTo>
                    <a:pt x="49" y="110"/>
                    <a:pt x="47" y="107"/>
                    <a:pt x="47" y="106"/>
                  </a:cubicBezTo>
                  <a:cubicBezTo>
                    <a:pt x="49" y="103"/>
                    <a:pt x="49" y="103"/>
                    <a:pt x="49" y="103"/>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sp>
        <p:nvSpPr>
          <p:cNvPr id="5150" name="Freeform 30"/>
          <p:cNvSpPr/>
          <p:nvPr/>
        </p:nvSpPr>
        <p:spPr bwMode="auto">
          <a:xfrm>
            <a:off x="4558878" y="2681642"/>
            <a:ext cx="8244" cy="10307"/>
          </a:xfrm>
          <a:custGeom>
            <a:avLst/>
            <a:gdLst/>
            <a:ahLst/>
            <a:cxnLst>
              <a:cxn ang="0">
                <a:pos x="3" y="0"/>
              </a:cxn>
              <a:cxn ang="0">
                <a:pos x="0" y="6"/>
              </a:cxn>
              <a:cxn ang="0">
                <a:pos x="4" y="6"/>
              </a:cxn>
              <a:cxn ang="0">
                <a:pos x="5" y="0"/>
              </a:cxn>
              <a:cxn ang="0">
                <a:pos x="3" y="0"/>
              </a:cxn>
            </a:cxnLst>
            <a:rect l="0" t="0" r="r" b="b"/>
            <a:pathLst>
              <a:path w="5" h="6">
                <a:moveTo>
                  <a:pt x="3" y="0"/>
                </a:moveTo>
                <a:cubicBezTo>
                  <a:pt x="0" y="2"/>
                  <a:pt x="0" y="3"/>
                  <a:pt x="0" y="6"/>
                </a:cubicBezTo>
                <a:cubicBezTo>
                  <a:pt x="2" y="6"/>
                  <a:pt x="4" y="6"/>
                  <a:pt x="4" y="6"/>
                </a:cubicBezTo>
                <a:cubicBezTo>
                  <a:pt x="4" y="3"/>
                  <a:pt x="5" y="2"/>
                  <a:pt x="5" y="0"/>
                </a:cubicBezTo>
                <a:cubicBezTo>
                  <a:pt x="4" y="0"/>
                  <a:pt x="3" y="0"/>
                  <a:pt x="3" y="0"/>
                </a:cubicBezTo>
                <a:close/>
              </a:path>
            </a:pathLst>
          </a:custGeom>
          <a:solidFill>
            <a:srgbClr val="70C4E5"/>
          </a:solidFill>
          <a:ln w="9525">
            <a:noFill/>
            <a:round/>
          </a:ln>
        </p:spPr>
        <p:txBody>
          <a:bodyPr vert="horz" wrap="square" lIns="121908" tIns="60954" rIns="121908" bIns="60954" numCol="1" anchor="t" anchorCtr="0" compatLnSpc="1"/>
          <a:lstStyle/>
          <a:p>
            <a:endParaRPr lang="en-US">
              <a:latin typeface="+mn-ea"/>
            </a:endParaRPr>
          </a:p>
        </p:txBody>
      </p:sp>
      <p:sp>
        <p:nvSpPr>
          <p:cNvPr id="5283" name="Freeform 163"/>
          <p:cNvSpPr/>
          <p:nvPr/>
        </p:nvSpPr>
        <p:spPr bwMode="auto">
          <a:xfrm>
            <a:off x="4876276" y="1758184"/>
            <a:ext cx="37098" cy="32981"/>
          </a:xfrm>
          <a:custGeom>
            <a:avLst/>
            <a:gdLst/>
            <a:ahLst/>
            <a:cxnLst>
              <a:cxn ang="0">
                <a:pos x="7" y="0"/>
              </a:cxn>
              <a:cxn ang="0">
                <a:pos x="22" y="19"/>
              </a:cxn>
              <a:cxn ang="0">
                <a:pos x="8" y="0"/>
              </a:cxn>
              <a:cxn ang="0">
                <a:pos x="8" y="1"/>
              </a:cxn>
              <a:cxn ang="0">
                <a:pos x="7" y="0"/>
              </a:cxn>
            </a:cxnLst>
            <a:rect l="0" t="0" r="r" b="b"/>
            <a:pathLst>
              <a:path w="22" h="19">
                <a:moveTo>
                  <a:pt x="7" y="0"/>
                </a:moveTo>
                <a:cubicBezTo>
                  <a:pt x="13" y="7"/>
                  <a:pt x="19" y="9"/>
                  <a:pt x="22" y="19"/>
                </a:cubicBezTo>
                <a:cubicBezTo>
                  <a:pt x="13" y="17"/>
                  <a:pt x="0" y="3"/>
                  <a:pt x="8" y="0"/>
                </a:cubicBezTo>
                <a:cubicBezTo>
                  <a:pt x="8" y="1"/>
                  <a:pt x="8" y="1"/>
                  <a:pt x="8" y="1"/>
                </a:cubicBezTo>
                <a:lnTo>
                  <a:pt x="7" y="0"/>
                </a:lnTo>
                <a:close/>
              </a:path>
            </a:pathLst>
          </a:custGeom>
          <a:solidFill>
            <a:srgbClr val="70C4E5"/>
          </a:solidFill>
          <a:ln w="9525">
            <a:noFill/>
            <a:round/>
          </a:ln>
        </p:spPr>
        <p:txBody>
          <a:bodyPr vert="horz" wrap="square" lIns="121908" tIns="60954" rIns="121908" bIns="60954" numCol="1" anchor="t" anchorCtr="0" compatLnSpc="1"/>
          <a:lstStyle/>
          <a:p>
            <a:endParaRPr lang="en-US">
              <a:latin typeface="+mn-ea"/>
            </a:endParaRPr>
          </a:p>
        </p:txBody>
      </p:sp>
      <p:grpSp>
        <p:nvGrpSpPr>
          <p:cNvPr id="5" name="Group 277"/>
          <p:cNvGrpSpPr/>
          <p:nvPr/>
        </p:nvGrpSpPr>
        <p:grpSpPr>
          <a:xfrm>
            <a:off x="643249" y="1508769"/>
            <a:ext cx="3363591" cy="2343689"/>
            <a:chOff x="1585913" y="960438"/>
            <a:chExt cx="2590800" cy="1804987"/>
          </a:xfrm>
          <a:solidFill>
            <a:schemeClr val="tx2"/>
          </a:solidFill>
        </p:grpSpPr>
        <p:sp>
          <p:nvSpPr>
            <p:cNvPr id="279" name="Freeform 21"/>
            <p:cNvSpPr/>
            <p:nvPr/>
          </p:nvSpPr>
          <p:spPr bwMode="auto">
            <a:xfrm>
              <a:off x="3359150" y="2703513"/>
              <a:ext cx="12700" cy="14288"/>
            </a:xfrm>
            <a:custGeom>
              <a:avLst/>
              <a:gdLst/>
              <a:ahLst/>
              <a:cxnLst>
                <a:cxn ang="0">
                  <a:pos x="9" y="4"/>
                </a:cxn>
                <a:cxn ang="0">
                  <a:pos x="9" y="0"/>
                </a:cxn>
                <a:cxn ang="0">
                  <a:pos x="5" y="0"/>
                </a:cxn>
                <a:cxn ang="0">
                  <a:pos x="0" y="9"/>
                </a:cxn>
                <a:cxn ang="0">
                  <a:pos x="4" y="9"/>
                </a:cxn>
                <a:cxn ang="0">
                  <a:pos x="9" y="4"/>
                </a:cxn>
              </a:cxnLst>
              <a:rect l="0" t="0" r="r" b="b"/>
              <a:pathLst>
                <a:path w="9" h="11">
                  <a:moveTo>
                    <a:pt x="9" y="4"/>
                  </a:moveTo>
                  <a:cubicBezTo>
                    <a:pt x="9" y="0"/>
                    <a:pt x="9" y="0"/>
                    <a:pt x="9" y="0"/>
                  </a:cubicBezTo>
                  <a:cubicBezTo>
                    <a:pt x="8" y="0"/>
                    <a:pt x="6" y="0"/>
                    <a:pt x="5" y="0"/>
                  </a:cubicBezTo>
                  <a:cubicBezTo>
                    <a:pt x="2" y="0"/>
                    <a:pt x="0" y="5"/>
                    <a:pt x="0" y="9"/>
                  </a:cubicBezTo>
                  <a:cubicBezTo>
                    <a:pt x="0" y="11"/>
                    <a:pt x="2" y="9"/>
                    <a:pt x="4" y="9"/>
                  </a:cubicBezTo>
                  <a:cubicBezTo>
                    <a:pt x="6" y="9"/>
                    <a:pt x="8" y="5"/>
                    <a:pt x="9" y="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0" name="Freeform 39"/>
            <p:cNvSpPr/>
            <p:nvPr/>
          </p:nvSpPr>
          <p:spPr bwMode="auto">
            <a:xfrm>
              <a:off x="3989388" y="1552575"/>
              <a:ext cx="169863" cy="77788"/>
            </a:xfrm>
            <a:custGeom>
              <a:avLst/>
              <a:gdLst/>
              <a:ahLst/>
              <a:cxnLst>
                <a:cxn ang="0">
                  <a:pos x="127" y="31"/>
                </a:cxn>
                <a:cxn ang="0">
                  <a:pos x="108" y="47"/>
                </a:cxn>
                <a:cxn ang="0">
                  <a:pos x="74" y="58"/>
                </a:cxn>
                <a:cxn ang="0">
                  <a:pos x="34" y="50"/>
                </a:cxn>
                <a:cxn ang="0">
                  <a:pos x="14" y="42"/>
                </a:cxn>
                <a:cxn ang="0">
                  <a:pos x="18" y="40"/>
                </a:cxn>
                <a:cxn ang="0">
                  <a:pos x="21" y="27"/>
                </a:cxn>
                <a:cxn ang="0">
                  <a:pos x="2" y="25"/>
                </a:cxn>
                <a:cxn ang="0">
                  <a:pos x="25" y="21"/>
                </a:cxn>
                <a:cxn ang="0">
                  <a:pos x="23" y="18"/>
                </a:cxn>
                <a:cxn ang="0">
                  <a:pos x="0" y="8"/>
                </a:cxn>
                <a:cxn ang="0">
                  <a:pos x="9" y="9"/>
                </a:cxn>
                <a:cxn ang="0">
                  <a:pos x="9" y="5"/>
                </a:cxn>
                <a:cxn ang="0">
                  <a:pos x="17" y="0"/>
                </a:cxn>
                <a:cxn ang="0">
                  <a:pos x="21" y="0"/>
                </a:cxn>
                <a:cxn ang="0">
                  <a:pos x="23" y="7"/>
                </a:cxn>
                <a:cxn ang="0">
                  <a:pos x="30" y="16"/>
                </a:cxn>
                <a:cxn ang="0">
                  <a:pos x="38" y="13"/>
                </a:cxn>
                <a:cxn ang="0">
                  <a:pos x="38" y="8"/>
                </a:cxn>
                <a:cxn ang="0">
                  <a:pos x="44" y="12"/>
                </a:cxn>
                <a:cxn ang="0">
                  <a:pos x="54" y="9"/>
                </a:cxn>
                <a:cxn ang="0">
                  <a:pos x="60" y="12"/>
                </a:cxn>
                <a:cxn ang="0">
                  <a:pos x="60" y="8"/>
                </a:cxn>
                <a:cxn ang="0">
                  <a:pos x="74" y="9"/>
                </a:cxn>
                <a:cxn ang="0">
                  <a:pos x="89" y="8"/>
                </a:cxn>
                <a:cxn ang="0">
                  <a:pos x="91" y="1"/>
                </a:cxn>
                <a:cxn ang="0">
                  <a:pos x="96" y="1"/>
                </a:cxn>
                <a:cxn ang="0">
                  <a:pos x="104" y="7"/>
                </a:cxn>
                <a:cxn ang="0">
                  <a:pos x="115" y="4"/>
                </a:cxn>
                <a:cxn ang="0">
                  <a:pos x="112" y="8"/>
                </a:cxn>
                <a:cxn ang="0">
                  <a:pos x="128" y="30"/>
                </a:cxn>
                <a:cxn ang="0">
                  <a:pos x="127" y="31"/>
                </a:cxn>
              </a:cxnLst>
              <a:rect l="0" t="0" r="r" b="b"/>
              <a:pathLst>
                <a:path w="128" h="58">
                  <a:moveTo>
                    <a:pt x="127" y="31"/>
                  </a:moveTo>
                  <a:cubicBezTo>
                    <a:pt x="124" y="38"/>
                    <a:pt x="113" y="45"/>
                    <a:pt x="108" y="47"/>
                  </a:cubicBezTo>
                  <a:cubicBezTo>
                    <a:pt x="97" y="51"/>
                    <a:pt x="89" y="58"/>
                    <a:pt x="74" y="58"/>
                  </a:cubicBezTo>
                  <a:cubicBezTo>
                    <a:pt x="57" y="58"/>
                    <a:pt x="46" y="54"/>
                    <a:pt x="34" y="50"/>
                  </a:cubicBezTo>
                  <a:cubicBezTo>
                    <a:pt x="28" y="49"/>
                    <a:pt x="24" y="42"/>
                    <a:pt x="14" y="42"/>
                  </a:cubicBezTo>
                  <a:cubicBezTo>
                    <a:pt x="16" y="41"/>
                    <a:pt x="17" y="40"/>
                    <a:pt x="18" y="40"/>
                  </a:cubicBezTo>
                  <a:cubicBezTo>
                    <a:pt x="18" y="34"/>
                    <a:pt x="20" y="32"/>
                    <a:pt x="21" y="27"/>
                  </a:cubicBezTo>
                  <a:cubicBezTo>
                    <a:pt x="14" y="25"/>
                    <a:pt x="6" y="30"/>
                    <a:pt x="2" y="25"/>
                  </a:cubicBezTo>
                  <a:cubicBezTo>
                    <a:pt x="8" y="25"/>
                    <a:pt x="20" y="23"/>
                    <a:pt x="25" y="21"/>
                  </a:cubicBezTo>
                  <a:cubicBezTo>
                    <a:pt x="23" y="20"/>
                    <a:pt x="23" y="19"/>
                    <a:pt x="23" y="18"/>
                  </a:cubicBezTo>
                  <a:cubicBezTo>
                    <a:pt x="18" y="18"/>
                    <a:pt x="1" y="13"/>
                    <a:pt x="0" y="8"/>
                  </a:cubicBezTo>
                  <a:cubicBezTo>
                    <a:pt x="4" y="7"/>
                    <a:pt x="7" y="8"/>
                    <a:pt x="9" y="9"/>
                  </a:cubicBezTo>
                  <a:cubicBezTo>
                    <a:pt x="9" y="8"/>
                    <a:pt x="9" y="7"/>
                    <a:pt x="9" y="5"/>
                  </a:cubicBezTo>
                  <a:cubicBezTo>
                    <a:pt x="13" y="5"/>
                    <a:pt x="14" y="0"/>
                    <a:pt x="17" y="0"/>
                  </a:cubicBezTo>
                  <a:cubicBezTo>
                    <a:pt x="18" y="0"/>
                    <a:pt x="19" y="0"/>
                    <a:pt x="21" y="0"/>
                  </a:cubicBezTo>
                  <a:cubicBezTo>
                    <a:pt x="21" y="3"/>
                    <a:pt x="23" y="4"/>
                    <a:pt x="23" y="7"/>
                  </a:cubicBezTo>
                  <a:cubicBezTo>
                    <a:pt x="23" y="10"/>
                    <a:pt x="27" y="16"/>
                    <a:pt x="30" y="16"/>
                  </a:cubicBezTo>
                  <a:cubicBezTo>
                    <a:pt x="33" y="16"/>
                    <a:pt x="36" y="14"/>
                    <a:pt x="38" y="13"/>
                  </a:cubicBezTo>
                  <a:cubicBezTo>
                    <a:pt x="37" y="10"/>
                    <a:pt x="37" y="9"/>
                    <a:pt x="38" y="8"/>
                  </a:cubicBezTo>
                  <a:cubicBezTo>
                    <a:pt x="40" y="9"/>
                    <a:pt x="41" y="12"/>
                    <a:pt x="44" y="12"/>
                  </a:cubicBezTo>
                  <a:cubicBezTo>
                    <a:pt x="54" y="9"/>
                    <a:pt x="54" y="9"/>
                    <a:pt x="54" y="9"/>
                  </a:cubicBezTo>
                  <a:cubicBezTo>
                    <a:pt x="58" y="10"/>
                    <a:pt x="59" y="11"/>
                    <a:pt x="60" y="12"/>
                  </a:cubicBezTo>
                  <a:cubicBezTo>
                    <a:pt x="60" y="11"/>
                    <a:pt x="60" y="9"/>
                    <a:pt x="60" y="8"/>
                  </a:cubicBezTo>
                  <a:cubicBezTo>
                    <a:pt x="67" y="8"/>
                    <a:pt x="70" y="9"/>
                    <a:pt x="74" y="9"/>
                  </a:cubicBezTo>
                  <a:cubicBezTo>
                    <a:pt x="80" y="9"/>
                    <a:pt x="85" y="4"/>
                    <a:pt x="89" y="8"/>
                  </a:cubicBezTo>
                  <a:cubicBezTo>
                    <a:pt x="89" y="4"/>
                    <a:pt x="90" y="3"/>
                    <a:pt x="91" y="1"/>
                  </a:cubicBezTo>
                  <a:cubicBezTo>
                    <a:pt x="94" y="2"/>
                    <a:pt x="94" y="2"/>
                    <a:pt x="96" y="1"/>
                  </a:cubicBezTo>
                  <a:cubicBezTo>
                    <a:pt x="96" y="6"/>
                    <a:pt x="100" y="7"/>
                    <a:pt x="104" y="7"/>
                  </a:cubicBezTo>
                  <a:cubicBezTo>
                    <a:pt x="108" y="7"/>
                    <a:pt x="111" y="4"/>
                    <a:pt x="115" y="4"/>
                  </a:cubicBezTo>
                  <a:cubicBezTo>
                    <a:pt x="113" y="5"/>
                    <a:pt x="112" y="7"/>
                    <a:pt x="112" y="8"/>
                  </a:cubicBezTo>
                  <a:cubicBezTo>
                    <a:pt x="112" y="21"/>
                    <a:pt x="128" y="18"/>
                    <a:pt x="128" y="30"/>
                  </a:cubicBezTo>
                  <a:lnTo>
                    <a:pt x="127" y="31"/>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1" name="Freeform 40"/>
            <p:cNvSpPr/>
            <p:nvPr/>
          </p:nvSpPr>
          <p:spPr bwMode="auto">
            <a:xfrm>
              <a:off x="2971800" y="2487613"/>
              <a:ext cx="174625" cy="60325"/>
            </a:xfrm>
            <a:custGeom>
              <a:avLst/>
              <a:gdLst/>
              <a:ahLst/>
              <a:cxnLst>
                <a:cxn ang="0">
                  <a:pos x="131" y="40"/>
                </a:cxn>
                <a:cxn ang="0">
                  <a:pos x="114" y="45"/>
                </a:cxn>
                <a:cxn ang="0">
                  <a:pos x="88" y="42"/>
                </a:cxn>
                <a:cxn ang="0">
                  <a:pos x="88" y="39"/>
                </a:cxn>
                <a:cxn ang="0">
                  <a:pos x="93" y="35"/>
                </a:cxn>
                <a:cxn ang="0">
                  <a:pos x="78" y="26"/>
                </a:cxn>
                <a:cxn ang="0">
                  <a:pos x="73" y="22"/>
                </a:cxn>
                <a:cxn ang="0">
                  <a:pos x="64" y="22"/>
                </a:cxn>
                <a:cxn ang="0">
                  <a:pos x="48" y="15"/>
                </a:cxn>
                <a:cxn ang="0">
                  <a:pos x="35" y="15"/>
                </a:cxn>
                <a:cxn ang="0">
                  <a:pos x="34" y="10"/>
                </a:cxn>
                <a:cxn ang="0">
                  <a:pos x="28" y="9"/>
                </a:cxn>
                <a:cxn ang="0">
                  <a:pos x="4" y="20"/>
                </a:cxn>
                <a:cxn ang="0">
                  <a:pos x="0" y="20"/>
                </a:cxn>
                <a:cxn ang="0">
                  <a:pos x="36" y="0"/>
                </a:cxn>
                <a:cxn ang="0">
                  <a:pos x="79" y="11"/>
                </a:cxn>
                <a:cxn ang="0">
                  <a:pos x="86" y="17"/>
                </a:cxn>
                <a:cxn ang="0">
                  <a:pos x="114" y="28"/>
                </a:cxn>
                <a:cxn ang="0">
                  <a:pos x="114" y="31"/>
                </a:cxn>
                <a:cxn ang="0">
                  <a:pos x="120" y="31"/>
                </a:cxn>
                <a:cxn ang="0">
                  <a:pos x="131" y="40"/>
                </a:cxn>
              </a:cxnLst>
              <a:rect l="0" t="0" r="r" b="b"/>
              <a:pathLst>
                <a:path w="131" h="45">
                  <a:moveTo>
                    <a:pt x="131" y="40"/>
                  </a:moveTo>
                  <a:cubicBezTo>
                    <a:pt x="127" y="45"/>
                    <a:pt x="119" y="45"/>
                    <a:pt x="114" y="45"/>
                  </a:cubicBezTo>
                  <a:cubicBezTo>
                    <a:pt x="104" y="45"/>
                    <a:pt x="97" y="42"/>
                    <a:pt x="88" y="42"/>
                  </a:cubicBezTo>
                  <a:cubicBezTo>
                    <a:pt x="88" y="41"/>
                    <a:pt x="88" y="40"/>
                    <a:pt x="88" y="39"/>
                  </a:cubicBezTo>
                  <a:cubicBezTo>
                    <a:pt x="90" y="39"/>
                    <a:pt x="92" y="38"/>
                    <a:pt x="93" y="35"/>
                  </a:cubicBezTo>
                  <a:cubicBezTo>
                    <a:pt x="86" y="32"/>
                    <a:pt x="79" y="33"/>
                    <a:pt x="78" y="26"/>
                  </a:cubicBezTo>
                  <a:cubicBezTo>
                    <a:pt x="74" y="26"/>
                    <a:pt x="75" y="23"/>
                    <a:pt x="73" y="22"/>
                  </a:cubicBezTo>
                  <a:cubicBezTo>
                    <a:pt x="69" y="20"/>
                    <a:pt x="67" y="22"/>
                    <a:pt x="64" y="22"/>
                  </a:cubicBezTo>
                  <a:cubicBezTo>
                    <a:pt x="57" y="22"/>
                    <a:pt x="54" y="15"/>
                    <a:pt x="48" y="15"/>
                  </a:cubicBezTo>
                  <a:cubicBezTo>
                    <a:pt x="35" y="15"/>
                    <a:pt x="35" y="15"/>
                    <a:pt x="35" y="15"/>
                  </a:cubicBezTo>
                  <a:cubicBezTo>
                    <a:pt x="33" y="13"/>
                    <a:pt x="33" y="12"/>
                    <a:pt x="34" y="10"/>
                  </a:cubicBezTo>
                  <a:cubicBezTo>
                    <a:pt x="33" y="9"/>
                    <a:pt x="30" y="9"/>
                    <a:pt x="28" y="9"/>
                  </a:cubicBezTo>
                  <a:cubicBezTo>
                    <a:pt x="20" y="9"/>
                    <a:pt x="8" y="15"/>
                    <a:pt x="4" y="20"/>
                  </a:cubicBezTo>
                  <a:cubicBezTo>
                    <a:pt x="0" y="20"/>
                    <a:pt x="0" y="20"/>
                    <a:pt x="0" y="20"/>
                  </a:cubicBezTo>
                  <a:cubicBezTo>
                    <a:pt x="7" y="8"/>
                    <a:pt x="16" y="0"/>
                    <a:pt x="36" y="0"/>
                  </a:cubicBezTo>
                  <a:cubicBezTo>
                    <a:pt x="55" y="0"/>
                    <a:pt x="64" y="11"/>
                    <a:pt x="79" y="11"/>
                  </a:cubicBezTo>
                  <a:cubicBezTo>
                    <a:pt x="82" y="11"/>
                    <a:pt x="86" y="16"/>
                    <a:pt x="86" y="17"/>
                  </a:cubicBezTo>
                  <a:cubicBezTo>
                    <a:pt x="93" y="23"/>
                    <a:pt x="104" y="28"/>
                    <a:pt x="114" y="28"/>
                  </a:cubicBezTo>
                  <a:cubicBezTo>
                    <a:pt x="114" y="28"/>
                    <a:pt x="113" y="30"/>
                    <a:pt x="114" y="31"/>
                  </a:cubicBezTo>
                  <a:cubicBezTo>
                    <a:pt x="120" y="31"/>
                    <a:pt x="120" y="31"/>
                    <a:pt x="120" y="31"/>
                  </a:cubicBezTo>
                  <a:cubicBezTo>
                    <a:pt x="125" y="32"/>
                    <a:pt x="127" y="39"/>
                    <a:pt x="131" y="4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2" name="Freeform 41"/>
            <p:cNvSpPr/>
            <p:nvPr/>
          </p:nvSpPr>
          <p:spPr bwMode="auto">
            <a:xfrm>
              <a:off x="2995613" y="2509838"/>
              <a:ext cx="9525" cy="11113"/>
            </a:xfrm>
            <a:custGeom>
              <a:avLst/>
              <a:gdLst/>
              <a:ahLst/>
              <a:cxnLst>
                <a:cxn ang="0">
                  <a:pos x="6" y="0"/>
                </a:cxn>
                <a:cxn ang="0">
                  <a:pos x="6" y="7"/>
                </a:cxn>
                <a:cxn ang="0">
                  <a:pos x="0" y="7"/>
                </a:cxn>
                <a:cxn ang="0">
                  <a:pos x="4" y="3"/>
                </a:cxn>
                <a:cxn ang="0">
                  <a:pos x="4" y="0"/>
                </a:cxn>
                <a:cxn ang="0">
                  <a:pos x="5" y="0"/>
                </a:cxn>
                <a:cxn ang="0">
                  <a:pos x="6" y="0"/>
                </a:cxn>
              </a:cxnLst>
              <a:rect l="0" t="0" r="r" b="b"/>
              <a:pathLst>
                <a:path w="7" h="8">
                  <a:moveTo>
                    <a:pt x="6" y="0"/>
                  </a:moveTo>
                  <a:cubicBezTo>
                    <a:pt x="6" y="3"/>
                    <a:pt x="7" y="5"/>
                    <a:pt x="6" y="7"/>
                  </a:cubicBezTo>
                  <a:cubicBezTo>
                    <a:pt x="5" y="7"/>
                    <a:pt x="0" y="8"/>
                    <a:pt x="0" y="7"/>
                  </a:cubicBezTo>
                  <a:cubicBezTo>
                    <a:pt x="0" y="4"/>
                    <a:pt x="2" y="3"/>
                    <a:pt x="4" y="3"/>
                  </a:cubicBezTo>
                  <a:cubicBezTo>
                    <a:pt x="4" y="0"/>
                    <a:pt x="4" y="0"/>
                    <a:pt x="4" y="0"/>
                  </a:cubicBezTo>
                  <a:cubicBezTo>
                    <a:pt x="5" y="0"/>
                    <a:pt x="5" y="0"/>
                    <a:pt x="5" y="0"/>
                  </a:cubicBezTo>
                  <a:lnTo>
                    <a:pt x="6" y="0"/>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3" name="Freeform 42"/>
            <p:cNvSpPr/>
            <p:nvPr/>
          </p:nvSpPr>
          <p:spPr bwMode="auto">
            <a:xfrm>
              <a:off x="3082925" y="2568575"/>
              <a:ext cx="28575" cy="14288"/>
            </a:xfrm>
            <a:custGeom>
              <a:avLst/>
              <a:gdLst/>
              <a:ahLst/>
              <a:cxnLst>
                <a:cxn ang="0">
                  <a:pos x="18" y="3"/>
                </a:cxn>
                <a:cxn ang="0">
                  <a:pos x="22" y="7"/>
                </a:cxn>
                <a:cxn ang="0">
                  <a:pos x="7" y="10"/>
                </a:cxn>
                <a:cxn ang="0">
                  <a:pos x="0" y="3"/>
                </a:cxn>
                <a:cxn ang="0">
                  <a:pos x="5" y="0"/>
                </a:cxn>
                <a:cxn ang="0">
                  <a:pos x="19" y="4"/>
                </a:cxn>
                <a:cxn ang="0">
                  <a:pos x="18" y="3"/>
                </a:cxn>
              </a:cxnLst>
              <a:rect l="0" t="0" r="r" b="b"/>
              <a:pathLst>
                <a:path w="22" h="10">
                  <a:moveTo>
                    <a:pt x="18" y="3"/>
                  </a:moveTo>
                  <a:cubicBezTo>
                    <a:pt x="21" y="4"/>
                    <a:pt x="22" y="5"/>
                    <a:pt x="22" y="7"/>
                  </a:cubicBezTo>
                  <a:cubicBezTo>
                    <a:pt x="17" y="8"/>
                    <a:pt x="13" y="10"/>
                    <a:pt x="7" y="10"/>
                  </a:cubicBezTo>
                  <a:cubicBezTo>
                    <a:pt x="4" y="10"/>
                    <a:pt x="0" y="7"/>
                    <a:pt x="0" y="3"/>
                  </a:cubicBezTo>
                  <a:cubicBezTo>
                    <a:pt x="0" y="1"/>
                    <a:pt x="3" y="0"/>
                    <a:pt x="5" y="0"/>
                  </a:cubicBezTo>
                  <a:cubicBezTo>
                    <a:pt x="10" y="0"/>
                    <a:pt x="16" y="3"/>
                    <a:pt x="19" y="4"/>
                  </a:cubicBezTo>
                  <a:lnTo>
                    <a:pt x="18" y="3"/>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4" name="Freeform 43"/>
            <p:cNvSpPr/>
            <p:nvPr/>
          </p:nvSpPr>
          <p:spPr bwMode="auto">
            <a:xfrm>
              <a:off x="3267075" y="2568575"/>
              <a:ext cx="23813" cy="9525"/>
            </a:xfrm>
            <a:custGeom>
              <a:avLst/>
              <a:gdLst/>
              <a:ahLst/>
              <a:cxnLst>
                <a:cxn ang="0">
                  <a:pos x="18" y="4"/>
                </a:cxn>
                <a:cxn ang="0">
                  <a:pos x="11" y="7"/>
                </a:cxn>
                <a:cxn ang="0">
                  <a:pos x="0" y="2"/>
                </a:cxn>
                <a:cxn ang="0">
                  <a:pos x="5" y="0"/>
                </a:cxn>
                <a:cxn ang="0">
                  <a:pos x="18" y="4"/>
                </a:cxn>
              </a:cxnLst>
              <a:rect l="0" t="0" r="r" b="b"/>
              <a:pathLst>
                <a:path w="18" h="7">
                  <a:moveTo>
                    <a:pt x="18" y="4"/>
                  </a:moveTo>
                  <a:cubicBezTo>
                    <a:pt x="17" y="7"/>
                    <a:pt x="14" y="7"/>
                    <a:pt x="11" y="7"/>
                  </a:cubicBezTo>
                  <a:cubicBezTo>
                    <a:pt x="6" y="7"/>
                    <a:pt x="0" y="7"/>
                    <a:pt x="0" y="2"/>
                  </a:cubicBezTo>
                  <a:cubicBezTo>
                    <a:pt x="0" y="0"/>
                    <a:pt x="4" y="0"/>
                    <a:pt x="5" y="0"/>
                  </a:cubicBezTo>
                  <a:cubicBezTo>
                    <a:pt x="6" y="0"/>
                    <a:pt x="17" y="2"/>
                    <a:pt x="18" y="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5" name="Freeform 44"/>
            <p:cNvSpPr/>
            <p:nvPr/>
          </p:nvSpPr>
          <p:spPr bwMode="auto">
            <a:xfrm>
              <a:off x="3146425" y="2543175"/>
              <a:ext cx="100013" cy="39688"/>
            </a:xfrm>
            <a:custGeom>
              <a:avLst/>
              <a:gdLst/>
              <a:ahLst/>
              <a:cxnLst>
                <a:cxn ang="0">
                  <a:pos x="64" y="11"/>
                </a:cxn>
                <a:cxn ang="0">
                  <a:pos x="75" y="21"/>
                </a:cxn>
                <a:cxn ang="0">
                  <a:pos x="59" y="21"/>
                </a:cxn>
                <a:cxn ang="0">
                  <a:pos x="51" y="24"/>
                </a:cxn>
                <a:cxn ang="0">
                  <a:pos x="47" y="22"/>
                </a:cxn>
                <a:cxn ang="0">
                  <a:pos x="37" y="30"/>
                </a:cxn>
                <a:cxn ang="0">
                  <a:pos x="31" y="24"/>
                </a:cxn>
                <a:cxn ang="0">
                  <a:pos x="11" y="23"/>
                </a:cxn>
                <a:cxn ang="0">
                  <a:pos x="6" y="23"/>
                </a:cxn>
                <a:cxn ang="0">
                  <a:pos x="6" y="27"/>
                </a:cxn>
                <a:cxn ang="0">
                  <a:pos x="0" y="19"/>
                </a:cxn>
                <a:cxn ang="0">
                  <a:pos x="3" y="18"/>
                </a:cxn>
                <a:cxn ang="0">
                  <a:pos x="22" y="17"/>
                </a:cxn>
                <a:cxn ang="0">
                  <a:pos x="19" y="8"/>
                </a:cxn>
                <a:cxn ang="0">
                  <a:pos x="14" y="3"/>
                </a:cxn>
                <a:cxn ang="0">
                  <a:pos x="17" y="0"/>
                </a:cxn>
                <a:cxn ang="0">
                  <a:pos x="28" y="3"/>
                </a:cxn>
                <a:cxn ang="0">
                  <a:pos x="41" y="1"/>
                </a:cxn>
                <a:cxn ang="0">
                  <a:pos x="66" y="13"/>
                </a:cxn>
                <a:cxn ang="0">
                  <a:pos x="64" y="11"/>
                </a:cxn>
              </a:cxnLst>
              <a:rect l="0" t="0" r="r" b="b"/>
              <a:pathLst>
                <a:path w="75" h="30">
                  <a:moveTo>
                    <a:pt x="64" y="11"/>
                  </a:moveTo>
                  <a:cubicBezTo>
                    <a:pt x="68" y="15"/>
                    <a:pt x="72" y="16"/>
                    <a:pt x="75" y="21"/>
                  </a:cubicBezTo>
                  <a:cubicBezTo>
                    <a:pt x="59" y="21"/>
                    <a:pt x="59" y="21"/>
                    <a:pt x="59" y="21"/>
                  </a:cubicBezTo>
                  <a:cubicBezTo>
                    <a:pt x="56" y="23"/>
                    <a:pt x="54" y="24"/>
                    <a:pt x="51" y="24"/>
                  </a:cubicBezTo>
                  <a:cubicBezTo>
                    <a:pt x="49" y="24"/>
                    <a:pt x="49" y="22"/>
                    <a:pt x="47" y="22"/>
                  </a:cubicBezTo>
                  <a:cubicBezTo>
                    <a:pt x="41" y="22"/>
                    <a:pt x="41" y="30"/>
                    <a:pt x="37" y="30"/>
                  </a:cubicBezTo>
                  <a:cubicBezTo>
                    <a:pt x="33" y="30"/>
                    <a:pt x="34" y="26"/>
                    <a:pt x="31" y="24"/>
                  </a:cubicBezTo>
                  <a:cubicBezTo>
                    <a:pt x="27" y="22"/>
                    <a:pt x="17" y="23"/>
                    <a:pt x="11" y="23"/>
                  </a:cubicBezTo>
                  <a:cubicBezTo>
                    <a:pt x="8" y="23"/>
                    <a:pt x="8" y="24"/>
                    <a:pt x="6" y="23"/>
                  </a:cubicBezTo>
                  <a:cubicBezTo>
                    <a:pt x="6" y="24"/>
                    <a:pt x="6" y="25"/>
                    <a:pt x="6" y="27"/>
                  </a:cubicBezTo>
                  <a:cubicBezTo>
                    <a:pt x="3" y="26"/>
                    <a:pt x="0" y="22"/>
                    <a:pt x="0" y="19"/>
                  </a:cubicBezTo>
                  <a:cubicBezTo>
                    <a:pt x="1" y="19"/>
                    <a:pt x="2" y="18"/>
                    <a:pt x="3" y="18"/>
                  </a:cubicBezTo>
                  <a:cubicBezTo>
                    <a:pt x="13" y="18"/>
                    <a:pt x="17" y="20"/>
                    <a:pt x="22" y="17"/>
                  </a:cubicBezTo>
                  <a:cubicBezTo>
                    <a:pt x="20" y="15"/>
                    <a:pt x="19" y="12"/>
                    <a:pt x="19" y="8"/>
                  </a:cubicBezTo>
                  <a:cubicBezTo>
                    <a:pt x="17" y="8"/>
                    <a:pt x="14" y="6"/>
                    <a:pt x="14" y="3"/>
                  </a:cubicBezTo>
                  <a:cubicBezTo>
                    <a:pt x="14" y="2"/>
                    <a:pt x="16" y="0"/>
                    <a:pt x="17" y="0"/>
                  </a:cubicBezTo>
                  <a:cubicBezTo>
                    <a:pt x="21" y="0"/>
                    <a:pt x="24" y="3"/>
                    <a:pt x="28" y="3"/>
                  </a:cubicBezTo>
                  <a:cubicBezTo>
                    <a:pt x="34" y="3"/>
                    <a:pt x="36" y="1"/>
                    <a:pt x="41" y="1"/>
                  </a:cubicBezTo>
                  <a:cubicBezTo>
                    <a:pt x="55" y="1"/>
                    <a:pt x="58" y="9"/>
                    <a:pt x="66" y="13"/>
                  </a:cubicBezTo>
                  <a:lnTo>
                    <a:pt x="64" y="11"/>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6" name="Freeform 45"/>
            <p:cNvSpPr/>
            <p:nvPr/>
          </p:nvSpPr>
          <p:spPr bwMode="auto">
            <a:xfrm>
              <a:off x="3076575" y="2455863"/>
              <a:ext cx="9525" cy="11113"/>
            </a:xfrm>
            <a:custGeom>
              <a:avLst/>
              <a:gdLst/>
              <a:ahLst/>
              <a:cxnLst>
                <a:cxn ang="0">
                  <a:pos x="2" y="0"/>
                </a:cxn>
                <a:cxn ang="0">
                  <a:pos x="7" y="6"/>
                </a:cxn>
                <a:cxn ang="0">
                  <a:pos x="5" y="8"/>
                </a:cxn>
                <a:cxn ang="0">
                  <a:pos x="0" y="0"/>
                </a:cxn>
                <a:cxn ang="0">
                  <a:pos x="2" y="0"/>
                </a:cxn>
              </a:cxnLst>
              <a:rect l="0" t="0" r="r" b="b"/>
              <a:pathLst>
                <a:path w="7" h="8">
                  <a:moveTo>
                    <a:pt x="2" y="0"/>
                  </a:moveTo>
                  <a:cubicBezTo>
                    <a:pt x="6" y="0"/>
                    <a:pt x="7" y="3"/>
                    <a:pt x="7" y="6"/>
                  </a:cubicBezTo>
                  <a:cubicBezTo>
                    <a:pt x="7" y="7"/>
                    <a:pt x="6" y="8"/>
                    <a:pt x="5" y="8"/>
                  </a:cubicBezTo>
                  <a:cubicBezTo>
                    <a:pt x="0" y="8"/>
                    <a:pt x="0" y="3"/>
                    <a:pt x="0" y="0"/>
                  </a:cubicBezTo>
                  <a:cubicBezTo>
                    <a:pt x="0" y="0"/>
                    <a:pt x="2" y="0"/>
                    <a:pt x="2"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7" name="Freeform 46"/>
            <p:cNvSpPr/>
            <p:nvPr/>
          </p:nvSpPr>
          <p:spPr bwMode="auto">
            <a:xfrm>
              <a:off x="3068638" y="2422525"/>
              <a:ext cx="14288" cy="4763"/>
            </a:xfrm>
            <a:custGeom>
              <a:avLst/>
              <a:gdLst/>
              <a:ahLst/>
              <a:cxnLst>
                <a:cxn ang="0">
                  <a:pos x="0" y="3"/>
                </a:cxn>
                <a:cxn ang="0">
                  <a:pos x="6" y="0"/>
                </a:cxn>
                <a:cxn ang="0">
                  <a:pos x="11" y="3"/>
                </a:cxn>
                <a:cxn ang="0">
                  <a:pos x="0" y="3"/>
                </a:cxn>
              </a:cxnLst>
              <a:rect l="0" t="0" r="r" b="b"/>
              <a:pathLst>
                <a:path w="11" h="4">
                  <a:moveTo>
                    <a:pt x="0" y="3"/>
                  </a:moveTo>
                  <a:cubicBezTo>
                    <a:pt x="1" y="2"/>
                    <a:pt x="4" y="0"/>
                    <a:pt x="6" y="0"/>
                  </a:cubicBezTo>
                  <a:cubicBezTo>
                    <a:pt x="9" y="0"/>
                    <a:pt x="10" y="2"/>
                    <a:pt x="11" y="3"/>
                  </a:cubicBezTo>
                  <a:cubicBezTo>
                    <a:pt x="7" y="4"/>
                    <a:pt x="2" y="3"/>
                    <a:pt x="0" y="3"/>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8" name="Freeform 47"/>
            <p:cNvSpPr/>
            <p:nvPr/>
          </p:nvSpPr>
          <p:spPr bwMode="auto">
            <a:xfrm>
              <a:off x="3094038" y="2428875"/>
              <a:ext cx="4763" cy="6350"/>
            </a:xfrm>
            <a:custGeom>
              <a:avLst/>
              <a:gdLst/>
              <a:ahLst/>
              <a:cxnLst>
                <a:cxn ang="0">
                  <a:pos x="3" y="4"/>
                </a:cxn>
                <a:cxn ang="0">
                  <a:pos x="1" y="0"/>
                </a:cxn>
                <a:cxn ang="0">
                  <a:pos x="3" y="4"/>
                </a:cxn>
              </a:cxnLst>
              <a:rect l="0" t="0" r="r" b="b"/>
              <a:pathLst>
                <a:path w="3" h="4">
                  <a:moveTo>
                    <a:pt x="3" y="4"/>
                  </a:moveTo>
                  <a:cubicBezTo>
                    <a:pt x="2" y="4"/>
                    <a:pt x="0" y="1"/>
                    <a:pt x="1" y="0"/>
                  </a:cubicBezTo>
                  <a:lnTo>
                    <a:pt x="3" y="4"/>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89" name="Freeform 48"/>
            <p:cNvSpPr/>
            <p:nvPr/>
          </p:nvSpPr>
          <p:spPr bwMode="auto">
            <a:xfrm>
              <a:off x="3154363" y="2517775"/>
              <a:ext cx="11113" cy="7938"/>
            </a:xfrm>
            <a:custGeom>
              <a:avLst/>
              <a:gdLst/>
              <a:ahLst/>
              <a:cxnLst>
                <a:cxn ang="0">
                  <a:pos x="0" y="4"/>
                </a:cxn>
                <a:cxn ang="0">
                  <a:pos x="0" y="7"/>
                </a:cxn>
                <a:cxn ang="0">
                  <a:pos x="2" y="7"/>
                </a:cxn>
                <a:cxn ang="0">
                  <a:pos x="9" y="4"/>
                </a:cxn>
                <a:cxn ang="0">
                  <a:pos x="9" y="0"/>
                </a:cxn>
                <a:cxn ang="0">
                  <a:pos x="0" y="4"/>
                </a:cxn>
              </a:cxnLst>
              <a:rect l="0" t="0" r="r" b="b"/>
              <a:pathLst>
                <a:path w="9" h="7">
                  <a:moveTo>
                    <a:pt x="0" y="4"/>
                  </a:moveTo>
                  <a:cubicBezTo>
                    <a:pt x="0" y="5"/>
                    <a:pt x="0" y="6"/>
                    <a:pt x="0" y="7"/>
                  </a:cubicBezTo>
                  <a:cubicBezTo>
                    <a:pt x="0" y="7"/>
                    <a:pt x="1" y="7"/>
                    <a:pt x="2" y="7"/>
                  </a:cubicBezTo>
                  <a:cubicBezTo>
                    <a:pt x="4" y="7"/>
                    <a:pt x="7" y="6"/>
                    <a:pt x="9" y="4"/>
                  </a:cubicBezTo>
                  <a:cubicBezTo>
                    <a:pt x="9" y="0"/>
                    <a:pt x="9" y="0"/>
                    <a:pt x="9" y="0"/>
                  </a:cubicBezTo>
                  <a:cubicBezTo>
                    <a:pt x="7" y="3"/>
                    <a:pt x="4" y="5"/>
                    <a:pt x="0" y="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0" name="Freeform 49"/>
            <p:cNvSpPr/>
            <p:nvPr/>
          </p:nvSpPr>
          <p:spPr bwMode="auto">
            <a:xfrm>
              <a:off x="2301875" y="1979613"/>
              <a:ext cx="966788" cy="473075"/>
            </a:xfrm>
            <a:custGeom>
              <a:avLst/>
              <a:gdLst/>
              <a:ahLst/>
              <a:cxnLst>
                <a:cxn ang="0">
                  <a:pos x="543" y="285"/>
                </a:cxn>
                <a:cxn ang="0">
                  <a:pos x="555" y="317"/>
                </a:cxn>
                <a:cxn ang="0">
                  <a:pos x="560" y="338"/>
                </a:cxn>
                <a:cxn ang="0">
                  <a:pos x="542" y="345"/>
                </a:cxn>
                <a:cxn ang="0">
                  <a:pos x="507" y="287"/>
                </a:cxn>
                <a:cxn ang="0">
                  <a:pos x="474" y="283"/>
                </a:cxn>
                <a:cxn ang="0">
                  <a:pos x="460" y="283"/>
                </a:cxn>
                <a:cxn ang="0">
                  <a:pos x="443" y="286"/>
                </a:cxn>
                <a:cxn ang="0">
                  <a:pos x="412" y="292"/>
                </a:cxn>
                <a:cxn ang="0">
                  <a:pos x="393" y="291"/>
                </a:cxn>
                <a:cxn ang="0">
                  <a:pos x="357" y="309"/>
                </a:cxn>
                <a:cxn ang="0">
                  <a:pos x="343" y="342"/>
                </a:cxn>
                <a:cxn ang="0">
                  <a:pos x="282" y="290"/>
                </a:cxn>
                <a:cxn ang="0">
                  <a:pos x="246" y="281"/>
                </a:cxn>
                <a:cxn ang="0">
                  <a:pos x="207" y="262"/>
                </a:cxn>
                <a:cxn ang="0">
                  <a:pos x="170" y="268"/>
                </a:cxn>
                <a:cxn ang="0">
                  <a:pos x="95" y="252"/>
                </a:cxn>
                <a:cxn ang="0">
                  <a:pos x="47" y="214"/>
                </a:cxn>
                <a:cxn ang="0">
                  <a:pos x="4" y="141"/>
                </a:cxn>
                <a:cxn ang="0">
                  <a:pos x="4" y="95"/>
                </a:cxn>
                <a:cxn ang="0">
                  <a:pos x="0" y="23"/>
                </a:cxn>
                <a:cxn ang="0">
                  <a:pos x="20" y="27"/>
                </a:cxn>
                <a:cxn ang="0">
                  <a:pos x="20" y="5"/>
                </a:cxn>
                <a:cxn ang="0">
                  <a:pos x="373" y="0"/>
                </a:cxn>
                <a:cxn ang="0">
                  <a:pos x="406" y="11"/>
                </a:cxn>
                <a:cxn ang="0">
                  <a:pos x="408" y="45"/>
                </a:cxn>
                <a:cxn ang="0">
                  <a:pos x="423" y="42"/>
                </a:cxn>
                <a:cxn ang="0">
                  <a:pos x="441" y="40"/>
                </a:cxn>
                <a:cxn ang="0">
                  <a:pos x="456" y="42"/>
                </a:cxn>
                <a:cxn ang="0">
                  <a:pos x="472" y="47"/>
                </a:cxn>
                <a:cxn ang="0">
                  <a:pos x="510" y="48"/>
                </a:cxn>
                <a:cxn ang="0">
                  <a:pos x="490" y="54"/>
                </a:cxn>
                <a:cxn ang="0">
                  <a:pos x="472" y="69"/>
                </a:cxn>
                <a:cxn ang="0">
                  <a:pos x="471" y="121"/>
                </a:cxn>
                <a:cxn ang="0">
                  <a:pos x="480" y="88"/>
                </a:cxn>
                <a:cxn ang="0">
                  <a:pos x="501" y="57"/>
                </a:cxn>
                <a:cxn ang="0">
                  <a:pos x="516" y="87"/>
                </a:cxn>
                <a:cxn ang="0">
                  <a:pos x="531" y="97"/>
                </a:cxn>
                <a:cxn ang="0">
                  <a:pos x="527" y="123"/>
                </a:cxn>
                <a:cxn ang="0">
                  <a:pos x="564" y="97"/>
                </a:cxn>
                <a:cxn ang="0">
                  <a:pos x="610" y="84"/>
                </a:cxn>
                <a:cxn ang="0">
                  <a:pos x="653" y="65"/>
                </a:cxn>
                <a:cxn ang="0">
                  <a:pos x="675" y="63"/>
                </a:cxn>
                <a:cxn ang="0">
                  <a:pos x="699" y="28"/>
                </a:cxn>
                <a:cxn ang="0">
                  <a:pos x="726" y="73"/>
                </a:cxn>
                <a:cxn ang="0">
                  <a:pos x="701" y="80"/>
                </a:cxn>
                <a:cxn ang="0">
                  <a:pos x="681" y="113"/>
                </a:cxn>
                <a:cxn ang="0">
                  <a:pos x="690" y="118"/>
                </a:cxn>
                <a:cxn ang="0">
                  <a:pos x="676" y="122"/>
                </a:cxn>
                <a:cxn ang="0">
                  <a:pos x="648" y="132"/>
                </a:cxn>
                <a:cxn ang="0">
                  <a:pos x="642" y="134"/>
                </a:cxn>
                <a:cxn ang="0">
                  <a:pos x="635" y="137"/>
                </a:cxn>
                <a:cxn ang="0">
                  <a:pos x="627" y="161"/>
                </a:cxn>
                <a:cxn ang="0">
                  <a:pos x="622" y="159"/>
                </a:cxn>
                <a:cxn ang="0">
                  <a:pos x="615" y="186"/>
                </a:cxn>
                <a:cxn ang="0">
                  <a:pos x="614" y="178"/>
                </a:cxn>
                <a:cxn ang="0">
                  <a:pos x="608" y="170"/>
                </a:cxn>
                <a:cxn ang="0">
                  <a:pos x="611" y="192"/>
                </a:cxn>
                <a:cxn ang="0">
                  <a:pos x="614" y="196"/>
                </a:cxn>
                <a:cxn ang="0">
                  <a:pos x="614" y="205"/>
                </a:cxn>
                <a:cxn ang="0">
                  <a:pos x="607" y="213"/>
                </a:cxn>
                <a:cxn ang="0">
                  <a:pos x="607" y="221"/>
                </a:cxn>
                <a:cxn ang="0">
                  <a:pos x="589" y="232"/>
                </a:cxn>
              </a:cxnLst>
              <a:rect l="0" t="0" r="r" b="b"/>
              <a:pathLst>
                <a:path w="726" h="356">
                  <a:moveTo>
                    <a:pt x="590" y="233"/>
                  </a:moveTo>
                  <a:cubicBezTo>
                    <a:pt x="569" y="245"/>
                    <a:pt x="543" y="253"/>
                    <a:pt x="543" y="285"/>
                  </a:cubicBezTo>
                  <a:cubicBezTo>
                    <a:pt x="543" y="300"/>
                    <a:pt x="555" y="304"/>
                    <a:pt x="555" y="318"/>
                  </a:cubicBezTo>
                  <a:cubicBezTo>
                    <a:pt x="555" y="317"/>
                    <a:pt x="555" y="317"/>
                    <a:pt x="555" y="317"/>
                  </a:cubicBezTo>
                  <a:cubicBezTo>
                    <a:pt x="555" y="320"/>
                    <a:pt x="555" y="320"/>
                    <a:pt x="555" y="320"/>
                  </a:cubicBezTo>
                  <a:cubicBezTo>
                    <a:pt x="556" y="326"/>
                    <a:pt x="560" y="330"/>
                    <a:pt x="560" y="338"/>
                  </a:cubicBezTo>
                  <a:cubicBezTo>
                    <a:pt x="560" y="347"/>
                    <a:pt x="558" y="356"/>
                    <a:pt x="551" y="356"/>
                  </a:cubicBezTo>
                  <a:cubicBezTo>
                    <a:pt x="544" y="356"/>
                    <a:pt x="544" y="349"/>
                    <a:pt x="542" y="345"/>
                  </a:cubicBezTo>
                  <a:cubicBezTo>
                    <a:pt x="537" y="338"/>
                    <a:pt x="532" y="335"/>
                    <a:pt x="529" y="328"/>
                  </a:cubicBezTo>
                  <a:cubicBezTo>
                    <a:pt x="522" y="314"/>
                    <a:pt x="527" y="287"/>
                    <a:pt x="507" y="287"/>
                  </a:cubicBezTo>
                  <a:cubicBezTo>
                    <a:pt x="503" y="287"/>
                    <a:pt x="502" y="293"/>
                    <a:pt x="498" y="293"/>
                  </a:cubicBezTo>
                  <a:cubicBezTo>
                    <a:pt x="490" y="293"/>
                    <a:pt x="485" y="283"/>
                    <a:pt x="474" y="283"/>
                  </a:cubicBezTo>
                  <a:cubicBezTo>
                    <a:pt x="468" y="283"/>
                    <a:pt x="467" y="286"/>
                    <a:pt x="463" y="286"/>
                  </a:cubicBezTo>
                  <a:cubicBezTo>
                    <a:pt x="462" y="286"/>
                    <a:pt x="460" y="284"/>
                    <a:pt x="460" y="283"/>
                  </a:cubicBezTo>
                  <a:cubicBezTo>
                    <a:pt x="453" y="285"/>
                    <a:pt x="444" y="284"/>
                    <a:pt x="436" y="286"/>
                  </a:cubicBezTo>
                  <a:cubicBezTo>
                    <a:pt x="441" y="288"/>
                    <a:pt x="440" y="288"/>
                    <a:pt x="443" y="286"/>
                  </a:cubicBezTo>
                  <a:cubicBezTo>
                    <a:pt x="442" y="293"/>
                    <a:pt x="438" y="297"/>
                    <a:pt x="443" y="301"/>
                  </a:cubicBezTo>
                  <a:cubicBezTo>
                    <a:pt x="431" y="307"/>
                    <a:pt x="421" y="292"/>
                    <a:pt x="412" y="292"/>
                  </a:cubicBezTo>
                  <a:cubicBezTo>
                    <a:pt x="409" y="292"/>
                    <a:pt x="408" y="295"/>
                    <a:pt x="405" y="295"/>
                  </a:cubicBezTo>
                  <a:cubicBezTo>
                    <a:pt x="400" y="295"/>
                    <a:pt x="398" y="291"/>
                    <a:pt x="393" y="291"/>
                  </a:cubicBezTo>
                  <a:cubicBezTo>
                    <a:pt x="380" y="291"/>
                    <a:pt x="374" y="302"/>
                    <a:pt x="368" y="307"/>
                  </a:cubicBezTo>
                  <a:cubicBezTo>
                    <a:pt x="365" y="311"/>
                    <a:pt x="361" y="308"/>
                    <a:pt x="357" y="309"/>
                  </a:cubicBezTo>
                  <a:cubicBezTo>
                    <a:pt x="347" y="313"/>
                    <a:pt x="341" y="325"/>
                    <a:pt x="341" y="338"/>
                  </a:cubicBezTo>
                  <a:cubicBezTo>
                    <a:pt x="341" y="339"/>
                    <a:pt x="343" y="341"/>
                    <a:pt x="343" y="342"/>
                  </a:cubicBezTo>
                  <a:cubicBezTo>
                    <a:pt x="336" y="342"/>
                    <a:pt x="325" y="339"/>
                    <a:pt x="321" y="336"/>
                  </a:cubicBezTo>
                  <a:cubicBezTo>
                    <a:pt x="307" y="322"/>
                    <a:pt x="308" y="290"/>
                    <a:pt x="282" y="290"/>
                  </a:cubicBezTo>
                  <a:cubicBezTo>
                    <a:pt x="272" y="290"/>
                    <a:pt x="275" y="302"/>
                    <a:pt x="266" y="302"/>
                  </a:cubicBezTo>
                  <a:cubicBezTo>
                    <a:pt x="257" y="302"/>
                    <a:pt x="250" y="287"/>
                    <a:pt x="246" y="281"/>
                  </a:cubicBezTo>
                  <a:cubicBezTo>
                    <a:pt x="239" y="268"/>
                    <a:pt x="230" y="266"/>
                    <a:pt x="215" y="262"/>
                  </a:cubicBezTo>
                  <a:cubicBezTo>
                    <a:pt x="207" y="262"/>
                    <a:pt x="207" y="262"/>
                    <a:pt x="207" y="262"/>
                  </a:cubicBezTo>
                  <a:cubicBezTo>
                    <a:pt x="207" y="268"/>
                    <a:pt x="207" y="268"/>
                    <a:pt x="207" y="268"/>
                  </a:cubicBezTo>
                  <a:cubicBezTo>
                    <a:pt x="170" y="268"/>
                    <a:pt x="170" y="268"/>
                    <a:pt x="170" y="268"/>
                  </a:cubicBezTo>
                  <a:cubicBezTo>
                    <a:pt x="123" y="252"/>
                    <a:pt x="123" y="252"/>
                    <a:pt x="123" y="252"/>
                  </a:cubicBezTo>
                  <a:cubicBezTo>
                    <a:pt x="95" y="252"/>
                    <a:pt x="95" y="252"/>
                    <a:pt x="95" y="252"/>
                  </a:cubicBezTo>
                  <a:cubicBezTo>
                    <a:pt x="88" y="239"/>
                    <a:pt x="66" y="230"/>
                    <a:pt x="50" y="223"/>
                  </a:cubicBezTo>
                  <a:cubicBezTo>
                    <a:pt x="47" y="222"/>
                    <a:pt x="48" y="217"/>
                    <a:pt x="47" y="214"/>
                  </a:cubicBezTo>
                  <a:cubicBezTo>
                    <a:pt x="40" y="198"/>
                    <a:pt x="28" y="193"/>
                    <a:pt x="30" y="175"/>
                  </a:cubicBezTo>
                  <a:cubicBezTo>
                    <a:pt x="21" y="174"/>
                    <a:pt x="11" y="154"/>
                    <a:pt x="4" y="141"/>
                  </a:cubicBezTo>
                  <a:cubicBezTo>
                    <a:pt x="2" y="137"/>
                    <a:pt x="6" y="134"/>
                    <a:pt x="8" y="133"/>
                  </a:cubicBezTo>
                  <a:cubicBezTo>
                    <a:pt x="3" y="123"/>
                    <a:pt x="8" y="107"/>
                    <a:pt x="4" y="95"/>
                  </a:cubicBezTo>
                  <a:cubicBezTo>
                    <a:pt x="0" y="85"/>
                    <a:pt x="11" y="60"/>
                    <a:pt x="11" y="46"/>
                  </a:cubicBezTo>
                  <a:cubicBezTo>
                    <a:pt x="11" y="36"/>
                    <a:pt x="0" y="32"/>
                    <a:pt x="0" y="23"/>
                  </a:cubicBezTo>
                  <a:cubicBezTo>
                    <a:pt x="0" y="20"/>
                    <a:pt x="5" y="20"/>
                    <a:pt x="7" y="20"/>
                  </a:cubicBezTo>
                  <a:cubicBezTo>
                    <a:pt x="13" y="20"/>
                    <a:pt x="17" y="23"/>
                    <a:pt x="20" y="27"/>
                  </a:cubicBezTo>
                  <a:cubicBezTo>
                    <a:pt x="22" y="24"/>
                    <a:pt x="26" y="19"/>
                    <a:pt x="26" y="15"/>
                  </a:cubicBezTo>
                  <a:cubicBezTo>
                    <a:pt x="26" y="11"/>
                    <a:pt x="22" y="10"/>
                    <a:pt x="20" y="5"/>
                  </a:cubicBezTo>
                  <a:cubicBezTo>
                    <a:pt x="373" y="5"/>
                    <a:pt x="373" y="5"/>
                    <a:pt x="373" y="5"/>
                  </a:cubicBezTo>
                  <a:cubicBezTo>
                    <a:pt x="373" y="0"/>
                    <a:pt x="373" y="0"/>
                    <a:pt x="373" y="0"/>
                  </a:cubicBezTo>
                  <a:cubicBezTo>
                    <a:pt x="379" y="4"/>
                    <a:pt x="378" y="8"/>
                    <a:pt x="384" y="11"/>
                  </a:cubicBezTo>
                  <a:cubicBezTo>
                    <a:pt x="406" y="11"/>
                    <a:pt x="406" y="11"/>
                    <a:pt x="406" y="11"/>
                  </a:cubicBezTo>
                  <a:cubicBezTo>
                    <a:pt x="415" y="20"/>
                    <a:pt x="426" y="20"/>
                    <a:pt x="443" y="20"/>
                  </a:cubicBezTo>
                  <a:cubicBezTo>
                    <a:pt x="431" y="28"/>
                    <a:pt x="418" y="32"/>
                    <a:pt x="408" y="45"/>
                  </a:cubicBezTo>
                  <a:cubicBezTo>
                    <a:pt x="415" y="45"/>
                    <a:pt x="415" y="45"/>
                    <a:pt x="415" y="45"/>
                  </a:cubicBezTo>
                  <a:cubicBezTo>
                    <a:pt x="418" y="43"/>
                    <a:pt x="420" y="42"/>
                    <a:pt x="423" y="42"/>
                  </a:cubicBezTo>
                  <a:cubicBezTo>
                    <a:pt x="425" y="46"/>
                    <a:pt x="426" y="46"/>
                    <a:pt x="429" y="46"/>
                  </a:cubicBezTo>
                  <a:cubicBezTo>
                    <a:pt x="437" y="46"/>
                    <a:pt x="437" y="40"/>
                    <a:pt x="441" y="40"/>
                  </a:cubicBezTo>
                  <a:cubicBezTo>
                    <a:pt x="446" y="40"/>
                    <a:pt x="454" y="32"/>
                    <a:pt x="461" y="31"/>
                  </a:cubicBezTo>
                  <a:cubicBezTo>
                    <a:pt x="461" y="37"/>
                    <a:pt x="458" y="38"/>
                    <a:pt x="456" y="42"/>
                  </a:cubicBezTo>
                  <a:cubicBezTo>
                    <a:pt x="465" y="42"/>
                    <a:pt x="465" y="42"/>
                    <a:pt x="465" y="42"/>
                  </a:cubicBezTo>
                  <a:cubicBezTo>
                    <a:pt x="465" y="45"/>
                    <a:pt x="469" y="47"/>
                    <a:pt x="472" y="47"/>
                  </a:cubicBezTo>
                  <a:cubicBezTo>
                    <a:pt x="478" y="47"/>
                    <a:pt x="480" y="43"/>
                    <a:pt x="484" y="43"/>
                  </a:cubicBezTo>
                  <a:cubicBezTo>
                    <a:pt x="495" y="43"/>
                    <a:pt x="500" y="48"/>
                    <a:pt x="510" y="48"/>
                  </a:cubicBezTo>
                  <a:cubicBezTo>
                    <a:pt x="510" y="54"/>
                    <a:pt x="510" y="54"/>
                    <a:pt x="510" y="54"/>
                  </a:cubicBezTo>
                  <a:cubicBezTo>
                    <a:pt x="503" y="56"/>
                    <a:pt x="493" y="54"/>
                    <a:pt x="490" y="54"/>
                  </a:cubicBezTo>
                  <a:cubicBezTo>
                    <a:pt x="480" y="54"/>
                    <a:pt x="462" y="66"/>
                    <a:pt x="462" y="75"/>
                  </a:cubicBezTo>
                  <a:cubicBezTo>
                    <a:pt x="466" y="72"/>
                    <a:pt x="468" y="69"/>
                    <a:pt x="472" y="69"/>
                  </a:cubicBezTo>
                  <a:cubicBezTo>
                    <a:pt x="465" y="78"/>
                    <a:pt x="461" y="101"/>
                    <a:pt x="461" y="112"/>
                  </a:cubicBezTo>
                  <a:cubicBezTo>
                    <a:pt x="461" y="117"/>
                    <a:pt x="466" y="121"/>
                    <a:pt x="471" y="121"/>
                  </a:cubicBezTo>
                  <a:cubicBezTo>
                    <a:pt x="478" y="121"/>
                    <a:pt x="480" y="108"/>
                    <a:pt x="480" y="102"/>
                  </a:cubicBezTo>
                  <a:cubicBezTo>
                    <a:pt x="480" y="97"/>
                    <a:pt x="480" y="88"/>
                    <a:pt x="480" y="88"/>
                  </a:cubicBezTo>
                  <a:cubicBezTo>
                    <a:pt x="480" y="82"/>
                    <a:pt x="480" y="69"/>
                    <a:pt x="485" y="69"/>
                  </a:cubicBezTo>
                  <a:cubicBezTo>
                    <a:pt x="501" y="68"/>
                    <a:pt x="494" y="57"/>
                    <a:pt x="501" y="57"/>
                  </a:cubicBezTo>
                  <a:cubicBezTo>
                    <a:pt x="504" y="57"/>
                    <a:pt x="521" y="65"/>
                    <a:pt x="521" y="70"/>
                  </a:cubicBezTo>
                  <a:cubicBezTo>
                    <a:pt x="521" y="77"/>
                    <a:pt x="517" y="81"/>
                    <a:pt x="516" y="87"/>
                  </a:cubicBezTo>
                  <a:cubicBezTo>
                    <a:pt x="521" y="87"/>
                    <a:pt x="520" y="85"/>
                    <a:pt x="525" y="84"/>
                  </a:cubicBezTo>
                  <a:cubicBezTo>
                    <a:pt x="526" y="91"/>
                    <a:pt x="526" y="94"/>
                    <a:pt x="531" y="97"/>
                  </a:cubicBezTo>
                  <a:cubicBezTo>
                    <a:pt x="526" y="103"/>
                    <a:pt x="521" y="106"/>
                    <a:pt x="521" y="112"/>
                  </a:cubicBezTo>
                  <a:cubicBezTo>
                    <a:pt x="521" y="117"/>
                    <a:pt x="523" y="123"/>
                    <a:pt x="527" y="123"/>
                  </a:cubicBezTo>
                  <a:cubicBezTo>
                    <a:pt x="539" y="123"/>
                    <a:pt x="559" y="112"/>
                    <a:pt x="568" y="108"/>
                  </a:cubicBezTo>
                  <a:cubicBezTo>
                    <a:pt x="567" y="103"/>
                    <a:pt x="565" y="99"/>
                    <a:pt x="564" y="97"/>
                  </a:cubicBezTo>
                  <a:cubicBezTo>
                    <a:pt x="567" y="97"/>
                    <a:pt x="567" y="97"/>
                    <a:pt x="569" y="97"/>
                  </a:cubicBezTo>
                  <a:cubicBezTo>
                    <a:pt x="582" y="97"/>
                    <a:pt x="610" y="101"/>
                    <a:pt x="610" y="84"/>
                  </a:cubicBezTo>
                  <a:cubicBezTo>
                    <a:pt x="611" y="84"/>
                    <a:pt x="627" y="68"/>
                    <a:pt x="630" y="66"/>
                  </a:cubicBezTo>
                  <a:cubicBezTo>
                    <a:pt x="632" y="64"/>
                    <a:pt x="643" y="65"/>
                    <a:pt x="653" y="65"/>
                  </a:cubicBezTo>
                  <a:cubicBezTo>
                    <a:pt x="657" y="65"/>
                    <a:pt x="660" y="65"/>
                    <a:pt x="664" y="65"/>
                  </a:cubicBezTo>
                  <a:cubicBezTo>
                    <a:pt x="668" y="65"/>
                    <a:pt x="672" y="63"/>
                    <a:pt x="675" y="63"/>
                  </a:cubicBezTo>
                  <a:cubicBezTo>
                    <a:pt x="680" y="62"/>
                    <a:pt x="678" y="61"/>
                    <a:pt x="680" y="59"/>
                  </a:cubicBezTo>
                  <a:cubicBezTo>
                    <a:pt x="688" y="51"/>
                    <a:pt x="688" y="36"/>
                    <a:pt x="699" y="28"/>
                  </a:cubicBezTo>
                  <a:cubicBezTo>
                    <a:pt x="704" y="35"/>
                    <a:pt x="712" y="25"/>
                    <a:pt x="716" y="32"/>
                  </a:cubicBezTo>
                  <a:cubicBezTo>
                    <a:pt x="723" y="44"/>
                    <a:pt x="717" y="62"/>
                    <a:pt x="726" y="73"/>
                  </a:cubicBezTo>
                  <a:cubicBezTo>
                    <a:pt x="723" y="77"/>
                    <a:pt x="718" y="80"/>
                    <a:pt x="712" y="80"/>
                  </a:cubicBezTo>
                  <a:cubicBezTo>
                    <a:pt x="706" y="80"/>
                    <a:pt x="706" y="78"/>
                    <a:pt x="701" y="80"/>
                  </a:cubicBezTo>
                  <a:cubicBezTo>
                    <a:pt x="694" y="87"/>
                    <a:pt x="679" y="92"/>
                    <a:pt x="679" y="109"/>
                  </a:cubicBezTo>
                  <a:cubicBezTo>
                    <a:pt x="679" y="110"/>
                    <a:pt x="680" y="112"/>
                    <a:pt x="681" y="113"/>
                  </a:cubicBezTo>
                  <a:cubicBezTo>
                    <a:pt x="681" y="115"/>
                    <a:pt x="683" y="121"/>
                    <a:pt x="686" y="121"/>
                  </a:cubicBezTo>
                  <a:cubicBezTo>
                    <a:pt x="687" y="121"/>
                    <a:pt x="690" y="118"/>
                    <a:pt x="690" y="118"/>
                  </a:cubicBezTo>
                  <a:cubicBezTo>
                    <a:pt x="690" y="121"/>
                    <a:pt x="690" y="121"/>
                    <a:pt x="690" y="121"/>
                  </a:cubicBezTo>
                  <a:cubicBezTo>
                    <a:pt x="685" y="122"/>
                    <a:pt x="678" y="124"/>
                    <a:pt x="676" y="122"/>
                  </a:cubicBezTo>
                  <a:cubicBezTo>
                    <a:pt x="667" y="129"/>
                    <a:pt x="652" y="126"/>
                    <a:pt x="643" y="132"/>
                  </a:cubicBezTo>
                  <a:cubicBezTo>
                    <a:pt x="648" y="132"/>
                    <a:pt x="648" y="132"/>
                    <a:pt x="648" y="132"/>
                  </a:cubicBezTo>
                  <a:cubicBezTo>
                    <a:pt x="652" y="132"/>
                    <a:pt x="656" y="129"/>
                    <a:pt x="659" y="132"/>
                  </a:cubicBezTo>
                  <a:cubicBezTo>
                    <a:pt x="653" y="134"/>
                    <a:pt x="648" y="134"/>
                    <a:pt x="642" y="134"/>
                  </a:cubicBezTo>
                  <a:cubicBezTo>
                    <a:pt x="641" y="134"/>
                    <a:pt x="639" y="133"/>
                    <a:pt x="638" y="133"/>
                  </a:cubicBezTo>
                  <a:cubicBezTo>
                    <a:pt x="637" y="134"/>
                    <a:pt x="635" y="135"/>
                    <a:pt x="635" y="137"/>
                  </a:cubicBezTo>
                  <a:cubicBezTo>
                    <a:pt x="635" y="139"/>
                    <a:pt x="639" y="142"/>
                    <a:pt x="639" y="142"/>
                  </a:cubicBezTo>
                  <a:cubicBezTo>
                    <a:pt x="638" y="145"/>
                    <a:pt x="630" y="161"/>
                    <a:pt x="627" y="161"/>
                  </a:cubicBezTo>
                  <a:cubicBezTo>
                    <a:pt x="626" y="161"/>
                    <a:pt x="625" y="158"/>
                    <a:pt x="624" y="157"/>
                  </a:cubicBezTo>
                  <a:cubicBezTo>
                    <a:pt x="622" y="159"/>
                    <a:pt x="622" y="159"/>
                    <a:pt x="622" y="159"/>
                  </a:cubicBezTo>
                  <a:cubicBezTo>
                    <a:pt x="623" y="163"/>
                    <a:pt x="626" y="164"/>
                    <a:pt x="626" y="168"/>
                  </a:cubicBezTo>
                  <a:cubicBezTo>
                    <a:pt x="626" y="170"/>
                    <a:pt x="617" y="186"/>
                    <a:pt x="615" y="186"/>
                  </a:cubicBezTo>
                  <a:cubicBezTo>
                    <a:pt x="615" y="186"/>
                    <a:pt x="614" y="184"/>
                    <a:pt x="614" y="183"/>
                  </a:cubicBezTo>
                  <a:cubicBezTo>
                    <a:pt x="614" y="181"/>
                    <a:pt x="614" y="180"/>
                    <a:pt x="614" y="178"/>
                  </a:cubicBezTo>
                  <a:cubicBezTo>
                    <a:pt x="614" y="175"/>
                    <a:pt x="610" y="168"/>
                    <a:pt x="609" y="164"/>
                  </a:cubicBezTo>
                  <a:cubicBezTo>
                    <a:pt x="608" y="166"/>
                    <a:pt x="608" y="170"/>
                    <a:pt x="608" y="170"/>
                  </a:cubicBezTo>
                  <a:cubicBezTo>
                    <a:pt x="608" y="173"/>
                    <a:pt x="611" y="181"/>
                    <a:pt x="611" y="185"/>
                  </a:cubicBezTo>
                  <a:cubicBezTo>
                    <a:pt x="611" y="189"/>
                    <a:pt x="608" y="189"/>
                    <a:pt x="611" y="192"/>
                  </a:cubicBezTo>
                  <a:cubicBezTo>
                    <a:pt x="612" y="192"/>
                    <a:pt x="613" y="192"/>
                    <a:pt x="614" y="192"/>
                  </a:cubicBezTo>
                  <a:cubicBezTo>
                    <a:pt x="614" y="193"/>
                    <a:pt x="614" y="195"/>
                    <a:pt x="614" y="196"/>
                  </a:cubicBezTo>
                  <a:cubicBezTo>
                    <a:pt x="614" y="200"/>
                    <a:pt x="610" y="201"/>
                    <a:pt x="608" y="201"/>
                  </a:cubicBezTo>
                  <a:cubicBezTo>
                    <a:pt x="610" y="205"/>
                    <a:pt x="612" y="205"/>
                    <a:pt x="614" y="205"/>
                  </a:cubicBezTo>
                  <a:cubicBezTo>
                    <a:pt x="613" y="210"/>
                    <a:pt x="611" y="210"/>
                    <a:pt x="607" y="210"/>
                  </a:cubicBezTo>
                  <a:cubicBezTo>
                    <a:pt x="607" y="213"/>
                    <a:pt x="607" y="213"/>
                    <a:pt x="607" y="213"/>
                  </a:cubicBezTo>
                  <a:cubicBezTo>
                    <a:pt x="612" y="216"/>
                    <a:pt x="612" y="216"/>
                    <a:pt x="612" y="216"/>
                  </a:cubicBezTo>
                  <a:cubicBezTo>
                    <a:pt x="611" y="218"/>
                    <a:pt x="610" y="221"/>
                    <a:pt x="607" y="221"/>
                  </a:cubicBezTo>
                  <a:cubicBezTo>
                    <a:pt x="602" y="222"/>
                    <a:pt x="600" y="226"/>
                    <a:pt x="596" y="226"/>
                  </a:cubicBezTo>
                  <a:cubicBezTo>
                    <a:pt x="591" y="228"/>
                    <a:pt x="591" y="230"/>
                    <a:pt x="589" y="232"/>
                  </a:cubicBezTo>
                  <a:lnTo>
                    <a:pt x="590" y="233"/>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1" name="Freeform 50"/>
            <p:cNvSpPr/>
            <p:nvPr/>
          </p:nvSpPr>
          <p:spPr bwMode="auto">
            <a:xfrm>
              <a:off x="2030413" y="1400175"/>
              <a:ext cx="1425575" cy="736600"/>
            </a:xfrm>
            <a:custGeom>
              <a:avLst/>
              <a:gdLst/>
              <a:ahLst/>
              <a:cxnLst>
                <a:cxn ang="0">
                  <a:pos x="950" y="501"/>
                </a:cxn>
                <a:cxn ang="0">
                  <a:pos x="950" y="527"/>
                </a:cxn>
                <a:cxn ang="0">
                  <a:pos x="955" y="469"/>
                </a:cxn>
                <a:cxn ang="0">
                  <a:pos x="944" y="436"/>
                </a:cxn>
                <a:cxn ang="0">
                  <a:pos x="982" y="418"/>
                </a:cxn>
                <a:cxn ang="0">
                  <a:pos x="1060" y="356"/>
                </a:cxn>
                <a:cxn ang="0">
                  <a:pos x="1050" y="346"/>
                </a:cxn>
                <a:cxn ang="0">
                  <a:pos x="991" y="310"/>
                </a:cxn>
                <a:cxn ang="0">
                  <a:pos x="965" y="247"/>
                </a:cxn>
                <a:cxn ang="0">
                  <a:pos x="908" y="267"/>
                </a:cxn>
                <a:cxn ang="0">
                  <a:pos x="831" y="204"/>
                </a:cxn>
                <a:cxn ang="0">
                  <a:pos x="794" y="247"/>
                </a:cxn>
                <a:cxn ang="0">
                  <a:pos x="783" y="387"/>
                </a:cxn>
                <a:cxn ang="0">
                  <a:pos x="726" y="334"/>
                </a:cxn>
                <a:cxn ang="0">
                  <a:pos x="607" y="306"/>
                </a:cxn>
                <a:cxn ang="0">
                  <a:pos x="595" y="216"/>
                </a:cxn>
                <a:cxn ang="0">
                  <a:pos x="633" y="178"/>
                </a:cxn>
                <a:cxn ang="0">
                  <a:pos x="675" y="146"/>
                </a:cxn>
                <a:cxn ang="0">
                  <a:pos x="686" y="127"/>
                </a:cxn>
                <a:cxn ang="0">
                  <a:pos x="722" y="120"/>
                </a:cxn>
                <a:cxn ang="0">
                  <a:pos x="746" y="61"/>
                </a:cxn>
                <a:cxn ang="0">
                  <a:pos x="702" y="67"/>
                </a:cxn>
                <a:cxn ang="0">
                  <a:pos x="665" y="74"/>
                </a:cxn>
                <a:cxn ang="0">
                  <a:pos x="625" y="55"/>
                </a:cxn>
                <a:cxn ang="0">
                  <a:pos x="574" y="0"/>
                </a:cxn>
                <a:cxn ang="0">
                  <a:pos x="555" y="38"/>
                </a:cxn>
                <a:cxn ang="0">
                  <a:pos x="567" y="98"/>
                </a:cxn>
                <a:cxn ang="0">
                  <a:pos x="492" y="92"/>
                </a:cxn>
                <a:cxn ang="0">
                  <a:pos x="430" y="75"/>
                </a:cxn>
                <a:cxn ang="0">
                  <a:pos x="387" y="89"/>
                </a:cxn>
                <a:cxn ang="0">
                  <a:pos x="333" y="81"/>
                </a:cxn>
                <a:cxn ang="0">
                  <a:pos x="202" y="42"/>
                </a:cxn>
                <a:cxn ang="0">
                  <a:pos x="138" y="40"/>
                </a:cxn>
                <a:cxn ang="0">
                  <a:pos x="61" y="70"/>
                </a:cxn>
                <a:cxn ang="0">
                  <a:pos x="0" y="242"/>
                </a:cxn>
                <a:cxn ang="0">
                  <a:pos x="67" y="253"/>
                </a:cxn>
                <a:cxn ang="0">
                  <a:pos x="124" y="316"/>
                </a:cxn>
                <a:cxn ang="0">
                  <a:pos x="136" y="366"/>
                </a:cxn>
                <a:cxn ang="0">
                  <a:pos x="181" y="413"/>
                </a:cxn>
                <a:cxn ang="0">
                  <a:pos x="224" y="440"/>
                </a:cxn>
                <a:cxn ang="0">
                  <a:pos x="610" y="446"/>
                </a:cxn>
                <a:cxn ang="0">
                  <a:pos x="676" y="453"/>
                </a:cxn>
                <a:cxn ang="0">
                  <a:pos x="705" y="477"/>
                </a:cxn>
                <a:cxn ang="0">
                  <a:pos x="759" y="512"/>
                </a:cxn>
                <a:cxn ang="0">
                  <a:pos x="732" y="553"/>
                </a:cxn>
                <a:cxn ang="0">
                  <a:pos x="772" y="543"/>
                </a:cxn>
                <a:cxn ang="0">
                  <a:pos x="814" y="519"/>
                </a:cxn>
                <a:cxn ang="0">
                  <a:pos x="879" y="498"/>
                </a:cxn>
                <a:cxn ang="0">
                  <a:pos x="928" y="505"/>
                </a:cxn>
              </a:cxnLst>
              <a:rect l="0" t="0" r="r" b="b"/>
              <a:pathLst>
                <a:path w="1071" h="553">
                  <a:moveTo>
                    <a:pt x="928" y="503"/>
                  </a:moveTo>
                  <a:cubicBezTo>
                    <a:pt x="928" y="502"/>
                    <a:pt x="928" y="502"/>
                    <a:pt x="928" y="502"/>
                  </a:cubicBezTo>
                  <a:cubicBezTo>
                    <a:pt x="928" y="502"/>
                    <a:pt x="931" y="502"/>
                    <a:pt x="932" y="502"/>
                  </a:cubicBezTo>
                  <a:cubicBezTo>
                    <a:pt x="935" y="502"/>
                    <a:pt x="946" y="504"/>
                    <a:pt x="950" y="501"/>
                  </a:cubicBezTo>
                  <a:cubicBezTo>
                    <a:pt x="954" y="498"/>
                    <a:pt x="954" y="493"/>
                    <a:pt x="960" y="492"/>
                  </a:cubicBezTo>
                  <a:cubicBezTo>
                    <a:pt x="960" y="498"/>
                    <a:pt x="960" y="499"/>
                    <a:pt x="967" y="499"/>
                  </a:cubicBezTo>
                  <a:cubicBezTo>
                    <a:pt x="957" y="500"/>
                    <a:pt x="941" y="507"/>
                    <a:pt x="941" y="516"/>
                  </a:cubicBezTo>
                  <a:cubicBezTo>
                    <a:pt x="941" y="520"/>
                    <a:pt x="947" y="527"/>
                    <a:pt x="950" y="527"/>
                  </a:cubicBezTo>
                  <a:cubicBezTo>
                    <a:pt x="953" y="527"/>
                    <a:pt x="961" y="516"/>
                    <a:pt x="970" y="513"/>
                  </a:cubicBezTo>
                  <a:cubicBezTo>
                    <a:pt x="972" y="513"/>
                    <a:pt x="1003" y="501"/>
                    <a:pt x="1003" y="497"/>
                  </a:cubicBezTo>
                  <a:cubicBezTo>
                    <a:pt x="1003" y="493"/>
                    <a:pt x="991" y="492"/>
                    <a:pt x="988" y="492"/>
                  </a:cubicBezTo>
                  <a:cubicBezTo>
                    <a:pt x="976" y="492"/>
                    <a:pt x="955" y="480"/>
                    <a:pt x="955" y="469"/>
                  </a:cubicBezTo>
                  <a:cubicBezTo>
                    <a:pt x="955" y="466"/>
                    <a:pt x="959" y="463"/>
                    <a:pt x="960" y="458"/>
                  </a:cubicBezTo>
                  <a:cubicBezTo>
                    <a:pt x="958" y="458"/>
                    <a:pt x="953" y="457"/>
                    <a:pt x="949" y="457"/>
                  </a:cubicBezTo>
                  <a:cubicBezTo>
                    <a:pt x="951" y="453"/>
                    <a:pt x="967" y="451"/>
                    <a:pt x="967" y="442"/>
                  </a:cubicBezTo>
                  <a:cubicBezTo>
                    <a:pt x="967" y="434"/>
                    <a:pt x="954" y="436"/>
                    <a:pt x="944" y="436"/>
                  </a:cubicBezTo>
                  <a:cubicBezTo>
                    <a:pt x="925" y="436"/>
                    <a:pt x="916" y="449"/>
                    <a:pt x="903" y="451"/>
                  </a:cubicBezTo>
                  <a:cubicBezTo>
                    <a:pt x="909" y="439"/>
                    <a:pt x="918" y="443"/>
                    <a:pt x="928" y="433"/>
                  </a:cubicBezTo>
                  <a:cubicBezTo>
                    <a:pt x="934" y="427"/>
                    <a:pt x="929" y="423"/>
                    <a:pt x="939" y="420"/>
                  </a:cubicBezTo>
                  <a:cubicBezTo>
                    <a:pt x="955" y="415"/>
                    <a:pt x="965" y="418"/>
                    <a:pt x="982" y="418"/>
                  </a:cubicBezTo>
                  <a:cubicBezTo>
                    <a:pt x="1004" y="418"/>
                    <a:pt x="1016" y="425"/>
                    <a:pt x="1029" y="408"/>
                  </a:cubicBezTo>
                  <a:cubicBezTo>
                    <a:pt x="1035" y="400"/>
                    <a:pt x="1071" y="398"/>
                    <a:pt x="1071" y="384"/>
                  </a:cubicBezTo>
                  <a:cubicBezTo>
                    <a:pt x="1071" y="374"/>
                    <a:pt x="1067" y="370"/>
                    <a:pt x="1063" y="363"/>
                  </a:cubicBezTo>
                  <a:cubicBezTo>
                    <a:pt x="1060" y="363"/>
                    <a:pt x="1065" y="359"/>
                    <a:pt x="1060" y="356"/>
                  </a:cubicBezTo>
                  <a:cubicBezTo>
                    <a:pt x="1060" y="351"/>
                    <a:pt x="1060" y="351"/>
                    <a:pt x="1060" y="351"/>
                  </a:cubicBezTo>
                  <a:cubicBezTo>
                    <a:pt x="1050" y="357"/>
                    <a:pt x="1029" y="364"/>
                    <a:pt x="1018" y="364"/>
                  </a:cubicBezTo>
                  <a:cubicBezTo>
                    <a:pt x="1017" y="364"/>
                    <a:pt x="1014" y="363"/>
                    <a:pt x="1014" y="362"/>
                  </a:cubicBezTo>
                  <a:cubicBezTo>
                    <a:pt x="1022" y="358"/>
                    <a:pt x="1047" y="354"/>
                    <a:pt x="1050" y="346"/>
                  </a:cubicBezTo>
                  <a:cubicBezTo>
                    <a:pt x="1050" y="344"/>
                    <a:pt x="1046" y="343"/>
                    <a:pt x="1046" y="341"/>
                  </a:cubicBezTo>
                  <a:cubicBezTo>
                    <a:pt x="1035" y="342"/>
                    <a:pt x="1013" y="337"/>
                    <a:pt x="1013" y="322"/>
                  </a:cubicBezTo>
                  <a:cubicBezTo>
                    <a:pt x="1013" y="321"/>
                    <a:pt x="1013" y="321"/>
                    <a:pt x="1013" y="321"/>
                  </a:cubicBezTo>
                  <a:cubicBezTo>
                    <a:pt x="1003" y="321"/>
                    <a:pt x="997" y="315"/>
                    <a:pt x="991" y="310"/>
                  </a:cubicBezTo>
                  <a:cubicBezTo>
                    <a:pt x="994" y="309"/>
                    <a:pt x="998" y="308"/>
                    <a:pt x="998" y="302"/>
                  </a:cubicBezTo>
                  <a:cubicBezTo>
                    <a:pt x="998" y="298"/>
                    <a:pt x="994" y="295"/>
                    <a:pt x="995" y="290"/>
                  </a:cubicBezTo>
                  <a:cubicBezTo>
                    <a:pt x="991" y="289"/>
                    <a:pt x="977" y="280"/>
                    <a:pt x="980" y="272"/>
                  </a:cubicBezTo>
                  <a:cubicBezTo>
                    <a:pt x="985" y="262"/>
                    <a:pt x="966" y="259"/>
                    <a:pt x="965" y="247"/>
                  </a:cubicBezTo>
                  <a:cubicBezTo>
                    <a:pt x="964" y="247"/>
                    <a:pt x="959" y="243"/>
                    <a:pt x="958" y="242"/>
                  </a:cubicBezTo>
                  <a:cubicBezTo>
                    <a:pt x="954" y="244"/>
                    <a:pt x="947" y="248"/>
                    <a:pt x="947" y="254"/>
                  </a:cubicBezTo>
                  <a:cubicBezTo>
                    <a:pt x="947" y="261"/>
                    <a:pt x="933" y="277"/>
                    <a:pt x="922" y="277"/>
                  </a:cubicBezTo>
                  <a:cubicBezTo>
                    <a:pt x="914" y="277"/>
                    <a:pt x="913" y="267"/>
                    <a:pt x="908" y="267"/>
                  </a:cubicBezTo>
                  <a:cubicBezTo>
                    <a:pt x="900" y="267"/>
                    <a:pt x="897" y="246"/>
                    <a:pt x="896" y="236"/>
                  </a:cubicBezTo>
                  <a:cubicBezTo>
                    <a:pt x="894" y="224"/>
                    <a:pt x="870" y="233"/>
                    <a:pt x="870" y="216"/>
                  </a:cubicBezTo>
                  <a:cubicBezTo>
                    <a:pt x="858" y="215"/>
                    <a:pt x="855" y="200"/>
                    <a:pt x="843" y="200"/>
                  </a:cubicBezTo>
                  <a:cubicBezTo>
                    <a:pt x="837" y="200"/>
                    <a:pt x="837" y="204"/>
                    <a:pt x="831" y="204"/>
                  </a:cubicBezTo>
                  <a:cubicBezTo>
                    <a:pt x="818" y="204"/>
                    <a:pt x="810" y="197"/>
                    <a:pt x="797" y="197"/>
                  </a:cubicBezTo>
                  <a:cubicBezTo>
                    <a:pt x="791" y="197"/>
                    <a:pt x="784" y="200"/>
                    <a:pt x="784" y="208"/>
                  </a:cubicBezTo>
                  <a:cubicBezTo>
                    <a:pt x="784" y="212"/>
                    <a:pt x="800" y="218"/>
                    <a:pt x="786" y="227"/>
                  </a:cubicBezTo>
                  <a:cubicBezTo>
                    <a:pt x="780" y="231"/>
                    <a:pt x="794" y="241"/>
                    <a:pt x="794" y="247"/>
                  </a:cubicBezTo>
                  <a:cubicBezTo>
                    <a:pt x="796" y="260"/>
                    <a:pt x="783" y="264"/>
                    <a:pt x="778" y="266"/>
                  </a:cubicBezTo>
                  <a:cubicBezTo>
                    <a:pt x="788" y="283"/>
                    <a:pt x="803" y="289"/>
                    <a:pt x="803" y="318"/>
                  </a:cubicBezTo>
                  <a:cubicBezTo>
                    <a:pt x="803" y="326"/>
                    <a:pt x="777" y="346"/>
                    <a:pt x="768" y="347"/>
                  </a:cubicBezTo>
                  <a:cubicBezTo>
                    <a:pt x="783" y="355"/>
                    <a:pt x="777" y="379"/>
                    <a:pt x="783" y="387"/>
                  </a:cubicBezTo>
                  <a:cubicBezTo>
                    <a:pt x="782" y="389"/>
                    <a:pt x="776" y="392"/>
                    <a:pt x="775" y="397"/>
                  </a:cubicBezTo>
                  <a:cubicBezTo>
                    <a:pt x="770" y="397"/>
                    <a:pt x="766" y="406"/>
                    <a:pt x="762" y="403"/>
                  </a:cubicBezTo>
                  <a:cubicBezTo>
                    <a:pt x="751" y="394"/>
                    <a:pt x="736" y="380"/>
                    <a:pt x="736" y="367"/>
                  </a:cubicBezTo>
                  <a:cubicBezTo>
                    <a:pt x="736" y="353"/>
                    <a:pt x="738" y="342"/>
                    <a:pt x="726" y="334"/>
                  </a:cubicBezTo>
                  <a:cubicBezTo>
                    <a:pt x="697" y="334"/>
                    <a:pt x="697" y="334"/>
                    <a:pt x="697" y="334"/>
                  </a:cubicBezTo>
                  <a:cubicBezTo>
                    <a:pt x="681" y="322"/>
                    <a:pt x="662" y="315"/>
                    <a:pt x="643" y="308"/>
                  </a:cubicBezTo>
                  <a:cubicBezTo>
                    <a:pt x="640" y="306"/>
                    <a:pt x="629" y="299"/>
                    <a:pt x="623" y="299"/>
                  </a:cubicBezTo>
                  <a:cubicBezTo>
                    <a:pt x="617" y="299"/>
                    <a:pt x="614" y="306"/>
                    <a:pt x="607" y="306"/>
                  </a:cubicBezTo>
                  <a:cubicBezTo>
                    <a:pt x="607" y="295"/>
                    <a:pt x="600" y="270"/>
                    <a:pt x="590" y="270"/>
                  </a:cubicBezTo>
                  <a:cubicBezTo>
                    <a:pt x="586" y="270"/>
                    <a:pt x="584" y="274"/>
                    <a:pt x="579" y="275"/>
                  </a:cubicBezTo>
                  <a:cubicBezTo>
                    <a:pt x="581" y="269"/>
                    <a:pt x="579" y="268"/>
                    <a:pt x="579" y="255"/>
                  </a:cubicBezTo>
                  <a:cubicBezTo>
                    <a:pt x="579" y="237"/>
                    <a:pt x="584" y="227"/>
                    <a:pt x="595" y="216"/>
                  </a:cubicBezTo>
                  <a:cubicBezTo>
                    <a:pt x="598" y="213"/>
                    <a:pt x="606" y="196"/>
                    <a:pt x="609" y="194"/>
                  </a:cubicBezTo>
                  <a:cubicBezTo>
                    <a:pt x="617" y="192"/>
                    <a:pt x="630" y="196"/>
                    <a:pt x="630" y="186"/>
                  </a:cubicBezTo>
                  <a:cubicBezTo>
                    <a:pt x="630" y="179"/>
                    <a:pt x="613" y="178"/>
                    <a:pt x="607" y="175"/>
                  </a:cubicBezTo>
                  <a:cubicBezTo>
                    <a:pt x="611" y="176"/>
                    <a:pt x="597" y="167"/>
                    <a:pt x="633" y="178"/>
                  </a:cubicBezTo>
                  <a:cubicBezTo>
                    <a:pt x="643" y="181"/>
                    <a:pt x="637" y="169"/>
                    <a:pt x="642" y="169"/>
                  </a:cubicBezTo>
                  <a:cubicBezTo>
                    <a:pt x="643" y="169"/>
                    <a:pt x="647" y="169"/>
                    <a:pt x="652" y="169"/>
                  </a:cubicBezTo>
                  <a:cubicBezTo>
                    <a:pt x="662" y="169"/>
                    <a:pt x="668" y="158"/>
                    <a:pt x="675" y="153"/>
                  </a:cubicBezTo>
                  <a:cubicBezTo>
                    <a:pt x="675" y="146"/>
                    <a:pt x="675" y="146"/>
                    <a:pt x="675" y="146"/>
                  </a:cubicBezTo>
                  <a:cubicBezTo>
                    <a:pt x="660" y="142"/>
                    <a:pt x="645" y="145"/>
                    <a:pt x="639" y="131"/>
                  </a:cubicBezTo>
                  <a:cubicBezTo>
                    <a:pt x="639" y="131"/>
                    <a:pt x="643" y="131"/>
                    <a:pt x="647" y="131"/>
                  </a:cubicBezTo>
                  <a:cubicBezTo>
                    <a:pt x="652" y="135"/>
                    <a:pt x="658" y="141"/>
                    <a:pt x="666" y="141"/>
                  </a:cubicBezTo>
                  <a:cubicBezTo>
                    <a:pt x="673" y="141"/>
                    <a:pt x="686" y="132"/>
                    <a:pt x="686" y="127"/>
                  </a:cubicBezTo>
                  <a:cubicBezTo>
                    <a:pt x="686" y="125"/>
                    <a:pt x="680" y="117"/>
                    <a:pt x="683" y="117"/>
                  </a:cubicBezTo>
                  <a:cubicBezTo>
                    <a:pt x="693" y="117"/>
                    <a:pt x="696" y="126"/>
                    <a:pt x="703" y="126"/>
                  </a:cubicBezTo>
                  <a:cubicBezTo>
                    <a:pt x="707" y="126"/>
                    <a:pt x="709" y="123"/>
                    <a:pt x="717" y="123"/>
                  </a:cubicBezTo>
                  <a:cubicBezTo>
                    <a:pt x="715" y="120"/>
                    <a:pt x="717" y="112"/>
                    <a:pt x="722" y="120"/>
                  </a:cubicBezTo>
                  <a:cubicBezTo>
                    <a:pt x="725" y="125"/>
                    <a:pt x="748" y="105"/>
                    <a:pt x="748" y="100"/>
                  </a:cubicBezTo>
                  <a:cubicBezTo>
                    <a:pt x="748" y="96"/>
                    <a:pt x="738" y="91"/>
                    <a:pt x="738" y="89"/>
                  </a:cubicBezTo>
                  <a:cubicBezTo>
                    <a:pt x="738" y="85"/>
                    <a:pt x="732" y="78"/>
                    <a:pt x="746" y="72"/>
                  </a:cubicBezTo>
                  <a:cubicBezTo>
                    <a:pt x="748" y="68"/>
                    <a:pt x="746" y="68"/>
                    <a:pt x="746" y="61"/>
                  </a:cubicBezTo>
                  <a:cubicBezTo>
                    <a:pt x="732" y="61"/>
                    <a:pt x="735" y="50"/>
                    <a:pt x="717" y="50"/>
                  </a:cubicBezTo>
                  <a:cubicBezTo>
                    <a:pt x="713" y="49"/>
                    <a:pt x="710" y="47"/>
                    <a:pt x="706" y="47"/>
                  </a:cubicBezTo>
                  <a:cubicBezTo>
                    <a:pt x="701" y="47"/>
                    <a:pt x="695" y="50"/>
                    <a:pt x="695" y="55"/>
                  </a:cubicBezTo>
                  <a:cubicBezTo>
                    <a:pt x="695" y="61"/>
                    <a:pt x="702" y="63"/>
                    <a:pt x="702" y="67"/>
                  </a:cubicBezTo>
                  <a:cubicBezTo>
                    <a:pt x="702" y="72"/>
                    <a:pt x="692" y="72"/>
                    <a:pt x="689" y="76"/>
                  </a:cubicBezTo>
                  <a:cubicBezTo>
                    <a:pt x="686" y="84"/>
                    <a:pt x="687" y="90"/>
                    <a:pt x="681" y="98"/>
                  </a:cubicBezTo>
                  <a:cubicBezTo>
                    <a:pt x="671" y="110"/>
                    <a:pt x="658" y="90"/>
                    <a:pt x="658" y="85"/>
                  </a:cubicBezTo>
                  <a:cubicBezTo>
                    <a:pt x="658" y="79"/>
                    <a:pt x="665" y="81"/>
                    <a:pt x="665" y="74"/>
                  </a:cubicBezTo>
                  <a:cubicBezTo>
                    <a:pt x="665" y="71"/>
                    <a:pt x="652" y="59"/>
                    <a:pt x="649" y="59"/>
                  </a:cubicBezTo>
                  <a:cubicBezTo>
                    <a:pt x="636" y="59"/>
                    <a:pt x="645" y="78"/>
                    <a:pt x="631" y="78"/>
                  </a:cubicBezTo>
                  <a:cubicBezTo>
                    <a:pt x="631" y="70"/>
                    <a:pt x="630" y="65"/>
                    <a:pt x="621" y="60"/>
                  </a:cubicBezTo>
                  <a:cubicBezTo>
                    <a:pt x="622" y="58"/>
                    <a:pt x="623" y="57"/>
                    <a:pt x="625" y="55"/>
                  </a:cubicBezTo>
                  <a:cubicBezTo>
                    <a:pt x="618" y="51"/>
                    <a:pt x="609" y="55"/>
                    <a:pt x="603" y="48"/>
                  </a:cubicBezTo>
                  <a:cubicBezTo>
                    <a:pt x="606" y="47"/>
                    <a:pt x="614" y="44"/>
                    <a:pt x="614" y="38"/>
                  </a:cubicBezTo>
                  <a:cubicBezTo>
                    <a:pt x="614" y="29"/>
                    <a:pt x="601" y="30"/>
                    <a:pt x="601" y="23"/>
                  </a:cubicBezTo>
                  <a:cubicBezTo>
                    <a:pt x="601" y="10"/>
                    <a:pt x="591" y="1"/>
                    <a:pt x="574" y="0"/>
                  </a:cubicBezTo>
                  <a:cubicBezTo>
                    <a:pt x="565" y="0"/>
                    <a:pt x="569" y="6"/>
                    <a:pt x="569" y="10"/>
                  </a:cubicBezTo>
                  <a:cubicBezTo>
                    <a:pt x="564" y="11"/>
                    <a:pt x="557" y="10"/>
                    <a:pt x="557" y="17"/>
                  </a:cubicBezTo>
                  <a:cubicBezTo>
                    <a:pt x="557" y="21"/>
                    <a:pt x="561" y="23"/>
                    <a:pt x="561" y="28"/>
                  </a:cubicBezTo>
                  <a:cubicBezTo>
                    <a:pt x="561" y="32"/>
                    <a:pt x="555" y="32"/>
                    <a:pt x="555" y="38"/>
                  </a:cubicBezTo>
                  <a:cubicBezTo>
                    <a:pt x="555" y="52"/>
                    <a:pt x="585" y="44"/>
                    <a:pt x="585" y="59"/>
                  </a:cubicBezTo>
                  <a:cubicBezTo>
                    <a:pt x="585" y="61"/>
                    <a:pt x="581" y="72"/>
                    <a:pt x="581" y="72"/>
                  </a:cubicBezTo>
                  <a:cubicBezTo>
                    <a:pt x="584" y="70"/>
                    <a:pt x="587" y="69"/>
                    <a:pt x="591" y="67"/>
                  </a:cubicBezTo>
                  <a:cubicBezTo>
                    <a:pt x="596" y="85"/>
                    <a:pt x="567" y="77"/>
                    <a:pt x="567" y="98"/>
                  </a:cubicBezTo>
                  <a:cubicBezTo>
                    <a:pt x="553" y="102"/>
                    <a:pt x="564" y="88"/>
                    <a:pt x="561" y="83"/>
                  </a:cubicBezTo>
                  <a:cubicBezTo>
                    <a:pt x="559" y="81"/>
                    <a:pt x="547" y="78"/>
                    <a:pt x="541" y="78"/>
                  </a:cubicBezTo>
                  <a:cubicBezTo>
                    <a:pt x="533" y="78"/>
                    <a:pt x="530" y="82"/>
                    <a:pt x="530" y="92"/>
                  </a:cubicBezTo>
                  <a:cubicBezTo>
                    <a:pt x="522" y="91"/>
                    <a:pt x="517" y="92"/>
                    <a:pt x="492" y="92"/>
                  </a:cubicBezTo>
                  <a:cubicBezTo>
                    <a:pt x="468" y="92"/>
                    <a:pt x="441" y="83"/>
                    <a:pt x="435" y="65"/>
                  </a:cubicBezTo>
                  <a:cubicBezTo>
                    <a:pt x="427" y="67"/>
                    <a:pt x="400" y="68"/>
                    <a:pt x="400" y="78"/>
                  </a:cubicBezTo>
                  <a:cubicBezTo>
                    <a:pt x="400" y="81"/>
                    <a:pt x="403" y="82"/>
                    <a:pt x="406" y="82"/>
                  </a:cubicBezTo>
                  <a:cubicBezTo>
                    <a:pt x="413" y="82"/>
                    <a:pt x="425" y="79"/>
                    <a:pt x="430" y="75"/>
                  </a:cubicBezTo>
                  <a:cubicBezTo>
                    <a:pt x="432" y="90"/>
                    <a:pt x="409" y="78"/>
                    <a:pt x="409" y="93"/>
                  </a:cubicBezTo>
                  <a:cubicBezTo>
                    <a:pt x="409" y="96"/>
                    <a:pt x="414" y="106"/>
                    <a:pt x="412" y="106"/>
                  </a:cubicBezTo>
                  <a:cubicBezTo>
                    <a:pt x="403" y="106"/>
                    <a:pt x="401" y="95"/>
                    <a:pt x="394" y="92"/>
                  </a:cubicBezTo>
                  <a:cubicBezTo>
                    <a:pt x="387" y="89"/>
                    <a:pt x="387" y="89"/>
                    <a:pt x="387" y="89"/>
                  </a:cubicBezTo>
                  <a:cubicBezTo>
                    <a:pt x="377" y="89"/>
                    <a:pt x="370" y="89"/>
                    <a:pt x="359" y="89"/>
                  </a:cubicBezTo>
                  <a:cubicBezTo>
                    <a:pt x="350" y="89"/>
                    <a:pt x="344" y="92"/>
                    <a:pt x="335" y="93"/>
                  </a:cubicBezTo>
                  <a:cubicBezTo>
                    <a:pt x="317" y="93"/>
                    <a:pt x="317" y="87"/>
                    <a:pt x="317" y="86"/>
                  </a:cubicBezTo>
                  <a:cubicBezTo>
                    <a:pt x="317" y="82"/>
                    <a:pt x="331" y="83"/>
                    <a:pt x="333" y="81"/>
                  </a:cubicBezTo>
                  <a:cubicBezTo>
                    <a:pt x="321" y="64"/>
                    <a:pt x="323" y="66"/>
                    <a:pt x="298" y="68"/>
                  </a:cubicBezTo>
                  <a:cubicBezTo>
                    <a:pt x="271" y="70"/>
                    <a:pt x="258" y="48"/>
                    <a:pt x="231" y="48"/>
                  </a:cubicBezTo>
                  <a:cubicBezTo>
                    <a:pt x="223" y="48"/>
                    <a:pt x="219" y="54"/>
                    <a:pt x="212" y="54"/>
                  </a:cubicBezTo>
                  <a:cubicBezTo>
                    <a:pt x="207" y="54"/>
                    <a:pt x="202" y="46"/>
                    <a:pt x="202" y="42"/>
                  </a:cubicBezTo>
                  <a:cubicBezTo>
                    <a:pt x="193" y="44"/>
                    <a:pt x="193" y="54"/>
                    <a:pt x="184" y="54"/>
                  </a:cubicBezTo>
                  <a:cubicBezTo>
                    <a:pt x="176" y="54"/>
                    <a:pt x="164" y="34"/>
                    <a:pt x="161" y="34"/>
                  </a:cubicBezTo>
                  <a:cubicBezTo>
                    <a:pt x="153" y="34"/>
                    <a:pt x="156" y="47"/>
                    <a:pt x="146" y="47"/>
                  </a:cubicBezTo>
                  <a:cubicBezTo>
                    <a:pt x="143" y="47"/>
                    <a:pt x="140" y="44"/>
                    <a:pt x="138" y="40"/>
                  </a:cubicBezTo>
                  <a:cubicBezTo>
                    <a:pt x="125" y="44"/>
                    <a:pt x="120" y="44"/>
                    <a:pt x="108" y="49"/>
                  </a:cubicBezTo>
                  <a:cubicBezTo>
                    <a:pt x="103" y="50"/>
                    <a:pt x="91" y="59"/>
                    <a:pt x="87" y="55"/>
                  </a:cubicBezTo>
                  <a:cubicBezTo>
                    <a:pt x="76" y="44"/>
                    <a:pt x="78" y="58"/>
                    <a:pt x="74" y="58"/>
                  </a:cubicBezTo>
                  <a:cubicBezTo>
                    <a:pt x="45" y="59"/>
                    <a:pt x="65" y="70"/>
                    <a:pt x="61" y="70"/>
                  </a:cubicBezTo>
                  <a:cubicBezTo>
                    <a:pt x="50" y="70"/>
                    <a:pt x="30" y="67"/>
                    <a:pt x="12" y="56"/>
                  </a:cubicBezTo>
                  <a:cubicBezTo>
                    <a:pt x="11" y="56"/>
                    <a:pt x="6" y="52"/>
                    <a:pt x="6" y="51"/>
                  </a:cubicBezTo>
                  <a:cubicBezTo>
                    <a:pt x="3" y="52"/>
                    <a:pt x="5" y="52"/>
                    <a:pt x="0" y="51"/>
                  </a:cubicBezTo>
                  <a:cubicBezTo>
                    <a:pt x="0" y="242"/>
                    <a:pt x="0" y="242"/>
                    <a:pt x="0" y="242"/>
                  </a:cubicBezTo>
                  <a:cubicBezTo>
                    <a:pt x="6" y="247"/>
                    <a:pt x="19" y="240"/>
                    <a:pt x="25" y="248"/>
                  </a:cubicBezTo>
                  <a:cubicBezTo>
                    <a:pt x="29" y="254"/>
                    <a:pt x="38" y="266"/>
                    <a:pt x="47" y="266"/>
                  </a:cubicBezTo>
                  <a:cubicBezTo>
                    <a:pt x="53" y="266"/>
                    <a:pt x="53" y="257"/>
                    <a:pt x="59" y="255"/>
                  </a:cubicBezTo>
                  <a:cubicBezTo>
                    <a:pt x="62" y="254"/>
                    <a:pt x="64" y="255"/>
                    <a:pt x="67" y="253"/>
                  </a:cubicBezTo>
                  <a:cubicBezTo>
                    <a:pt x="81" y="266"/>
                    <a:pt x="87" y="271"/>
                    <a:pt x="99" y="288"/>
                  </a:cubicBezTo>
                  <a:cubicBezTo>
                    <a:pt x="100" y="290"/>
                    <a:pt x="103" y="291"/>
                    <a:pt x="105" y="295"/>
                  </a:cubicBezTo>
                  <a:cubicBezTo>
                    <a:pt x="106" y="300"/>
                    <a:pt x="108" y="306"/>
                    <a:pt x="113" y="311"/>
                  </a:cubicBezTo>
                  <a:cubicBezTo>
                    <a:pt x="116" y="314"/>
                    <a:pt x="121" y="313"/>
                    <a:pt x="124" y="316"/>
                  </a:cubicBezTo>
                  <a:cubicBezTo>
                    <a:pt x="128" y="320"/>
                    <a:pt x="135" y="322"/>
                    <a:pt x="135" y="332"/>
                  </a:cubicBezTo>
                  <a:cubicBezTo>
                    <a:pt x="135" y="336"/>
                    <a:pt x="129" y="337"/>
                    <a:pt x="129" y="340"/>
                  </a:cubicBezTo>
                  <a:cubicBezTo>
                    <a:pt x="129" y="343"/>
                    <a:pt x="132" y="344"/>
                    <a:pt x="132" y="347"/>
                  </a:cubicBezTo>
                  <a:cubicBezTo>
                    <a:pt x="132" y="352"/>
                    <a:pt x="130" y="364"/>
                    <a:pt x="136" y="366"/>
                  </a:cubicBezTo>
                  <a:cubicBezTo>
                    <a:pt x="140" y="367"/>
                    <a:pt x="143" y="367"/>
                    <a:pt x="146" y="370"/>
                  </a:cubicBezTo>
                  <a:cubicBezTo>
                    <a:pt x="150" y="373"/>
                    <a:pt x="145" y="379"/>
                    <a:pt x="150" y="383"/>
                  </a:cubicBezTo>
                  <a:cubicBezTo>
                    <a:pt x="150" y="383"/>
                    <a:pt x="162" y="390"/>
                    <a:pt x="162" y="391"/>
                  </a:cubicBezTo>
                  <a:cubicBezTo>
                    <a:pt x="165" y="401"/>
                    <a:pt x="166" y="413"/>
                    <a:pt x="181" y="413"/>
                  </a:cubicBezTo>
                  <a:cubicBezTo>
                    <a:pt x="183" y="422"/>
                    <a:pt x="199" y="416"/>
                    <a:pt x="202" y="428"/>
                  </a:cubicBezTo>
                  <a:cubicBezTo>
                    <a:pt x="204" y="432"/>
                    <a:pt x="215" y="433"/>
                    <a:pt x="219" y="437"/>
                  </a:cubicBezTo>
                  <a:cubicBezTo>
                    <a:pt x="220" y="438"/>
                    <a:pt x="222" y="439"/>
                    <a:pt x="224" y="440"/>
                  </a:cubicBezTo>
                  <a:cubicBezTo>
                    <a:pt x="224" y="440"/>
                    <a:pt x="224" y="440"/>
                    <a:pt x="224" y="440"/>
                  </a:cubicBezTo>
                  <a:cubicBezTo>
                    <a:pt x="577" y="440"/>
                    <a:pt x="577" y="440"/>
                    <a:pt x="577" y="440"/>
                  </a:cubicBezTo>
                  <a:cubicBezTo>
                    <a:pt x="577" y="435"/>
                    <a:pt x="577" y="435"/>
                    <a:pt x="577" y="435"/>
                  </a:cubicBezTo>
                  <a:cubicBezTo>
                    <a:pt x="583" y="439"/>
                    <a:pt x="582" y="443"/>
                    <a:pt x="588" y="446"/>
                  </a:cubicBezTo>
                  <a:cubicBezTo>
                    <a:pt x="610" y="446"/>
                    <a:pt x="610" y="446"/>
                    <a:pt x="610" y="446"/>
                  </a:cubicBezTo>
                  <a:cubicBezTo>
                    <a:pt x="619" y="455"/>
                    <a:pt x="630" y="455"/>
                    <a:pt x="647" y="455"/>
                  </a:cubicBezTo>
                  <a:cubicBezTo>
                    <a:pt x="652" y="453"/>
                    <a:pt x="653" y="455"/>
                    <a:pt x="658" y="452"/>
                  </a:cubicBezTo>
                  <a:cubicBezTo>
                    <a:pt x="662" y="450"/>
                    <a:pt x="661" y="443"/>
                    <a:pt x="665" y="443"/>
                  </a:cubicBezTo>
                  <a:cubicBezTo>
                    <a:pt x="670" y="443"/>
                    <a:pt x="674" y="451"/>
                    <a:pt x="676" y="453"/>
                  </a:cubicBezTo>
                  <a:cubicBezTo>
                    <a:pt x="677" y="451"/>
                    <a:pt x="676" y="448"/>
                    <a:pt x="676" y="447"/>
                  </a:cubicBezTo>
                  <a:cubicBezTo>
                    <a:pt x="677" y="447"/>
                    <a:pt x="678" y="447"/>
                    <a:pt x="680" y="447"/>
                  </a:cubicBezTo>
                  <a:cubicBezTo>
                    <a:pt x="682" y="447"/>
                    <a:pt x="701" y="462"/>
                    <a:pt x="702" y="463"/>
                  </a:cubicBezTo>
                  <a:cubicBezTo>
                    <a:pt x="704" y="469"/>
                    <a:pt x="702" y="473"/>
                    <a:pt x="705" y="477"/>
                  </a:cubicBezTo>
                  <a:cubicBezTo>
                    <a:pt x="715" y="487"/>
                    <a:pt x="729" y="485"/>
                    <a:pt x="740" y="492"/>
                  </a:cubicBezTo>
                  <a:cubicBezTo>
                    <a:pt x="752" y="492"/>
                    <a:pt x="752" y="492"/>
                    <a:pt x="752" y="492"/>
                  </a:cubicBezTo>
                  <a:cubicBezTo>
                    <a:pt x="757" y="495"/>
                    <a:pt x="763" y="500"/>
                    <a:pt x="763" y="506"/>
                  </a:cubicBezTo>
                  <a:cubicBezTo>
                    <a:pt x="763" y="509"/>
                    <a:pt x="762" y="512"/>
                    <a:pt x="759" y="512"/>
                  </a:cubicBezTo>
                  <a:cubicBezTo>
                    <a:pt x="754" y="512"/>
                    <a:pt x="748" y="506"/>
                    <a:pt x="747" y="504"/>
                  </a:cubicBezTo>
                  <a:cubicBezTo>
                    <a:pt x="745" y="511"/>
                    <a:pt x="741" y="532"/>
                    <a:pt x="735" y="532"/>
                  </a:cubicBezTo>
                  <a:cubicBezTo>
                    <a:pt x="730" y="538"/>
                    <a:pt x="725" y="541"/>
                    <a:pt x="725" y="547"/>
                  </a:cubicBezTo>
                  <a:cubicBezTo>
                    <a:pt x="726" y="549"/>
                    <a:pt x="729" y="553"/>
                    <a:pt x="732" y="553"/>
                  </a:cubicBezTo>
                  <a:cubicBezTo>
                    <a:pt x="736" y="553"/>
                    <a:pt x="736" y="550"/>
                    <a:pt x="738" y="548"/>
                  </a:cubicBezTo>
                  <a:cubicBezTo>
                    <a:pt x="742" y="544"/>
                    <a:pt x="748" y="545"/>
                    <a:pt x="755" y="545"/>
                  </a:cubicBezTo>
                  <a:cubicBezTo>
                    <a:pt x="760" y="545"/>
                    <a:pt x="763" y="548"/>
                    <a:pt x="765" y="546"/>
                  </a:cubicBezTo>
                  <a:cubicBezTo>
                    <a:pt x="768" y="545"/>
                    <a:pt x="770" y="544"/>
                    <a:pt x="772" y="543"/>
                  </a:cubicBezTo>
                  <a:cubicBezTo>
                    <a:pt x="772" y="540"/>
                    <a:pt x="771" y="538"/>
                    <a:pt x="770" y="536"/>
                  </a:cubicBezTo>
                  <a:cubicBezTo>
                    <a:pt x="769" y="534"/>
                    <a:pt x="767" y="533"/>
                    <a:pt x="767" y="531"/>
                  </a:cubicBezTo>
                  <a:cubicBezTo>
                    <a:pt x="767" y="529"/>
                    <a:pt x="771" y="528"/>
                    <a:pt x="773" y="528"/>
                  </a:cubicBezTo>
                  <a:cubicBezTo>
                    <a:pt x="782" y="525"/>
                    <a:pt x="803" y="519"/>
                    <a:pt x="814" y="519"/>
                  </a:cubicBezTo>
                  <a:cubicBezTo>
                    <a:pt x="815" y="519"/>
                    <a:pt x="831" y="503"/>
                    <a:pt x="834" y="501"/>
                  </a:cubicBezTo>
                  <a:cubicBezTo>
                    <a:pt x="836" y="499"/>
                    <a:pt x="847" y="500"/>
                    <a:pt x="857" y="500"/>
                  </a:cubicBezTo>
                  <a:cubicBezTo>
                    <a:pt x="861" y="500"/>
                    <a:pt x="864" y="500"/>
                    <a:pt x="868" y="500"/>
                  </a:cubicBezTo>
                  <a:cubicBezTo>
                    <a:pt x="872" y="500"/>
                    <a:pt x="876" y="498"/>
                    <a:pt x="879" y="498"/>
                  </a:cubicBezTo>
                  <a:cubicBezTo>
                    <a:pt x="884" y="497"/>
                    <a:pt x="882" y="496"/>
                    <a:pt x="884" y="494"/>
                  </a:cubicBezTo>
                  <a:cubicBezTo>
                    <a:pt x="892" y="486"/>
                    <a:pt x="892" y="471"/>
                    <a:pt x="903" y="463"/>
                  </a:cubicBezTo>
                  <a:cubicBezTo>
                    <a:pt x="908" y="470"/>
                    <a:pt x="916" y="460"/>
                    <a:pt x="920" y="467"/>
                  </a:cubicBezTo>
                  <a:cubicBezTo>
                    <a:pt x="926" y="478"/>
                    <a:pt x="922" y="494"/>
                    <a:pt x="928" y="505"/>
                  </a:cubicBezTo>
                  <a:lnTo>
                    <a:pt x="928" y="503"/>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2" name="Freeform 51"/>
            <p:cNvSpPr/>
            <p:nvPr/>
          </p:nvSpPr>
          <p:spPr bwMode="auto">
            <a:xfrm>
              <a:off x="1585913" y="1417638"/>
              <a:ext cx="623888" cy="457200"/>
            </a:xfrm>
            <a:custGeom>
              <a:avLst/>
              <a:gdLst/>
              <a:ahLst/>
              <a:cxnLst>
                <a:cxn ang="0">
                  <a:pos x="334" y="228"/>
                </a:cxn>
                <a:cxn ang="0">
                  <a:pos x="381" y="252"/>
                </a:cxn>
                <a:cxn ang="0">
                  <a:pos x="401" y="239"/>
                </a:cxn>
                <a:cxn ang="0">
                  <a:pos x="439" y="281"/>
                </a:cxn>
                <a:cxn ang="0">
                  <a:pos x="458" y="302"/>
                </a:cxn>
                <a:cxn ang="0">
                  <a:pos x="463" y="326"/>
                </a:cxn>
                <a:cxn ang="0">
                  <a:pos x="440" y="314"/>
                </a:cxn>
                <a:cxn ang="0">
                  <a:pos x="427" y="300"/>
                </a:cxn>
                <a:cxn ang="0">
                  <a:pos x="426" y="286"/>
                </a:cxn>
                <a:cxn ang="0">
                  <a:pos x="414" y="286"/>
                </a:cxn>
                <a:cxn ang="0">
                  <a:pos x="412" y="270"/>
                </a:cxn>
                <a:cxn ang="0">
                  <a:pos x="390" y="261"/>
                </a:cxn>
                <a:cxn ang="0">
                  <a:pos x="363" y="252"/>
                </a:cxn>
                <a:cxn ang="0">
                  <a:pos x="299" y="236"/>
                </a:cxn>
                <a:cxn ang="0">
                  <a:pos x="240" y="221"/>
                </a:cxn>
                <a:cxn ang="0">
                  <a:pos x="200" y="252"/>
                </a:cxn>
                <a:cxn ang="0">
                  <a:pos x="199" y="245"/>
                </a:cxn>
                <a:cxn ang="0">
                  <a:pos x="218" y="219"/>
                </a:cxn>
                <a:cxn ang="0">
                  <a:pos x="213" y="214"/>
                </a:cxn>
                <a:cxn ang="0">
                  <a:pos x="173" y="260"/>
                </a:cxn>
                <a:cxn ang="0">
                  <a:pos x="143" y="288"/>
                </a:cxn>
                <a:cxn ang="0">
                  <a:pos x="79" y="322"/>
                </a:cxn>
                <a:cxn ang="0">
                  <a:pos x="57" y="328"/>
                </a:cxn>
                <a:cxn ang="0">
                  <a:pos x="92" y="307"/>
                </a:cxn>
                <a:cxn ang="0">
                  <a:pos x="148" y="256"/>
                </a:cxn>
                <a:cxn ang="0">
                  <a:pos x="125" y="262"/>
                </a:cxn>
                <a:cxn ang="0">
                  <a:pos x="110" y="266"/>
                </a:cxn>
                <a:cxn ang="0">
                  <a:pos x="88" y="261"/>
                </a:cxn>
                <a:cxn ang="0">
                  <a:pos x="76" y="264"/>
                </a:cxn>
                <a:cxn ang="0">
                  <a:pos x="72" y="244"/>
                </a:cxn>
                <a:cxn ang="0">
                  <a:pos x="60" y="245"/>
                </a:cxn>
                <a:cxn ang="0">
                  <a:pos x="37" y="224"/>
                </a:cxn>
                <a:cxn ang="0">
                  <a:pos x="52" y="180"/>
                </a:cxn>
                <a:cxn ang="0">
                  <a:pos x="79" y="152"/>
                </a:cxn>
                <a:cxn ang="0">
                  <a:pos x="85" y="145"/>
                </a:cxn>
                <a:cxn ang="0">
                  <a:pos x="60" y="153"/>
                </a:cxn>
                <a:cxn ang="0">
                  <a:pos x="18" y="150"/>
                </a:cxn>
                <a:cxn ang="0">
                  <a:pos x="13" y="133"/>
                </a:cxn>
                <a:cxn ang="0">
                  <a:pos x="40" y="106"/>
                </a:cxn>
                <a:cxn ang="0">
                  <a:pos x="64" y="116"/>
                </a:cxn>
                <a:cxn ang="0">
                  <a:pos x="50" y="95"/>
                </a:cxn>
                <a:cxn ang="0">
                  <a:pos x="13" y="68"/>
                </a:cxn>
                <a:cxn ang="0">
                  <a:pos x="44" y="56"/>
                </a:cxn>
                <a:cxn ang="0">
                  <a:pos x="117" y="13"/>
                </a:cxn>
                <a:cxn ang="0">
                  <a:pos x="150" y="7"/>
                </a:cxn>
                <a:cxn ang="0">
                  <a:pos x="157" y="7"/>
                </a:cxn>
                <a:cxn ang="0">
                  <a:pos x="189" y="11"/>
                </a:cxn>
                <a:cxn ang="0">
                  <a:pos x="236" y="20"/>
                </a:cxn>
                <a:cxn ang="0">
                  <a:pos x="307" y="28"/>
                </a:cxn>
                <a:cxn ang="0">
                  <a:pos x="334" y="36"/>
                </a:cxn>
              </a:cxnLst>
              <a:rect l="0" t="0" r="r" b="b"/>
              <a:pathLst>
                <a:path w="469" h="343">
                  <a:moveTo>
                    <a:pt x="334" y="37"/>
                  </a:moveTo>
                  <a:cubicBezTo>
                    <a:pt x="334" y="228"/>
                    <a:pt x="334" y="228"/>
                    <a:pt x="334" y="228"/>
                  </a:cubicBezTo>
                  <a:cubicBezTo>
                    <a:pt x="340" y="233"/>
                    <a:pt x="353" y="226"/>
                    <a:pt x="359" y="234"/>
                  </a:cubicBezTo>
                  <a:cubicBezTo>
                    <a:pt x="363" y="240"/>
                    <a:pt x="372" y="252"/>
                    <a:pt x="381" y="252"/>
                  </a:cubicBezTo>
                  <a:cubicBezTo>
                    <a:pt x="387" y="252"/>
                    <a:pt x="387" y="243"/>
                    <a:pt x="393" y="241"/>
                  </a:cubicBezTo>
                  <a:cubicBezTo>
                    <a:pt x="396" y="240"/>
                    <a:pt x="398" y="241"/>
                    <a:pt x="401" y="239"/>
                  </a:cubicBezTo>
                  <a:cubicBezTo>
                    <a:pt x="415" y="252"/>
                    <a:pt x="421" y="257"/>
                    <a:pt x="433" y="274"/>
                  </a:cubicBezTo>
                  <a:cubicBezTo>
                    <a:pt x="434" y="276"/>
                    <a:pt x="437" y="277"/>
                    <a:pt x="439" y="281"/>
                  </a:cubicBezTo>
                  <a:cubicBezTo>
                    <a:pt x="440" y="286"/>
                    <a:pt x="442" y="292"/>
                    <a:pt x="447" y="297"/>
                  </a:cubicBezTo>
                  <a:cubicBezTo>
                    <a:pt x="450" y="300"/>
                    <a:pt x="455" y="299"/>
                    <a:pt x="458" y="302"/>
                  </a:cubicBezTo>
                  <a:cubicBezTo>
                    <a:pt x="462" y="306"/>
                    <a:pt x="469" y="308"/>
                    <a:pt x="469" y="318"/>
                  </a:cubicBezTo>
                  <a:cubicBezTo>
                    <a:pt x="469" y="322"/>
                    <a:pt x="463" y="323"/>
                    <a:pt x="463" y="326"/>
                  </a:cubicBezTo>
                  <a:cubicBezTo>
                    <a:pt x="461" y="326"/>
                    <a:pt x="461" y="327"/>
                    <a:pt x="459" y="327"/>
                  </a:cubicBezTo>
                  <a:cubicBezTo>
                    <a:pt x="451" y="327"/>
                    <a:pt x="440" y="318"/>
                    <a:pt x="440" y="314"/>
                  </a:cubicBezTo>
                  <a:cubicBezTo>
                    <a:pt x="440" y="310"/>
                    <a:pt x="440" y="311"/>
                    <a:pt x="440" y="307"/>
                  </a:cubicBezTo>
                  <a:cubicBezTo>
                    <a:pt x="440" y="300"/>
                    <a:pt x="435" y="300"/>
                    <a:pt x="427" y="300"/>
                  </a:cubicBezTo>
                  <a:cubicBezTo>
                    <a:pt x="421" y="300"/>
                    <a:pt x="419" y="296"/>
                    <a:pt x="419" y="294"/>
                  </a:cubicBezTo>
                  <a:cubicBezTo>
                    <a:pt x="419" y="290"/>
                    <a:pt x="426" y="290"/>
                    <a:pt x="426" y="286"/>
                  </a:cubicBezTo>
                  <a:cubicBezTo>
                    <a:pt x="426" y="283"/>
                    <a:pt x="426" y="281"/>
                    <a:pt x="426" y="281"/>
                  </a:cubicBezTo>
                  <a:cubicBezTo>
                    <a:pt x="417" y="281"/>
                    <a:pt x="420" y="286"/>
                    <a:pt x="414" y="286"/>
                  </a:cubicBezTo>
                  <a:cubicBezTo>
                    <a:pt x="412" y="286"/>
                    <a:pt x="407" y="282"/>
                    <a:pt x="407" y="280"/>
                  </a:cubicBezTo>
                  <a:cubicBezTo>
                    <a:pt x="407" y="274"/>
                    <a:pt x="410" y="273"/>
                    <a:pt x="412" y="270"/>
                  </a:cubicBezTo>
                  <a:cubicBezTo>
                    <a:pt x="409" y="268"/>
                    <a:pt x="405" y="264"/>
                    <a:pt x="404" y="267"/>
                  </a:cubicBezTo>
                  <a:cubicBezTo>
                    <a:pt x="397" y="267"/>
                    <a:pt x="394" y="264"/>
                    <a:pt x="390" y="261"/>
                  </a:cubicBezTo>
                  <a:cubicBezTo>
                    <a:pt x="389" y="264"/>
                    <a:pt x="387" y="269"/>
                    <a:pt x="384" y="269"/>
                  </a:cubicBezTo>
                  <a:cubicBezTo>
                    <a:pt x="375" y="269"/>
                    <a:pt x="368" y="256"/>
                    <a:pt x="363" y="252"/>
                  </a:cubicBezTo>
                  <a:cubicBezTo>
                    <a:pt x="352" y="243"/>
                    <a:pt x="337" y="244"/>
                    <a:pt x="323" y="236"/>
                  </a:cubicBezTo>
                  <a:cubicBezTo>
                    <a:pt x="299" y="236"/>
                    <a:pt x="299" y="236"/>
                    <a:pt x="299" y="236"/>
                  </a:cubicBezTo>
                  <a:cubicBezTo>
                    <a:pt x="285" y="232"/>
                    <a:pt x="265" y="230"/>
                    <a:pt x="258" y="214"/>
                  </a:cubicBezTo>
                  <a:cubicBezTo>
                    <a:pt x="252" y="217"/>
                    <a:pt x="244" y="219"/>
                    <a:pt x="240" y="221"/>
                  </a:cubicBezTo>
                  <a:cubicBezTo>
                    <a:pt x="241" y="224"/>
                    <a:pt x="242" y="225"/>
                    <a:pt x="244" y="227"/>
                  </a:cubicBezTo>
                  <a:cubicBezTo>
                    <a:pt x="238" y="236"/>
                    <a:pt x="210" y="252"/>
                    <a:pt x="200" y="252"/>
                  </a:cubicBezTo>
                  <a:cubicBezTo>
                    <a:pt x="198" y="252"/>
                    <a:pt x="195" y="251"/>
                    <a:pt x="195" y="249"/>
                  </a:cubicBezTo>
                  <a:cubicBezTo>
                    <a:pt x="195" y="246"/>
                    <a:pt x="198" y="246"/>
                    <a:pt x="199" y="245"/>
                  </a:cubicBezTo>
                  <a:cubicBezTo>
                    <a:pt x="197" y="242"/>
                    <a:pt x="199" y="242"/>
                    <a:pt x="199" y="240"/>
                  </a:cubicBezTo>
                  <a:cubicBezTo>
                    <a:pt x="199" y="230"/>
                    <a:pt x="205" y="223"/>
                    <a:pt x="218" y="219"/>
                  </a:cubicBezTo>
                  <a:cubicBezTo>
                    <a:pt x="218" y="217"/>
                    <a:pt x="218" y="216"/>
                    <a:pt x="218" y="214"/>
                  </a:cubicBezTo>
                  <a:cubicBezTo>
                    <a:pt x="214" y="214"/>
                    <a:pt x="215" y="214"/>
                    <a:pt x="213" y="214"/>
                  </a:cubicBezTo>
                  <a:cubicBezTo>
                    <a:pt x="203" y="214"/>
                    <a:pt x="173" y="239"/>
                    <a:pt x="173" y="253"/>
                  </a:cubicBezTo>
                  <a:cubicBezTo>
                    <a:pt x="173" y="255"/>
                    <a:pt x="173" y="258"/>
                    <a:pt x="173" y="260"/>
                  </a:cubicBezTo>
                  <a:cubicBezTo>
                    <a:pt x="173" y="270"/>
                    <a:pt x="164" y="273"/>
                    <a:pt x="154" y="277"/>
                  </a:cubicBezTo>
                  <a:cubicBezTo>
                    <a:pt x="148" y="280"/>
                    <a:pt x="146" y="284"/>
                    <a:pt x="143" y="288"/>
                  </a:cubicBezTo>
                  <a:cubicBezTo>
                    <a:pt x="136" y="297"/>
                    <a:pt x="121" y="301"/>
                    <a:pt x="114" y="308"/>
                  </a:cubicBezTo>
                  <a:cubicBezTo>
                    <a:pt x="107" y="315"/>
                    <a:pt x="91" y="320"/>
                    <a:pt x="79" y="322"/>
                  </a:cubicBezTo>
                  <a:cubicBezTo>
                    <a:pt x="63" y="324"/>
                    <a:pt x="54" y="343"/>
                    <a:pt x="35" y="337"/>
                  </a:cubicBezTo>
                  <a:cubicBezTo>
                    <a:pt x="41" y="329"/>
                    <a:pt x="49" y="333"/>
                    <a:pt x="57" y="328"/>
                  </a:cubicBezTo>
                  <a:cubicBezTo>
                    <a:pt x="62" y="325"/>
                    <a:pt x="66" y="316"/>
                    <a:pt x="71" y="314"/>
                  </a:cubicBezTo>
                  <a:cubicBezTo>
                    <a:pt x="78" y="309"/>
                    <a:pt x="87" y="314"/>
                    <a:pt x="92" y="307"/>
                  </a:cubicBezTo>
                  <a:cubicBezTo>
                    <a:pt x="99" y="297"/>
                    <a:pt x="117" y="290"/>
                    <a:pt x="127" y="283"/>
                  </a:cubicBezTo>
                  <a:cubicBezTo>
                    <a:pt x="137" y="276"/>
                    <a:pt x="137" y="263"/>
                    <a:pt x="148" y="256"/>
                  </a:cubicBezTo>
                  <a:cubicBezTo>
                    <a:pt x="141" y="256"/>
                    <a:pt x="141" y="256"/>
                    <a:pt x="141" y="256"/>
                  </a:cubicBezTo>
                  <a:cubicBezTo>
                    <a:pt x="135" y="259"/>
                    <a:pt x="132" y="262"/>
                    <a:pt x="125" y="262"/>
                  </a:cubicBezTo>
                  <a:cubicBezTo>
                    <a:pt x="120" y="262"/>
                    <a:pt x="117" y="260"/>
                    <a:pt x="113" y="258"/>
                  </a:cubicBezTo>
                  <a:cubicBezTo>
                    <a:pt x="112" y="262"/>
                    <a:pt x="110" y="263"/>
                    <a:pt x="110" y="266"/>
                  </a:cubicBezTo>
                  <a:cubicBezTo>
                    <a:pt x="99" y="262"/>
                    <a:pt x="96" y="260"/>
                    <a:pt x="89" y="254"/>
                  </a:cubicBezTo>
                  <a:cubicBezTo>
                    <a:pt x="88" y="257"/>
                    <a:pt x="88" y="259"/>
                    <a:pt x="88" y="261"/>
                  </a:cubicBezTo>
                  <a:cubicBezTo>
                    <a:pt x="84" y="261"/>
                    <a:pt x="85" y="261"/>
                    <a:pt x="83" y="261"/>
                  </a:cubicBezTo>
                  <a:cubicBezTo>
                    <a:pt x="80" y="261"/>
                    <a:pt x="78" y="264"/>
                    <a:pt x="76" y="264"/>
                  </a:cubicBezTo>
                  <a:cubicBezTo>
                    <a:pt x="74" y="264"/>
                    <a:pt x="72" y="257"/>
                    <a:pt x="72" y="253"/>
                  </a:cubicBezTo>
                  <a:cubicBezTo>
                    <a:pt x="72" y="248"/>
                    <a:pt x="72" y="248"/>
                    <a:pt x="72" y="244"/>
                  </a:cubicBezTo>
                  <a:cubicBezTo>
                    <a:pt x="72" y="243"/>
                    <a:pt x="72" y="238"/>
                    <a:pt x="68" y="238"/>
                  </a:cubicBezTo>
                  <a:cubicBezTo>
                    <a:pt x="65" y="238"/>
                    <a:pt x="61" y="245"/>
                    <a:pt x="60" y="245"/>
                  </a:cubicBezTo>
                  <a:cubicBezTo>
                    <a:pt x="54" y="245"/>
                    <a:pt x="33" y="229"/>
                    <a:pt x="30" y="225"/>
                  </a:cubicBezTo>
                  <a:cubicBezTo>
                    <a:pt x="32" y="225"/>
                    <a:pt x="35" y="224"/>
                    <a:pt x="37" y="224"/>
                  </a:cubicBezTo>
                  <a:cubicBezTo>
                    <a:pt x="33" y="214"/>
                    <a:pt x="19" y="212"/>
                    <a:pt x="19" y="205"/>
                  </a:cubicBezTo>
                  <a:cubicBezTo>
                    <a:pt x="19" y="191"/>
                    <a:pt x="43" y="180"/>
                    <a:pt x="52" y="180"/>
                  </a:cubicBezTo>
                  <a:cubicBezTo>
                    <a:pt x="56" y="180"/>
                    <a:pt x="86" y="169"/>
                    <a:pt x="86" y="163"/>
                  </a:cubicBezTo>
                  <a:cubicBezTo>
                    <a:pt x="86" y="160"/>
                    <a:pt x="79" y="153"/>
                    <a:pt x="79" y="152"/>
                  </a:cubicBezTo>
                  <a:cubicBezTo>
                    <a:pt x="83" y="150"/>
                    <a:pt x="82" y="150"/>
                    <a:pt x="85" y="152"/>
                  </a:cubicBezTo>
                  <a:cubicBezTo>
                    <a:pt x="85" y="145"/>
                    <a:pt x="85" y="145"/>
                    <a:pt x="85" y="145"/>
                  </a:cubicBezTo>
                  <a:cubicBezTo>
                    <a:pt x="81" y="145"/>
                    <a:pt x="81" y="145"/>
                    <a:pt x="79" y="145"/>
                  </a:cubicBezTo>
                  <a:cubicBezTo>
                    <a:pt x="72" y="145"/>
                    <a:pt x="69" y="153"/>
                    <a:pt x="60" y="153"/>
                  </a:cubicBezTo>
                  <a:cubicBezTo>
                    <a:pt x="51" y="153"/>
                    <a:pt x="48" y="148"/>
                    <a:pt x="41" y="150"/>
                  </a:cubicBezTo>
                  <a:cubicBezTo>
                    <a:pt x="32" y="150"/>
                    <a:pt x="21" y="150"/>
                    <a:pt x="18" y="150"/>
                  </a:cubicBezTo>
                  <a:cubicBezTo>
                    <a:pt x="17" y="143"/>
                    <a:pt x="12" y="141"/>
                    <a:pt x="12" y="137"/>
                  </a:cubicBezTo>
                  <a:cubicBezTo>
                    <a:pt x="12" y="136"/>
                    <a:pt x="13" y="134"/>
                    <a:pt x="13" y="133"/>
                  </a:cubicBezTo>
                  <a:cubicBezTo>
                    <a:pt x="6" y="133"/>
                    <a:pt x="2" y="130"/>
                    <a:pt x="0" y="126"/>
                  </a:cubicBezTo>
                  <a:cubicBezTo>
                    <a:pt x="11" y="119"/>
                    <a:pt x="29" y="113"/>
                    <a:pt x="40" y="106"/>
                  </a:cubicBezTo>
                  <a:cubicBezTo>
                    <a:pt x="48" y="106"/>
                    <a:pt x="48" y="106"/>
                    <a:pt x="48" y="106"/>
                  </a:cubicBezTo>
                  <a:cubicBezTo>
                    <a:pt x="48" y="120"/>
                    <a:pt x="55" y="116"/>
                    <a:pt x="64" y="116"/>
                  </a:cubicBezTo>
                  <a:cubicBezTo>
                    <a:pt x="70" y="116"/>
                    <a:pt x="71" y="118"/>
                    <a:pt x="76" y="116"/>
                  </a:cubicBezTo>
                  <a:cubicBezTo>
                    <a:pt x="72" y="102"/>
                    <a:pt x="63" y="101"/>
                    <a:pt x="50" y="95"/>
                  </a:cubicBezTo>
                  <a:cubicBezTo>
                    <a:pt x="46" y="94"/>
                    <a:pt x="41" y="80"/>
                    <a:pt x="37" y="78"/>
                  </a:cubicBezTo>
                  <a:cubicBezTo>
                    <a:pt x="31" y="75"/>
                    <a:pt x="13" y="71"/>
                    <a:pt x="13" y="68"/>
                  </a:cubicBezTo>
                  <a:cubicBezTo>
                    <a:pt x="13" y="68"/>
                    <a:pt x="20" y="57"/>
                    <a:pt x="20" y="56"/>
                  </a:cubicBezTo>
                  <a:cubicBezTo>
                    <a:pt x="44" y="56"/>
                    <a:pt x="44" y="56"/>
                    <a:pt x="44" y="56"/>
                  </a:cubicBezTo>
                  <a:cubicBezTo>
                    <a:pt x="57" y="38"/>
                    <a:pt x="77" y="21"/>
                    <a:pt x="101" y="14"/>
                  </a:cubicBezTo>
                  <a:cubicBezTo>
                    <a:pt x="107" y="12"/>
                    <a:pt x="111" y="15"/>
                    <a:pt x="117" y="13"/>
                  </a:cubicBezTo>
                  <a:cubicBezTo>
                    <a:pt x="124" y="10"/>
                    <a:pt x="128" y="0"/>
                    <a:pt x="136" y="0"/>
                  </a:cubicBezTo>
                  <a:cubicBezTo>
                    <a:pt x="142" y="0"/>
                    <a:pt x="144" y="5"/>
                    <a:pt x="150" y="7"/>
                  </a:cubicBezTo>
                  <a:cubicBezTo>
                    <a:pt x="147" y="10"/>
                    <a:pt x="147" y="11"/>
                    <a:pt x="146" y="13"/>
                  </a:cubicBezTo>
                  <a:cubicBezTo>
                    <a:pt x="150" y="14"/>
                    <a:pt x="154" y="11"/>
                    <a:pt x="157" y="7"/>
                  </a:cubicBezTo>
                  <a:cubicBezTo>
                    <a:pt x="162" y="9"/>
                    <a:pt x="163" y="10"/>
                    <a:pt x="167" y="11"/>
                  </a:cubicBezTo>
                  <a:cubicBezTo>
                    <a:pt x="189" y="11"/>
                    <a:pt x="189" y="11"/>
                    <a:pt x="189" y="11"/>
                  </a:cubicBezTo>
                  <a:cubicBezTo>
                    <a:pt x="194" y="15"/>
                    <a:pt x="196" y="17"/>
                    <a:pt x="202" y="20"/>
                  </a:cubicBezTo>
                  <a:cubicBezTo>
                    <a:pt x="236" y="20"/>
                    <a:pt x="236" y="20"/>
                    <a:pt x="236" y="20"/>
                  </a:cubicBezTo>
                  <a:cubicBezTo>
                    <a:pt x="245" y="29"/>
                    <a:pt x="272" y="31"/>
                    <a:pt x="286" y="31"/>
                  </a:cubicBezTo>
                  <a:cubicBezTo>
                    <a:pt x="294" y="31"/>
                    <a:pt x="299" y="28"/>
                    <a:pt x="307" y="28"/>
                  </a:cubicBezTo>
                  <a:cubicBezTo>
                    <a:pt x="319" y="28"/>
                    <a:pt x="323" y="34"/>
                    <a:pt x="334" y="37"/>
                  </a:cubicBezTo>
                  <a:cubicBezTo>
                    <a:pt x="334" y="36"/>
                    <a:pt x="334" y="36"/>
                    <a:pt x="334" y="36"/>
                  </a:cubicBezTo>
                  <a:lnTo>
                    <a:pt x="334" y="37"/>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3" name="Freeform 52"/>
            <p:cNvSpPr/>
            <p:nvPr/>
          </p:nvSpPr>
          <p:spPr bwMode="auto">
            <a:xfrm>
              <a:off x="2149475" y="1820863"/>
              <a:ext cx="28575" cy="38100"/>
            </a:xfrm>
            <a:custGeom>
              <a:avLst/>
              <a:gdLst/>
              <a:ahLst/>
              <a:cxnLst>
                <a:cxn ang="0">
                  <a:pos x="9" y="11"/>
                </a:cxn>
                <a:cxn ang="0">
                  <a:pos x="0" y="11"/>
                </a:cxn>
                <a:cxn ang="0">
                  <a:pos x="11" y="2"/>
                </a:cxn>
                <a:cxn ang="0">
                  <a:pos x="22" y="25"/>
                </a:cxn>
                <a:cxn ang="0">
                  <a:pos x="18" y="29"/>
                </a:cxn>
                <a:cxn ang="0">
                  <a:pos x="9" y="20"/>
                </a:cxn>
                <a:cxn ang="0">
                  <a:pos x="9" y="11"/>
                </a:cxn>
              </a:cxnLst>
              <a:rect l="0" t="0" r="r" b="b"/>
              <a:pathLst>
                <a:path w="22" h="29">
                  <a:moveTo>
                    <a:pt x="9" y="11"/>
                  </a:moveTo>
                  <a:cubicBezTo>
                    <a:pt x="2" y="9"/>
                    <a:pt x="5" y="7"/>
                    <a:pt x="0" y="11"/>
                  </a:cubicBezTo>
                  <a:cubicBezTo>
                    <a:pt x="0" y="0"/>
                    <a:pt x="2" y="0"/>
                    <a:pt x="11" y="2"/>
                  </a:cubicBezTo>
                  <a:cubicBezTo>
                    <a:pt x="10" y="14"/>
                    <a:pt x="22" y="15"/>
                    <a:pt x="22" y="25"/>
                  </a:cubicBezTo>
                  <a:cubicBezTo>
                    <a:pt x="22" y="28"/>
                    <a:pt x="20" y="29"/>
                    <a:pt x="18" y="29"/>
                  </a:cubicBezTo>
                  <a:cubicBezTo>
                    <a:pt x="14" y="29"/>
                    <a:pt x="9" y="20"/>
                    <a:pt x="9" y="20"/>
                  </a:cubicBezTo>
                  <a:cubicBezTo>
                    <a:pt x="9" y="16"/>
                    <a:pt x="8" y="13"/>
                    <a:pt x="9" y="1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4" name="Freeform 53"/>
            <p:cNvSpPr/>
            <p:nvPr/>
          </p:nvSpPr>
          <p:spPr bwMode="auto">
            <a:xfrm>
              <a:off x="2105025" y="1776413"/>
              <a:ext cx="30163" cy="46038"/>
            </a:xfrm>
            <a:custGeom>
              <a:avLst/>
              <a:gdLst/>
              <a:ahLst/>
              <a:cxnLst>
                <a:cxn ang="0">
                  <a:pos x="15" y="18"/>
                </a:cxn>
                <a:cxn ang="0">
                  <a:pos x="19" y="18"/>
                </a:cxn>
                <a:cxn ang="0">
                  <a:pos x="19" y="35"/>
                </a:cxn>
                <a:cxn ang="0">
                  <a:pos x="11" y="17"/>
                </a:cxn>
                <a:cxn ang="0">
                  <a:pos x="0" y="4"/>
                </a:cxn>
                <a:cxn ang="0">
                  <a:pos x="5" y="0"/>
                </a:cxn>
                <a:cxn ang="0">
                  <a:pos x="15" y="0"/>
                </a:cxn>
                <a:cxn ang="0">
                  <a:pos x="15" y="18"/>
                </a:cxn>
              </a:cxnLst>
              <a:rect l="0" t="0" r="r" b="b"/>
              <a:pathLst>
                <a:path w="23" h="35">
                  <a:moveTo>
                    <a:pt x="15" y="18"/>
                  </a:moveTo>
                  <a:cubicBezTo>
                    <a:pt x="15" y="19"/>
                    <a:pt x="19" y="19"/>
                    <a:pt x="19" y="18"/>
                  </a:cubicBezTo>
                  <a:cubicBezTo>
                    <a:pt x="19" y="24"/>
                    <a:pt x="23" y="30"/>
                    <a:pt x="19" y="35"/>
                  </a:cubicBezTo>
                  <a:cubicBezTo>
                    <a:pt x="13" y="30"/>
                    <a:pt x="11" y="24"/>
                    <a:pt x="11" y="17"/>
                  </a:cubicBezTo>
                  <a:cubicBezTo>
                    <a:pt x="5" y="16"/>
                    <a:pt x="0" y="11"/>
                    <a:pt x="0" y="4"/>
                  </a:cubicBezTo>
                  <a:cubicBezTo>
                    <a:pt x="0" y="1"/>
                    <a:pt x="3" y="0"/>
                    <a:pt x="5" y="0"/>
                  </a:cubicBezTo>
                  <a:cubicBezTo>
                    <a:pt x="13" y="0"/>
                    <a:pt x="9" y="3"/>
                    <a:pt x="15" y="0"/>
                  </a:cubicBezTo>
                  <a:cubicBezTo>
                    <a:pt x="15" y="11"/>
                    <a:pt x="13" y="11"/>
                    <a:pt x="15" y="18"/>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5" name="Freeform 54"/>
            <p:cNvSpPr/>
            <p:nvPr/>
          </p:nvSpPr>
          <p:spPr bwMode="auto">
            <a:xfrm>
              <a:off x="2389188" y="1335088"/>
              <a:ext cx="307975" cy="161925"/>
            </a:xfrm>
            <a:custGeom>
              <a:avLst/>
              <a:gdLst/>
              <a:ahLst/>
              <a:cxnLst>
                <a:cxn ang="0">
                  <a:pos x="214" y="96"/>
                </a:cxn>
                <a:cxn ang="0">
                  <a:pos x="209" y="100"/>
                </a:cxn>
                <a:cxn ang="0">
                  <a:pos x="215" y="103"/>
                </a:cxn>
                <a:cxn ang="0">
                  <a:pos x="220" y="110"/>
                </a:cxn>
                <a:cxn ang="0">
                  <a:pos x="195" y="118"/>
                </a:cxn>
                <a:cxn ang="0">
                  <a:pos x="158" y="104"/>
                </a:cxn>
                <a:cxn ang="0">
                  <a:pos x="147" y="112"/>
                </a:cxn>
                <a:cxn ang="0">
                  <a:pos x="115" y="121"/>
                </a:cxn>
                <a:cxn ang="0">
                  <a:pos x="75" y="121"/>
                </a:cxn>
                <a:cxn ang="0">
                  <a:pos x="68" y="110"/>
                </a:cxn>
                <a:cxn ang="0">
                  <a:pos x="43" y="108"/>
                </a:cxn>
                <a:cxn ang="0">
                  <a:pos x="23" y="92"/>
                </a:cxn>
                <a:cxn ang="0">
                  <a:pos x="65" y="82"/>
                </a:cxn>
                <a:cxn ang="0">
                  <a:pos x="80" y="81"/>
                </a:cxn>
                <a:cxn ang="0">
                  <a:pos x="69" y="77"/>
                </a:cxn>
                <a:cxn ang="0">
                  <a:pos x="45" y="77"/>
                </a:cxn>
                <a:cxn ang="0">
                  <a:pos x="12" y="69"/>
                </a:cxn>
                <a:cxn ang="0">
                  <a:pos x="29" y="60"/>
                </a:cxn>
                <a:cxn ang="0">
                  <a:pos x="14" y="59"/>
                </a:cxn>
                <a:cxn ang="0">
                  <a:pos x="0" y="51"/>
                </a:cxn>
                <a:cxn ang="0">
                  <a:pos x="56" y="13"/>
                </a:cxn>
                <a:cxn ang="0">
                  <a:pos x="64" y="29"/>
                </a:cxn>
                <a:cxn ang="0">
                  <a:pos x="78" y="21"/>
                </a:cxn>
                <a:cxn ang="0">
                  <a:pos x="98" y="34"/>
                </a:cxn>
                <a:cxn ang="0">
                  <a:pos x="111" y="31"/>
                </a:cxn>
                <a:cxn ang="0">
                  <a:pos x="109" y="23"/>
                </a:cxn>
                <a:cxn ang="0">
                  <a:pos x="118" y="23"/>
                </a:cxn>
                <a:cxn ang="0">
                  <a:pos x="133" y="35"/>
                </a:cxn>
                <a:cxn ang="0">
                  <a:pos x="140" y="51"/>
                </a:cxn>
                <a:cxn ang="0">
                  <a:pos x="146" y="48"/>
                </a:cxn>
                <a:cxn ang="0">
                  <a:pos x="136" y="17"/>
                </a:cxn>
                <a:cxn ang="0">
                  <a:pos x="144" y="12"/>
                </a:cxn>
                <a:cxn ang="0">
                  <a:pos x="156" y="12"/>
                </a:cxn>
                <a:cxn ang="0">
                  <a:pos x="156" y="7"/>
                </a:cxn>
                <a:cxn ang="0">
                  <a:pos x="169" y="0"/>
                </a:cxn>
                <a:cxn ang="0">
                  <a:pos x="184" y="10"/>
                </a:cxn>
                <a:cxn ang="0">
                  <a:pos x="175" y="24"/>
                </a:cxn>
                <a:cxn ang="0">
                  <a:pos x="187" y="62"/>
                </a:cxn>
                <a:cxn ang="0">
                  <a:pos x="232" y="92"/>
                </a:cxn>
                <a:cxn ang="0">
                  <a:pos x="214" y="96"/>
                </a:cxn>
              </a:cxnLst>
              <a:rect l="0" t="0" r="r" b="b"/>
              <a:pathLst>
                <a:path w="232" h="121">
                  <a:moveTo>
                    <a:pt x="214" y="96"/>
                  </a:moveTo>
                  <a:cubicBezTo>
                    <a:pt x="211" y="96"/>
                    <a:pt x="209" y="97"/>
                    <a:pt x="209" y="100"/>
                  </a:cubicBezTo>
                  <a:cubicBezTo>
                    <a:pt x="209" y="103"/>
                    <a:pt x="214" y="103"/>
                    <a:pt x="215" y="103"/>
                  </a:cubicBezTo>
                  <a:cubicBezTo>
                    <a:pt x="216" y="107"/>
                    <a:pt x="218" y="108"/>
                    <a:pt x="220" y="110"/>
                  </a:cubicBezTo>
                  <a:cubicBezTo>
                    <a:pt x="216" y="118"/>
                    <a:pt x="206" y="118"/>
                    <a:pt x="195" y="118"/>
                  </a:cubicBezTo>
                  <a:cubicBezTo>
                    <a:pt x="177" y="118"/>
                    <a:pt x="171" y="104"/>
                    <a:pt x="158" y="104"/>
                  </a:cubicBezTo>
                  <a:cubicBezTo>
                    <a:pt x="150" y="104"/>
                    <a:pt x="154" y="109"/>
                    <a:pt x="147" y="112"/>
                  </a:cubicBezTo>
                  <a:cubicBezTo>
                    <a:pt x="135" y="118"/>
                    <a:pt x="124" y="115"/>
                    <a:pt x="115" y="121"/>
                  </a:cubicBezTo>
                  <a:cubicBezTo>
                    <a:pt x="95" y="121"/>
                    <a:pt x="87" y="121"/>
                    <a:pt x="75" y="121"/>
                  </a:cubicBezTo>
                  <a:cubicBezTo>
                    <a:pt x="68" y="121"/>
                    <a:pt x="73" y="114"/>
                    <a:pt x="68" y="110"/>
                  </a:cubicBezTo>
                  <a:cubicBezTo>
                    <a:pt x="63" y="107"/>
                    <a:pt x="49" y="108"/>
                    <a:pt x="43" y="108"/>
                  </a:cubicBezTo>
                  <a:cubicBezTo>
                    <a:pt x="34" y="108"/>
                    <a:pt x="26" y="98"/>
                    <a:pt x="23" y="92"/>
                  </a:cubicBezTo>
                  <a:cubicBezTo>
                    <a:pt x="33" y="85"/>
                    <a:pt x="47" y="82"/>
                    <a:pt x="65" y="82"/>
                  </a:cubicBezTo>
                  <a:cubicBezTo>
                    <a:pt x="72" y="82"/>
                    <a:pt x="75" y="82"/>
                    <a:pt x="80" y="81"/>
                  </a:cubicBezTo>
                  <a:cubicBezTo>
                    <a:pt x="77" y="80"/>
                    <a:pt x="73" y="77"/>
                    <a:pt x="69" y="77"/>
                  </a:cubicBezTo>
                  <a:cubicBezTo>
                    <a:pt x="60" y="77"/>
                    <a:pt x="50" y="77"/>
                    <a:pt x="45" y="77"/>
                  </a:cubicBezTo>
                  <a:cubicBezTo>
                    <a:pt x="36" y="77"/>
                    <a:pt x="12" y="81"/>
                    <a:pt x="12" y="69"/>
                  </a:cubicBezTo>
                  <a:cubicBezTo>
                    <a:pt x="12" y="59"/>
                    <a:pt x="24" y="63"/>
                    <a:pt x="29" y="60"/>
                  </a:cubicBezTo>
                  <a:cubicBezTo>
                    <a:pt x="22" y="58"/>
                    <a:pt x="19" y="59"/>
                    <a:pt x="14" y="59"/>
                  </a:cubicBezTo>
                  <a:cubicBezTo>
                    <a:pt x="9" y="59"/>
                    <a:pt x="0" y="53"/>
                    <a:pt x="0" y="51"/>
                  </a:cubicBezTo>
                  <a:cubicBezTo>
                    <a:pt x="0" y="29"/>
                    <a:pt x="41" y="13"/>
                    <a:pt x="56" y="13"/>
                  </a:cubicBezTo>
                  <a:cubicBezTo>
                    <a:pt x="63" y="13"/>
                    <a:pt x="62" y="26"/>
                    <a:pt x="64" y="29"/>
                  </a:cubicBezTo>
                  <a:cubicBezTo>
                    <a:pt x="68" y="26"/>
                    <a:pt x="71" y="21"/>
                    <a:pt x="78" y="21"/>
                  </a:cubicBezTo>
                  <a:cubicBezTo>
                    <a:pt x="90" y="21"/>
                    <a:pt x="94" y="26"/>
                    <a:pt x="98" y="34"/>
                  </a:cubicBezTo>
                  <a:cubicBezTo>
                    <a:pt x="102" y="33"/>
                    <a:pt x="106" y="32"/>
                    <a:pt x="111" y="31"/>
                  </a:cubicBezTo>
                  <a:cubicBezTo>
                    <a:pt x="110" y="27"/>
                    <a:pt x="109" y="25"/>
                    <a:pt x="109" y="23"/>
                  </a:cubicBezTo>
                  <a:cubicBezTo>
                    <a:pt x="118" y="23"/>
                    <a:pt x="118" y="23"/>
                    <a:pt x="118" y="23"/>
                  </a:cubicBezTo>
                  <a:cubicBezTo>
                    <a:pt x="124" y="25"/>
                    <a:pt x="131" y="30"/>
                    <a:pt x="133" y="35"/>
                  </a:cubicBezTo>
                  <a:cubicBezTo>
                    <a:pt x="135" y="40"/>
                    <a:pt x="132" y="51"/>
                    <a:pt x="140" y="51"/>
                  </a:cubicBezTo>
                  <a:cubicBezTo>
                    <a:pt x="144" y="51"/>
                    <a:pt x="144" y="50"/>
                    <a:pt x="146" y="48"/>
                  </a:cubicBezTo>
                  <a:cubicBezTo>
                    <a:pt x="142" y="42"/>
                    <a:pt x="136" y="21"/>
                    <a:pt x="136" y="17"/>
                  </a:cubicBezTo>
                  <a:cubicBezTo>
                    <a:pt x="136" y="14"/>
                    <a:pt x="140" y="12"/>
                    <a:pt x="144" y="12"/>
                  </a:cubicBezTo>
                  <a:cubicBezTo>
                    <a:pt x="152" y="12"/>
                    <a:pt x="149" y="15"/>
                    <a:pt x="156" y="12"/>
                  </a:cubicBezTo>
                  <a:cubicBezTo>
                    <a:pt x="156" y="10"/>
                    <a:pt x="156" y="9"/>
                    <a:pt x="156" y="7"/>
                  </a:cubicBezTo>
                  <a:cubicBezTo>
                    <a:pt x="156" y="3"/>
                    <a:pt x="162" y="0"/>
                    <a:pt x="169" y="0"/>
                  </a:cubicBezTo>
                  <a:cubicBezTo>
                    <a:pt x="177" y="0"/>
                    <a:pt x="184" y="3"/>
                    <a:pt x="184" y="10"/>
                  </a:cubicBezTo>
                  <a:cubicBezTo>
                    <a:pt x="184" y="16"/>
                    <a:pt x="175" y="20"/>
                    <a:pt x="175" y="24"/>
                  </a:cubicBezTo>
                  <a:cubicBezTo>
                    <a:pt x="175" y="40"/>
                    <a:pt x="187" y="50"/>
                    <a:pt x="187" y="62"/>
                  </a:cubicBezTo>
                  <a:cubicBezTo>
                    <a:pt x="187" y="76"/>
                    <a:pt x="224" y="85"/>
                    <a:pt x="232" y="92"/>
                  </a:cubicBezTo>
                  <a:cubicBezTo>
                    <a:pt x="224" y="97"/>
                    <a:pt x="222" y="96"/>
                    <a:pt x="214" y="9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6" name="Freeform 55"/>
            <p:cNvSpPr/>
            <p:nvPr/>
          </p:nvSpPr>
          <p:spPr bwMode="auto">
            <a:xfrm>
              <a:off x="2274888" y="1309688"/>
              <a:ext cx="173038" cy="114300"/>
            </a:xfrm>
            <a:custGeom>
              <a:avLst/>
              <a:gdLst/>
              <a:ahLst/>
              <a:cxnLst>
                <a:cxn ang="0">
                  <a:pos x="28" y="82"/>
                </a:cxn>
                <a:cxn ang="0">
                  <a:pos x="22" y="73"/>
                </a:cxn>
                <a:cxn ang="0">
                  <a:pos x="0" y="64"/>
                </a:cxn>
                <a:cxn ang="0">
                  <a:pos x="22" y="21"/>
                </a:cxn>
                <a:cxn ang="0">
                  <a:pos x="16" y="5"/>
                </a:cxn>
                <a:cxn ang="0">
                  <a:pos x="42" y="5"/>
                </a:cxn>
                <a:cxn ang="0">
                  <a:pos x="60" y="2"/>
                </a:cxn>
                <a:cxn ang="0">
                  <a:pos x="84" y="11"/>
                </a:cxn>
                <a:cxn ang="0">
                  <a:pos x="99" y="10"/>
                </a:cxn>
                <a:cxn ang="0">
                  <a:pos x="130" y="29"/>
                </a:cxn>
                <a:cxn ang="0">
                  <a:pos x="102" y="38"/>
                </a:cxn>
                <a:cxn ang="0">
                  <a:pos x="69" y="71"/>
                </a:cxn>
                <a:cxn ang="0">
                  <a:pos x="35" y="86"/>
                </a:cxn>
                <a:cxn ang="0">
                  <a:pos x="28" y="82"/>
                </a:cxn>
              </a:cxnLst>
              <a:rect l="0" t="0" r="r" b="b"/>
              <a:pathLst>
                <a:path w="130" h="86">
                  <a:moveTo>
                    <a:pt x="28" y="82"/>
                  </a:moveTo>
                  <a:cubicBezTo>
                    <a:pt x="26" y="82"/>
                    <a:pt x="23" y="75"/>
                    <a:pt x="22" y="73"/>
                  </a:cubicBezTo>
                  <a:cubicBezTo>
                    <a:pt x="18" y="68"/>
                    <a:pt x="0" y="69"/>
                    <a:pt x="0" y="64"/>
                  </a:cubicBezTo>
                  <a:cubicBezTo>
                    <a:pt x="0" y="49"/>
                    <a:pt x="22" y="37"/>
                    <a:pt x="22" y="21"/>
                  </a:cubicBezTo>
                  <a:cubicBezTo>
                    <a:pt x="22" y="17"/>
                    <a:pt x="16" y="10"/>
                    <a:pt x="16" y="5"/>
                  </a:cubicBezTo>
                  <a:cubicBezTo>
                    <a:pt x="27" y="1"/>
                    <a:pt x="32" y="5"/>
                    <a:pt x="42" y="5"/>
                  </a:cubicBezTo>
                  <a:cubicBezTo>
                    <a:pt x="48" y="5"/>
                    <a:pt x="52" y="0"/>
                    <a:pt x="60" y="2"/>
                  </a:cubicBezTo>
                  <a:cubicBezTo>
                    <a:pt x="70" y="5"/>
                    <a:pt x="74" y="10"/>
                    <a:pt x="84" y="11"/>
                  </a:cubicBezTo>
                  <a:cubicBezTo>
                    <a:pt x="88" y="15"/>
                    <a:pt x="93" y="10"/>
                    <a:pt x="99" y="10"/>
                  </a:cubicBezTo>
                  <a:cubicBezTo>
                    <a:pt x="108" y="10"/>
                    <a:pt x="130" y="19"/>
                    <a:pt x="130" y="29"/>
                  </a:cubicBezTo>
                  <a:cubicBezTo>
                    <a:pt x="130" y="34"/>
                    <a:pt x="106" y="37"/>
                    <a:pt x="102" y="38"/>
                  </a:cubicBezTo>
                  <a:cubicBezTo>
                    <a:pt x="88" y="43"/>
                    <a:pt x="69" y="61"/>
                    <a:pt x="69" y="71"/>
                  </a:cubicBezTo>
                  <a:cubicBezTo>
                    <a:pt x="69" y="75"/>
                    <a:pt x="38" y="86"/>
                    <a:pt x="35" y="86"/>
                  </a:cubicBezTo>
                  <a:cubicBezTo>
                    <a:pt x="32" y="86"/>
                    <a:pt x="30" y="82"/>
                    <a:pt x="28" y="8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7" name="Freeform 56"/>
            <p:cNvSpPr/>
            <p:nvPr/>
          </p:nvSpPr>
          <p:spPr bwMode="auto">
            <a:xfrm>
              <a:off x="2413000" y="1228725"/>
              <a:ext cx="204788" cy="87313"/>
            </a:xfrm>
            <a:custGeom>
              <a:avLst/>
              <a:gdLst/>
              <a:ahLst/>
              <a:cxnLst>
                <a:cxn ang="0">
                  <a:pos x="53" y="65"/>
                </a:cxn>
                <a:cxn ang="0">
                  <a:pos x="41" y="59"/>
                </a:cxn>
                <a:cxn ang="0">
                  <a:pos x="53" y="53"/>
                </a:cxn>
                <a:cxn ang="0">
                  <a:pos x="46" y="43"/>
                </a:cxn>
                <a:cxn ang="0">
                  <a:pos x="41" y="49"/>
                </a:cxn>
                <a:cxn ang="0">
                  <a:pos x="22" y="52"/>
                </a:cxn>
                <a:cxn ang="0">
                  <a:pos x="7" y="49"/>
                </a:cxn>
                <a:cxn ang="0">
                  <a:pos x="0" y="42"/>
                </a:cxn>
                <a:cxn ang="0">
                  <a:pos x="0" y="36"/>
                </a:cxn>
                <a:cxn ang="0">
                  <a:pos x="11" y="31"/>
                </a:cxn>
                <a:cxn ang="0">
                  <a:pos x="31" y="36"/>
                </a:cxn>
                <a:cxn ang="0">
                  <a:pos x="11" y="30"/>
                </a:cxn>
                <a:cxn ang="0">
                  <a:pos x="11" y="23"/>
                </a:cxn>
                <a:cxn ang="0">
                  <a:pos x="19" y="23"/>
                </a:cxn>
                <a:cxn ang="0">
                  <a:pos x="38" y="26"/>
                </a:cxn>
                <a:cxn ang="0">
                  <a:pos x="16" y="22"/>
                </a:cxn>
                <a:cxn ang="0">
                  <a:pos x="25" y="17"/>
                </a:cxn>
                <a:cxn ang="0">
                  <a:pos x="36" y="18"/>
                </a:cxn>
                <a:cxn ang="0">
                  <a:pos x="23" y="12"/>
                </a:cxn>
                <a:cxn ang="0">
                  <a:pos x="38" y="12"/>
                </a:cxn>
                <a:cxn ang="0">
                  <a:pos x="45" y="19"/>
                </a:cxn>
                <a:cxn ang="0">
                  <a:pos x="55" y="19"/>
                </a:cxn>
                <a:cxn ang="0">
                  <a:pos x="97" y="36"/>
                </a:cxn>
                <a:cxn ang="0">
                  <a:pos x="107" y="30"/>
                </a:cxn>
                <a:cxn ang="0">
                  <a:pos x="98" y="29"/>
                </a:cxn>
                <a:cxn ang="0">
                  <a:pos x="102" y="27"/>
                </a:cxn>
                <a:cxn ang="0">
                  <a:pos x="102" y="21"/>
                </a:cxn>
                <a:cxn ang="0">
                  <a:pos x="91" y="15"/>
                </a:cxn>
                <a:cxn ang="0">
                  <a:pos x="107" y="0"/>
                </a:cxn>
                <a:cxn ang="0">
                  <a:pos x="116" y="4"/>
                </a:cxn>
                <a:cxn ang="0">
                  <a:pos x="116" y="9"/>
                </a:cxn>
                <a:cxn ang="0">
                  <a:pos x="132" y="26"/>
                </a:cxn>
                <a:cxn ang="0">
                  <a:pos x="144" y="20"/>
                </a:cxn>
                <a:cxn ang="0">
                  <a:pos x="154" y="31"/>
                </a:cxn>
                <a:cxn ang="0">
                  <a:pos x="140" y="52"/>
                </a:cxn>
                <a:cxn ang="0">
                  <a:pos x="111" y="51"/>
                </a:cxn>
                <a:cxn ang="0">
                  <a:pos x="82" y="59"/>
                </a:cxn>
                <a:cxn ang="0">
                  <a:pos x="53" y="65"/>
                </a:cxn>
              </a:cxnLst>
              <a:rect l="0" t="0" r="r" b="b"/>
              <a:pathLst>
                <a:path w="154" h="65">
                  <a:moveTo>
                    <a:pt x="53" y="65"/>
                  </a:moveTo>
                  <a:cubicBezTo>
                    <a:pt x="48" y="65"/>
                    <a:pt x="41" y="61"/>
                    <a:pt x="41" y="59"/>
                  </a:cubicBezTo>
                  <a:cubicBezTo>
                    <a:pt x="41" y="52"/>
                    <a:pt x="47" y="53"/>
                    <a:pt x="53" y="53"/>
                  </a:cubicBezTo>
                  <a:cubicBezTo>
                    <a:pt x="50" y="50"/>
                    <a:pt x="46" y="48"/>
                    <a:pt x="46" y="43"/>
                  </a:cubicBezTo>
                  <a:cubicBezTo>
                    <a:pt x="43" y="44"/>
                    <a:pt x="41" y="46"/>
                    <a:pt x="41" y="49"/>
                  </a:cubicBezTo>
                  <a:cubicBezTo>
                    <a:pt x="33" y="50"/>
                    <a:pt x="27" y="52"/>
                    <a:pt x="22" y="52"/>
                  </a:cubicBezTo>
                  <a:cubicBezTo>
                    <a:pt x="16" y="52"/>
                    <a:pt x="10" y="49"/>
                    <a:pt x="7" y="49"/>
                  </a:cubicBezTo>
                  <a:cubicBezTo>
                    <a:pt x="3" y="49"/>
                    <a:pt x="0" y="46"/>
                    <a:pt x="0" y="42"/>
                  </a:cubicBezTo>
                  <a:cubicBezTo>
                    <a:pt x="0" y="38"/>
                    <a:pt x="2" y="39"/>
                    <a:pt x="0" y="36"/>
                  </a:cubicBezTo>
                  <a:cubicBezTo>
                    <a:pt x="5" y="35"/>
                    <a:pt x="7" y="31"/>
                    <a:pt x="11" y="31"/>
                  </a:cubicBezTo>
                  <a:cubicBezTo>
                    <a:pt x="20" y="31"/>
                    <a:pt x="24" y="35"/>
                    <a:pt x="31" y="36"/>
                  </a:cubicBezTo>
                  <a:cubicBezTo>
                    <a:pt x="24" y="35"/>
                    <a:pt x="17" y="32"/>
                    <a:pt x="11" y="30"/>
                  </a:cubicBezTo>
                  <a:cubicBezTo>
                    <a:pt x="11" y="23"/>
                    <a:pt x="11" y="23"/>
                    <a:pt x="11" y="23"/>
                  </a:cubicBezTo>
                  <a:cubicBezTo>
                    <a:pt x="15" y="23"/>
                    <a:pt x="19" y="23"/>
                    <a:pt x="19" y="23"/>
                  </a:cubicBezTo>
                  <a:cubicBezTo>
                    <a:pt x="20" y="23"/>
                    <a:pt x="34" y="26"/>
                    <a:pt x="38" y="26"/>
                  </a:cubicBezTo>
                  <a:cubicBezTo>
                    <a:pt x="30" y="25"/>
                    <a:pt x="23" y="26"/>
                    <a:pt x="16" y="22"/>
                  </a:cubicBezTo>
                  <a:cubicBezTo>
                    <a:pt x="18" y="19"/>
                    <a:pt x="22" y="17"/>
                    <a:pt x="25" y="17"/>
                  </a:cubicBezTo>
                  <a:cubicBezTo>
                    <a:pt x="31" y="17"/>
                    <a:pt x="32" y="19"/>
                    <a:pt x="36" y="18"/>
                  </a:cubicBezTo>
                  <a:cubicBezTo>
                    <a:pt x="31" y="19"/>
                    <a:pt x="23" y="18"/>
                    <a:pt x="23" y="12"/>
                  </a:cubicBezTo>
                  <a:cubicBezTo>
                    <a:pt x="31" y="11"/>
                    <a:pt x="34" y="12"/>
                    <a:pt x="38" y="12"/>
                  </a:cubicBezTo>
                  <a:cubicBezTo>
                    <a:pt x="39" y="12"/>
                    <a:pt x="45" y="14"/>
                    <a:pt x="45" y="19"/>
                  </a:cubicBezTo>
                  <a:cubicBezTo>
                    <a:pt x="50" y="19"/>
                    <a:pt x="54" y="19"/>
                    <a:pt x="55" y="19"/>
                  </a:cubicBezTo>
                  <a:cubicBezTo>
                    <a:pt x="68" y="19"/>
                    <a:pt x="78" y="36"/>
                    <a:pt x="97" y="36"/>
                  </a:cubicBezTo>
                  <a:cubicBezTo>
                    <a:pt x="103" y="36"/>
                    <a:pt x="105" y="34"/>
                    <a:pt x="107" y="30"/>
                  </a:cubicBezTo>
                  <a:cubicBezTo>
                    <a:pt x="102" y="30"/>
                    <a:pt x="100" y="30"/>
                    <a:pt x="98" y="29"/>
                  </a:cubicBezTo>
                  <a:cubicBezTo>
                    <a:pt x="98" y="28"/>
                    <a:pt x="101" y="27"/>
                    <a:pt x="102" y="27"/>
                  </a:cubicBezTo>
                  <a:cubicBezTo>
                    <a:pt x="102" y="21"/>
                    <a:pt x="102" y="21"/>
                    <a:pt x="102" y="21"/>
                  </a:cubicBezTo>
                  <a:cubicBezTo>
                    <a:pt x="99" y="21"/>
                    <a:pt x="91" y="19"/>
                    <a:pt x="91" y="15"/>
                  </a:cubicBezTo>
                  <a:cubicBezTo>
                    <a:pt x="91" y="7"/>
                    <a:pt x="103" y="4"/>
                    <a:pt x="107" y="0"/>
                  </a:cubicBezTo>
                  <a:cubicBezTo>
                    <a:pt x="110" y="2"/>
                    <a:pt x="113" y="4"/>
                    <a:pt x="116" y="4"/>
                  </a:cubicBezTo>
                  <a:cubicBezTo>
                    <a:pt x="115" y="7"/>
                    <a:pt x="116" y="8"/>
                    <a:pt x="116" y="9"/>
                  </a:cubicBezTo>
                  <a:cubicBezTo>
                    <a:pt x="116" y="16"/>
                    <a:pt x="124" y="26"/>
                    <a:pt x="132" y="26"/>
                  </a:cubicBezTo>
                  <a:cubicBezTo>
                    <a:pt x="136" y="26"/>
                    <a:pt x="139" y="20"/>
                    <a:pt x="144" y="20"/>
                  </a:cubicBezTo>
                  <a:cubicBezTo>
                    <a:pt x="150" y="20"/>
                    <a:pt x="154" y="26"/>
                    <a:pt x="154" y="31"/>
                  </a:cubicBezTo>
                  <a:cubicBezTo>
                    <a:pt x="154" y="37"/>
                    <a:pt x="144" y="51"/>
                    <a:pt x="140" y="52"/>
                  </a:cubicBezTo>
                  <a:cubicBezTo>
                    <a:pt x="137" y="53"/>
                    <a:pt x="111" y="50"/>
                    <a:pt x="111" y="51"/>
                  </a:cubicBezTo>
                  <a:cubicBezTo>
                    <a:pt x="111" y="52"/>
                    <a:pt x="83" y="58"/>
                    <a:pt x="82" y="59"/>
                  </a:cubicBezTo>
                  <a:cubicBezTo>
                    <a:pt x="73" y="62"/>
                    <a:pt x="64" y="65"/>
                    <a:pt x="53" y="6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8" name="Freeform 57"/>
            <p:cNvSpPr/>
            <p:nvPr/>
          </p:nvSpPr>
          <p:spPr bwMode="auto">
            <a:xfrm>
              <a:off x="2382838" y="1260475"/>
              <a:ext cx="28575" cy="20638"/>
            </a:xfrm>
            <a:custGeom>
              <a:avLst/>
              <a:gdLst/>
              <a:ahLst/>
              <a:cxnLst>
                <a:cxn ang="0">
                  <a:pos x="8" y="16"/>
                </a:cxn>
                <a:cxn ang="0">
                  <a:pos x="0" y="11"/>
                </a:cxn>
                <a:cxn ang="0">
                  <a:pos x="21" y="0"/>
                </a:cxn>
                <a:cxn ang="0">
                  <a:pos x="8" y="16"/>
                </a:cxn>
              </a:cxnLst>
              <a:rect l="0" t="0" r="r" b="b"/>
              <a:pathLst>
                <a:path w="21" h="16">
                  <a:moveTo>
                    <a:pt x="8" y="16"/>
                  </a:moveTo>
                  <a:cubicBezTo>
                    <a:pt x="4" y="16"/>
                    <a:pt x="0" y="14"/>
                    <a:pt x="0" y="11"/>
                  </a:cubicBezTo>
                  <a:cubicBezTo>
                    <a:pt x="0" y="3"/>
                    <a:pt x="16" y="0"/>
                    <a:pt x="21" y="0"/>
                  </a:cubicBezTo>
                  <a:cubicBezTo>
                    <a:pt x="20" y="7"/>
                    <a:pt x="13" y="16"/>
                    <a:pt x="8" y="1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299" name="Freeform 58"/>
            <p:cNvSpPr/>
            <p:nvPr/>
          </p:nvSpPr>
          <p:spPr bwMode="auto">
            <a:xfrm>
              <a:off x="2457450" y="1230313"/>
              <a:ext cx="22225" cy="7938"/>
            </a:xfrm>
            <a:custGeom>
              <a:avLst/>
              <a:gdLst/>
              <a:ahLst/>
              <a:cxnLst>
                <a:cxn ang="0">
                  <a:pos x="6" y="6"/>
                </a:cxn>
                <a:cxn ang="0">
                  <a:pos x="0" y="0"/>
                </a:cxn>
                <a:cxn ang="0">
                  <a:pos x="16" y="0"/>
                </a:cxn>
                <a:cxn ang="0">
                  <a:pos x="16" y="6"/>
                </a:cxn>
                <a:cxn ang="0">
                  <a:pos x="6" y="6"/>
                </a:cxn>
              </a:cxnLst>
              <a:rect l="0" t="0" r="r" b="b"/>
              <a:pathLst>
                <a:path w="16" h="6">
                  <a:moveTo>
                    <a:pt x="6" y="6"/>
                  </a:moveTo>
                  <a:cubicBezTo>
                    <a:pt x="4" y="6"/>
                    <a:pt x="0" y="4"/>
                    <a:pt x="0" y="0"/>
                  </a:cubicBezTo>
                  <a:cubicBezTo>
                    <a:pt x="16" y="0"/>
                    <a:pt x="16" y="0"/>
                    <a:pt x="16" y="0"/>
                  </a:cubicBezTo>
                  <a:cubicBezTo>
                    <a:pt x="16" y="6"/>
                    <a:pt x="16" y="6"/>
                    <a:pt x="16" y="6"/>
                  </a:cubicBezTo>
                  <a:cubicBezTo>
                    <a:pt x="14" y="6"/>
                    <a:pt x="6" y="6"/>
                    <a:pt x="6" y="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0" name="Freeform 59"/>
            <p:cNvSpPr/>
            <p:nvPr/>
          </p:nvSpPr>
          <p:spPr bwMode="auto">
            <a:xfrm>
              <a:off x="2324100" y="1203325"/>
              <a:ext cx="117475" cy="65088"/>
            </a:xfrm>
            <a:custGeom>
              <a:avLst/>
              <a:gdLst/>
              <a:ahLst/>
              <a:cxnLst>
                <a:cxn ang="0">
                  <a:pos x="88" y="8"/>
                </a:cxn>
                <a:cxn ang="0">
                  <a:pos x="82" y="15"/>
                </a:cxn>
                <a:cxn ang="0">
                  <a:pos x="86" y="24"/>
                </a:cxn>
                <a:cxn ang="0">
                  <a:pos x="67" y="38"/>
                </a:cxn>
                <a:cxn ang="0">
                  <a:pos x="56" y="26"/>
                </a:cxn>
                <a:cxn ang="0">
                  <a:pos x="41" y="39"/>
                </a:cxn>
                <a:cxn ang="0">
                  <a:pos x="32" y="49"/>
                </a:cxn>
                <a:cxn ang="0">
                  <a:pos x="24" y="42"/>
                </a:cxn>
                <a:cxn ang="0">
                  <a:pos x="12" y="42"/>
                </a:cxn>
                <a:cxn ang="0">
                  <a:pos x="4" y="46"/>
                </a:cxn>
                <a:cxn ang="0">
                  <a:pos x="0" y="39"/>
                </a:cxn>
                <a:cxn ang="0">
                  <a:pos x="10" y="31"/>
                </a:cxn>
                <a:cxn ang="0">
                  <a:pos x="31" y="23"/>
                </a:cxn>
                <a:cxn ang="0">
                  <a:pos x="54" y="6"/>
                </a:cxn>
                <a:cxn ang="0">
                  <a:pos x="62" y="7"/>
                </a:cxn>
                <a:cxn ang="0">
                  <a:pos x="88" y="8"/>
                </a:cxn>
              </a:cxnLst>
              <a:rect l="0" t="0" r="r" b="b"/>
              <a:pathLst>
                <a:path w="88" h="49">
                  <a:moveTo>
                    <a:pt x="88" y="8"/>
                  </a:moveTo>
                  <a:cubicBezTo>
                    <a:pt x="88" y="11"/>
                    <a:pt x="86" y="14"/>
                    <a:pt x="82" y="15"/>
                  </a:cubicBezTo>
                  <a:cubicBezTo>
                    <a:pt x="83" y="19"/>
                    <a:pt x="86" y="20"/>
                    <a:pt x="86" y="24"/>
                  </a:cubicBezTo>
                  <a:cubicBezTo>
                    <a:pt x="67" y="38"/>
                    <a:pt x="67" y="38"/>
                    <a:pt x="67" y="38"/>
                  </a:cubicBezTo>
                  <a:cubicBezTo>
                    <a:pt x="60" y="38"/>
                    <a:pt x="60" y="28"/>
                    <a:pt x="56" y="26"/>
                  </a:cubicBezTo>
                  <a:cubicBezTo>
                    <a:pt x="55" y="33"/>
                    <a:pt x="48" y="40"/>
                    <a:pt x="41" y="39"/>
                  </a:cubicBezTo>
                  <a:cubicBezTo>
                    <a:pt x="40" y="44"/>
                    <a:pt x="37" y="49"/>
                    <a:pt x="32" y="49"/>
                  </a:cubicBezTo>
                  <a:cubicBezTo>
                    <a:pt x="28" y="49"/>
                    <a:pt x="25" y="44"/>
                    <a:pt x="24" y="42"/>
                  </a:cubicBezTo>
                  <a:cubicBezTo>
                    <a:pt x="19" y="45"/>
                    <a:pt x="16" y="42"/>
                    <a:pt x="12" y="42"/>
                  </a:cubicBezTo>
                  <a:cubicBezTo>
                    <a:pt x="9" y="42"/>
                    <a:pt x="8" y="45"/>
                    <a:pt x="4" y="46"/>
                  </a:cubicBezTo>
                  <a:cubicBezTo>
                    <a:pt x="4" y="43"/>
                    <a:pt x="0" y="41"/>
                    <a:pt x="0" y="39"/>
                  </a:cubicBezTo>
                  <a:cubicBezTo>
                    <a:pt x="0" y="38"/>
                    <a:pt x="8" y="32"/>
                    <a:pt x="10" y="31"/>
                  </a:cubicBezTo>
                  <a:cubicBezTo>
                    <a:pt x="17" y="28"/>
                    <a:pt x="23" y="27"/>
                    <a:pt x="31" y="23"/>
                  </a:cubicBezTo>
                  <a:cubicBezTo>
                    <a:pt x="39" y="18"/>
                    <a:pt x="41" y="6"/>
                    <a:pt x="54" y="6"/>
                  </a:cubicBezTo>
                  <a:cubicBezTo>
                    <a:pt x="57" y="6"/>
                    <a:pt x="58" y="7"/>
                    <a:pt x="62" y="7"/>
                  </a:cubicBezTo>
                  <a:cubicBezTo>
                    <a:pt x="62" y="7"/>
                    <a:pt x="88" y="0"/>
                    <a:pt x="88" y="8"/>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1" name="Freeform 60"/>
            <p:cNvSpPr/>
            <p:nvPr/>
          </p:nvSpPr>
          <p:spPr bwMode="auto">
            <a:xfrm>
              <a:off x="2481263" y="1162050"/>
              <a:ext cx="66675" cy="20638"/>
            </a:xfrm>
            <a:custGeom>
              <a:avLst/>
              <a:gdLst/>
              <a:ahLst/>
              <a:cxnLst>
                <a:cxn ang="0">
                  <a:pos x="20" y="15"/>
                </a:cxn>
                <a:cxn ang="0">
                  <a:pos x="9" y="12"/>
                </a:cxn>
                <a:cxn ang="0">
                  <a:pos x="0" y="15"/>
                </a:cxn>
                <a:cxn ang="0">
                  <a:pos x="32" y="0"/>
                </a:cxn>
                <a:cxn ang="0">
                  <a:pos x="50" y="11"/>
                </a:cxn>
                <a:cxn ang="0">
                  <a:pos x="39" y="15"/>
                </a:cxn>
                <a:cxn ang="0">
                  <a:pos x="20" y="15"/>
                </a:cxn>
              </a:cxnLst>
              <a:rect l="0" t="0" r="r" b="b"/>
              <a:pathLst>
                <a:path w="50" h="15">
                  <a:moveTo>
                    <a:pt x="20" y="15"/>
                  </a:moveTo>
                  <a:cubicBezTo>
                    <a:pt x="14" y="15"/>
                    <a:pt x="13" y="12"/>
                    <a:pt x="9" y="12"/>
                  </a:cubicBezTo>
                  <a:cubicBezTo>
                    <a:pt x="5" y="12"/>
                    <a:pt x="3" y="15"/>
                    <a:pt x="0" y="15"/>
                  </a:cubicBezTo>
                  <a:cubicBezTo>
                    <a:pt x="0" y="9"/>
                    <a:pt x="26" y="0"/>
                    <a:pt x="32" y="0"/>
                  </a:cubicBezTo>
                  <a:cubicBezTo>
                    <a:pt x="41" y="0"/>
                    <a:pt x="49" y="5"/>
                    <a:pt x="50" y="11"/>
                  </a:cubicBezTo>
                  <a:cubicBezTo>
                    <a:pt x="47" y="12"/>
                    <a:pt x="44" y="15"/>
                    <a:pt x="39" y="15"/>
                  </a:cubicBezTo>
                  <a:cubicBezTo>
                    <a:pt x="27" y="15"/>
                    <a:pt x="29" y="15"/>
                    <a:pt x="20" y="1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2" name="Freeform 61"/>
            <p:cNvSpPr/>
            <p:nvPr/>
          </p:nvSpPr>
          <p:spPr bwMode="auto">
            <a:xfrm>
              <a:off x="2482850" y="1185863"/>
              <a:ext cx="58738" cy="30163"/>
            </a:xfrm>
            <a:custGeom>
              <a:avLst/>
              <a:gdLst/>
              <a:ahLst/>
              <a:cxnLst>
                <a:cxn ang="0">
                  <a:pos x="38" y="10"/>
                </a:cxn>
                <a:cxn ang="0">
                  <a:pos x="14" y="23"/>
                </a:cxn>
                <a:cxn ang="0">
                  <a:pos x="0" y="11"/>
                </a:cxn>
                <a:cxn ang="0">
                  <a:pos x="36" y="0"/>
                </a:cxn>
                <a:cxn ang="0">
                  <a:pos x="44" y="5"/>
                </a:cxn>
                <a:cxn ang="0">
                  <a:pos x="25" y="10"/>
                </a:cxn>
                <a:cxn ang="0">
                  <a:pos x="38" y="10"/>
                </a:cxn>
              </a:cxnLst>
              <a:rect l="0" t="0" r="r" b="b"/>
              <a:pathLst>
                <a:path w="44" h="23">
                  <a:moveTo>
                    <a:pt x="38" y="10"/>
                  </a:moveTo>
                  <a:cubicBezTo>
                    <a:pt x="38" y="19"/>
                    <a:pt x="24" y="23"/>
                    <a:pt x="14" y="23"/>
                  </a:cubicBezTo>
                  <a:cubicBezTo>
                    <a:pt x="8" y="23"/>
                    <a:pt x="0" y="15"/>
                    <a:pt x="0" y="11"/>
                  </a:cubicBezTo>
                  <a:cubicBezTo>
                    <a:pt x="0" y="1"/>
                    <a:pt x="27" y="0"/>
                    <a:pt x="36" y="0"/>
                  </a:cubicBezTo>
                  <a:cubicBezTo>
                    <a:pt x="41" y="0"/>
                    <a:pt x="43" y="3"/>
                    <a:pt x="44" y="5"/>
                  </a:cubicBezTo>
                  <a:cubicBezTo>
                    <a:pt x="39" y="9"/>
                    <a:pt x="32" y="10"/>
                    <a:pt x="25" y="10"/>
                  </a:cubicBezTo>
                  <a:lnTo>
                    <a:pt x="38" y="10"/>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3" name="Freeform 62"/>
            <p:cNvSpPr/>
            <p:nvPr/>
          </p:nvSpPr>
          <p:spPr bwMode="auto">
            <a:xfrm>
              <a:off x="2454275" y="1181100"/>
              <a:ext cx="20638" cy="22225"/>
            </a:xfrm>
            <a:custGeom>
              <a:avLst/>
              <a:gdLst/>
              <a:ahLst/>
              <a:cxnLst>
                <a:cxn ang="0">
                  <a:pos x="15" y="12"/>
                </a:cxn>
                <a:cxn ang="0">
                  <a:pos x="9" y="17"/>
                </a:cxn>
                <a:cxn ang="0">
                  <a:pos x="0" y="11"/>
                </a:cxn>
                <a:cxn ang="0">
                  <a:pos x="15" y="12"/>
                </a:cxn>
              </a:cxnLst>
              <a:rect l="0" t="0" r="r" b="b"/>
              <a:pathLst>
                <a:path w="15" h="17">
                  <a:moveTo>
                    <a:pt x="15" y="12"/>
                  </a:moveTo>
                  <a:cubicBezTo>
                    <a:pt x="13" y="15"/>
                    <a:pt x="12" y="17"/>
                    <a:pt x="9" y="17"/>
                  </a:cubicBezTo>
                  <a:cubicBezTo>
                    <a:pt x="5" y="17"/>
                    <a:pt x="0" y="13"/>
                    <a:pt x="0" y="11"/>
                  </a:cubicBezTo>
                  <a:cubicBezTo>
                    <a:pt x="0" y="0"/>
                    <a:pt x="12" y="11"/>
                    <a:pt x="15" y="1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4" name="Freeform 63"/>
            <p:cNvSpPr/>
            <p:nvPr/>
          </p:nvSpPr>
          <p:spPr bwMode="auto">
            <a:xfrm>
              <a:off x="2671763" y="1335088"/>
              <a:ext cx="100013" cy="80963"/>
            </a:xfrm>
            <a:custGeom>
              <a:avLst/>
              <a:gdLst/>
              <a:ahLst/>
              <a:cxnLst>
                <a:cxn ang="0">
                  <a:pos x="66" y="23"/>
                </a:cxn>
                <a:cxn ang="0">
                  <a:pos x="65" y="30"/>
                </a:cxn>
                <a:cxn ang="0">
                  <a:pos x="75" y="32"/>
                </a:cxn>
                <a:cxn ang="0">
                  <a:pos x="57" y="55"/>
                </a:cxn>
                <a:cxn ang="0">
                  <a:pos x="49" y="61"/>
                </a:cxn>
                <a:cxn ang="0">
                  <a:pos x="39" y="54"/>
                </a:cxn>
                <a:cxn ang="0">
                  <a:pos x="0" y="30"/>
                </a:cxn>
                <a:cxn ang="0">
                  <a:pos x="0" y="23"/>
                </a:cxn>
                <a:cxn ang="0">
                  <a:pos x="20" y="28"/>
                </a:cxn>
                <a:cxn ang="0">
                  <a:pos x="27" y="28"/>
                </a:cxn>
                <a:cxn ang="0">
                  <a:pos x="27" y="16"/>
                </a:cxn>
                <a:cxn ang="0">
                  <a:pos x="12" y="11"/>
                </a:cxn>
                <a:cxn ang="0">
                  <a:pos x="16" y="7"/>
                </a:cxn>
                <a:cxn ang="0">
                  <a:pos x="42" y="2"/>
                </a:cxn>
                <a:cxn ang="0">
                  <a:pos x="60" y="2"/>
                </a:cxn>
                <a:cxn ang="0">
                  <a:pos x="64" y="6"/>
                </a:cxn>
                <a:cxn ang="0">
                  <a:pos x="50" y="22"/>
                </a:cxn>
                <a:cxn ang="0">
                  <a:pos x="66" y="23"/>
                </a:cxn>
              </a:cxnLst>
              <a:rect l="0" t="0" r="r" b="b"/>
              <a:pathLst>
                <a:path w="75" h="61">
                  <a:moveTo>
                    <a:pt x="66" y="23"/>
                  </a:moveTo>
                  <a:cubicBezTo>
                    <a:pt x="66" y="29"/>
                    <a:pt x="65" y="25"/>
                    <a:pt x="65" y="30"/>
                  </a:cubicBezTo>
                  <a:cubicBezTo>
                    <a:pt x="67" y="30"/>
                    <a:pt x="72" y="31"/>
                    <a:pt x="75" y="32"/>
                  </a:cubicBezTo>
                  <a:cubicBezTo>
                    <a:pt x="73" y="56"/>
                    <a:pt x="72" y="49"/>
                    <a:pt x="57" y="55"/>
                  </a:cubicBezTo>
                  <a:cubicBezTo>
                    <a:pt x="53" y="56"/>
                    <a:pt x="53" y="61"/>
                    <a:pt x="49" y="61"/>
                  </a:cubicBezTo>
                  <a:cubicBezTo>
                    <a:pt x="42" y="61"/>
                    <a:pt x="42" y="56"/>
                    <a:pt x="39" y="54"/>
                  </a:cubicBezTo>
                  <a:cubicBezTo>
                    <a:pt x="27" y="41"/>
                    <a:pt x="13" y="43"/>
                    <a:pt x="0" y="30"/>
                  </a:cubicBezTo>
                  <a:cubicBezTo>
                    <a:pt x="0" y="23"/>
                    <a:pt x="0" y="23"/>
                    <a:pt x="0" y="23"/>
                  </a:cubicBezTo>
                  <a:cubicBezTo>
                    <a:pt x="6" y="23"/>
                    <a:pt x="12" y="28"/>
                    <a:pt x="20" y="28"/>
                  </a:cubicBezTo>
                  <a:cubicBezTo>
                    <a:pt x="24" y="28"/>
                    <a:pt x="23" y="28"/>
                    <a:pt x="27" y="28"/>
                  </a:cubicBezTo>
                  <a:cubicBezTo>
                    <a:pt x="27" y="16"/>
                    <a:pt x="27" y="16"/>
                    <a:pt x="27" y="16"/>
                  </a:cubicBezTo>
                  <a:cubicBezTo>
                    <a:pt x="21" y="15"/>
                    <a:pt x="12" y="16"/>
                    <a:pt x="12" y="11"/>
                  </a:cubicBezTo>
                  <a:cubicBezTo>
                    <a:pt x="12" y="9"/>
                    <a:pt x="15" y="8"/>
                    <a:pt x="16" y="7"/>
                  </a:cubicBezTo>
                  <a:cubicBezTo>
                    <a:pt x="23" y="0"/>
                    <a:pt x="32" y="2"/>
                    <a:pt x="42" y="2"/>
                  </a:cubicBezTo>
                  <a:cubicBezTo>
                    <a:pt x="50" y="2"/>
                    <a:pt x="60" y="2"/>
                    <a:pt x="60" y="2"/>
                  </a:cubicBezTo>
                  <a:cubicBezTo>
                    <a:pt x="61" y="2"/>
                    <a:pt x="64" y="4"/>
                    <a:pt x="64" y="6"/>
                  </a:cubicBezTo>
                  <a:cubicBezTo>
                    <a:pt x="64" y="15"/>
                    <a:pt x="53" y="18"/>
                    <a:pt x="50" y="22"/>
                  </a:cubicBezTo>
                  <a:cubicBezTo>
                    <a:pt x="53" y="22"/>
                    <a:pt x="66" y="18"/>
                    <a:pt x="66" y="23"/>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5" name="Freeform 64"/>
            <p:cNvSpPr/>
            <p:nvPr/>
          </p:nvSpPr>
          <p:spPr bwMode="auto">
            <a:xfrm>
              <a:off x="2636838" y="1236663"/>
              <a:ext cx="111125" cy="60325"/>
            </a:xfrm>
            <a:custGeom>
              <a:avLst/>
              <a:gdLst/>
              <a:ahLst/>
              <a:cxnLst>
                <a:cxn ang="0">
                  <a:pos x="4" y="11"/>
                </a:cxn>
                <a:cxn ang="0">
                  <a:pos x="0" y="2"/>
                </a:cxn>
                <a:cxn ang="0">
                  <a:pos x="5" y="2"/>
                </a:cxn>
                <a:cxn ang="0">
                  <a:pos x="38" y="20"/>
                </a:cxn>
                <a:cxn ang="0">
                  <a:pos x="29" y="13"/>
                </a:cxn>
                <a:cxn ang="0">
                  <a:pos x="29" y="8"/>
                </a:cxn>
                <a:cxn ang="0">
                  <a:pos x="54" y="17"/>
                </a:cxn>
                <a:cxn ang="0">
                  <a:pos x="54" y="8"/>
                </a:cxn>
                <a:cxn ang="0">
                  <a:pos x="38" y="1"/>
                </a:cxn>
                <a:cxn ang="0">
                  <a:pos x="46" y="1"/>
                </a:cxn>
                <a:cxn ang="0">
                  <a:pos x="66" y="5"/>
                </a:cxn>
                <a:cxn ang="0">
                  <a:pos x="75" y="2"/>
                </a:cxn>
                <a:cxn ang="0">
                  <a:pos x="84" y="13"/>
                </a:cxn>
                <a:cxn ang="0">
                  <a:pos x="80" y="41"/>
                </a:cxn>
                <a:cxn ang="0">
                  <a:pos x="62" y="43"/>
                </a:cxn>
                <a:cxn ang="0">
                  <a:pos x="48" y="41"/>
                </a:cxn>
                <a:cxn ang="0">
                  <a:pos x="51" y="36"/>
                </a:cxn>
                <a:cxn ang="0">
                  <a:pos x="51" y="32"/>
                </a:cxn>
                <a:cxn ang="0">
                  <a:pos x="62" y="25"/>
                </a:cxn>
                <a:cxn ang="0">
                  <a:pos x="57" y="24"/>
                </a:cxn>
                <a:cxn ang="0">
                  <a:pos x="25" y="28"/>
                </a:cxn>
                <a:cxn ang="0">
                  <a:pos x="20" y="23"/>
                </a:cxn>
                <a:cxn ang="0">
                  <a:pos x="13" y="23"/>
                </a:cxn>
                <a:cxn ang="0">
                  <a:pos x="12" y="19"/>
                </a:cxn>
                <a:cxn ang="0">
                  <a:pos x="1" y="14"/>
                </a:cxn>
                <a:cxn ang="0">
                  <a:pos x="1" y="6"/>
                </a:cxn>
                <a:cxn ang="0">
                  <a:pos x="4" y="11"/>
                </a:cxn>
              </a:cxnLst>
              <a:rect l="0" t="0" r="r" b="b"/>
              <a:pathLst>
                <a:path w="84" h="45">
                  <a:moveTo>
                    <a:pt x="4" y="11"/>
                  </a:moveTo>
                  <a:cubicBezTo>
                    <a:pt x="2" y="9"/>
                    <a:pt x="0" y="6"/>
                    <a:pt x="0" y="2"/>
                  </a:cubicBezTo>
                  <a:cubicBezTo>
                    <a:pt x="1" y="2"/>
                    <a:pt x="3" y="2"/>
                    <a:pt x="5" y="2"/>
                  </a:cubicBezTo>
                  <a:cubicBezTo>
                    <a:pt x="18" y="2"/>
                    <a:pt x="24" y="24"/>
                    <a:pt x="38" y="20"/>
                  </a:cubicBezTo>
                  <a:cubicBezTo>
                    <a:pt x="35" y="18"/>
                    <a:pt x="31" y="15"/>
                    <a:pt x="29" y="13"/>
                  </a:cubicBezTo>
                  <a:cubicBezTo>
                    <a:pt x="29" y="8"/>
                    <a:pt x="29" y="8"/>
                    <a:pt x="29" y="8"/>
                  </a:cubicBezTo>
                  <a:cubicBezTo>
                    <a:pt x="39" y="8"/>
                    <a:pt x="43" y="17"/>
                    <a:pt x="54" y="17"/>
                  </a:cubicBezTo>
                  <a:cubicBezTo>
                    <a:pt x="54" y="8"/>
                    <a:pt x="54" y="8"/>
                    <a:pt x="54" y="8"/>
                  </a:cubicBezTo>
                  <a:cubicBezTo>
                    <a:pt x="46" y="8"/>
                    <a:pt x="40" y="8"/>
                    <a:pt x="38" y="1"/>
                  </a:cubicBezTo>
                  <a:cubicBezTo>
                    <a:pt x="41" y="0"/>
                    <a:pt x="43" y="1"/>
                    <a:pt x="46" y="1"/>
                  </a:cubicBezTo>
                  <a:cubicBezTo>
                    <a:pt x="53" y="1"/>
                    <a:pt x="58" y="5"/>
                    <a:pt x="66" y="5"/>
                  </a:cubicBezTo>
                  <a:cubicBezTo>
                    <a:pt x="69" y="5"/>
                    <a:pt x="71" y="2"/>
                    <a:pt x="75" y="2"/>
                  </a:cubicBezTo>
                  <a:cubicBezTo>
                    <a:pt x="83" y="2"/>
                    <a:pt x="84" y="6"/>
                    <a:pt x="84" y="13"/>
                  </a:cubicBezTo>
                  <a:cubicBezTo>
                    <a:pt x="84" y="23"/>
                    <a:pt x="78" y="28"/>
                    <a:pt x="80" y="41"/>
                  </a:cubicBezTo>
                  <a:cubicBezTo>
                    <a:pt x="73" y="43"/>
                    <a:pt x="64" y="43"/>
                    <a:pt x="62" y="43"/>
                  </a:cubicBezTo>
                  <a:cubicBezTo>
                    <a:pt x="60" y="43"/>
                    <a:pt x="48" y="45"/>
                    <a:pt x="48" y="41"/>
                  </a:cubicBezTo>
                  <a:cubicBezTo>
                    <a:pt x="48" y="39"/>
                    <a:pt x="50" y="37"/>
                    <a:pt x="51" y="36"/>
                  </a:cubicBezTo>
                  <a:cubicBezTo>
                    <a:pt x="51" y="35"/>
                    <a:pt x="51" y="33"/>
                    <a:pt x="51" y="32"/>
                  </a:cubicBezTo>
                  <a:cubicBezTo>
                    <a:pt x="51" y="28"/>
                    <a:pt x="60" y="28"/>
                    <a:pt x="62" y="25"/>
                  </a:cubicBezTo>
                  <a:cubicBezTo>
                    <a:pt x="61" y="24"/>
                    <a:pt x="59" y="24"/>
                    <a:pt x="57" y="24"/>
                  </a:cubicBezTo>
                  <a:cubicBezTo>
                    <a:pt x="49" y="24"/>
                    <a:pt x="34" y="28"/>
                    <a:pt x="25" y="28"/>
                  </a:cubicBezTo>
                  <a:cubicBezTo>
                    <a:pt x="22" y="28"/>
                    <a:pt x="20" y="26"/>
                    <a:pt x="20" y="23"/>
                  </a:cubicBezTo>
                  <a:cubicBezTo>
                    <a:pt x="13" y="23"/>
                    <a:pt x="13" y="23"/>
                    <a:pt x="13" y="23"/>
                  </a:cubicBezTo>
                  <a:cubicBezTo>
                    <a:pt x="12" y="19"/>
                    <a:pt x="12" y="19"/>
                    <a:pt x="12" y="19"/>
                  </a:cubicBezTo>
                  <a:cubicBezTo>
                    <a:pt x="7" y="20"/>
                    <a:pt x="4" y="17"/>
                    <a:pt x="1" y="14"/>
                  </a:cubicBezTo>
                  <a:cubicBezTo>
                    <a:pt x="1" y="6"/>
                    <a:pt x="1" y="6"/>
                    <a:pt x="1" y="6"/>
                  </a:cubicBezTo>
                  <a:lnTo>
                    <a:pt x="4" y="11"/>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6" name="Freeform 65"/>
            <p:cNvSpPr/>
            <p:nvPr/>
          </p:nvSpPr>
          <p:spPr bwMode="auto">
            <a:xfrm>
              <a:off x="2720975" y="1462088"/>
              <a:ext cx="65088" cy="38100"/>
            </a:xfrm>
            <a:custGeom>
              <a:avLst/>
              <a:gdLst/>
              <a:ahLst/>
              <a:cxnLst>
                <a:cxn ang="0">
                  <a:pos x="38" y="29"/>
                </a:cxn>
                <a:cxn ang="0">
                  <a:pos x="0" y="16"/>
                </a:cxn>
                <a:cxn ang="0">
                  <a:pos x="9" y="14"/>
                </a:cxn>
                <a:cxn ang="0">
                  <a:pos x="22" y="0"/>
                </a:cxn>
                <a:cxn ang="0">
                  <a:pos x="49" y="22"/>
                </a:cxn>
                <a:cxn ang="0">
                  <a:pos x="38" y="29"/>
                </a:cxn>
              </a:cxnLst>
              <a:rect l="0" t="0" r="r" b="b"/>
              <a:pathLst>
                <a:path w="49" h="29">
                  <a:moveTo>
                    <a:pt x="38" y="29"/>
                  </a:moveTo>
                  <a:cubicBezTo>
                    <a:pt x="32" y="29"/>
                    <a:pt x="0" y="17"/>
                    <a:pt x="0" y="16"/>
                  </a:cubicBezTo>
                  <a:cubicBezTo>
                    <a:pt x="0" y="12"/>
                    <a:pt x="8" y="14"/>
                    <a:pt x="9" y="14"/>
                  </a:cubicBezTo>
                  <a:cubicBezTo>
                    <a:pt x="15" y="12"/>
                    <a:pt x="13" y="0"/>
                    <a:pt x="22" y="0"/>
                  </a:cubicBezTo>
                  <a:cubicBezTo>
                    <a:pt x="28" y="0"/>
                    <a:pt x="46" y="16"/>
                    <a:pt x="49" y="22"/>
                  </a:cubicBezTo>
                  <a:cubicBezTo>
                    <a:pt x="45" y="25"/>
                    <a:pt x="43" y="29"/>
                    <a:pt x="38" y="2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7" name="Freeform 66"/>
            <p:cNvSpPr/>
            <p:nvPr/>
          </p:nvSpPr>
          <p:spPr bwMode="auto">
            <a:xfrm>
              <a:off x="2784475" y="1323975"/>
              <a:ext cx="85725" cy="69850"/>
            </a:xfrm>
            <a:custGeom>
              <a:avLst/>
              <a:gdLst/>
              <a:ahLst/>
              <a:cxnLst>
                <a:cxn ang="0">
                  <a:pos x="65" y="11"/>
                </a:cxn>
                <a:cxn ang="0">
                  <a:pos x="57" y="18"/>
                </a:cxn>
                <a:cxn ang="0">
                  <a:pos x="32" y="35"/>
                </a:cxn>
                <a:cxn ang="0">
                  <a:pos x="20" y="38"/>
                </a:cxn>
                <a:cxn ang="0">
                  <a:pos x="25" y="38"/>
                </a:cxn>
                <a:cxn ang="0">
                  <a:pos x="15" y="53"/>
                </a:cxn>
                <a:cxn ang="0">
                  <a:pos x="6" y="53"/>
                </a:cxn>
                <a:cxn ang="0">
                  <a:pos x="7" y="40"/>
                </a:cxn>
                <a:cxn ang="0">
                  <a:pos x="0" y="19"/>
                </a:cxn>
                <a:cxn ang="0">
                  <a:pos x="0" y="11"/>
                </a:cxn>
                <a:cxn ang="0">
                  <a:pos x="10" y="11"/>
                </a:cxn>
                <a:cxn ang="0">
                  <a:pos x="10" y="7"/>
                </a:cxn>
                <a:cxn ang="0">
                  <a:pos x="22" y="0"/>
                </a:cxn>
                <a:cxn ang="0">
                  <a:pos x="65" y="5"/>
                </a:cxn>
                <a:cxn ang="0">
                  <a:pos x="65" y="11"/>
                </a:cxn>
              </a:cxnLst>
              <a:rect l="0" t="0" r="r" b="b"/>
              <a:pathLst>
                <a:path w="65" h="53">
                  <a:moveTo>
                    <a:pt x="65" y="11"/>
                  </a:moveTo>
                  <a:cubicBezTo>
                    <a:pt x="65" y="12"/>
                    <a:pt x="57" y="18"/>
                    <a:pt x="57" y="18"/>
                  </a:cubicBezTo>
                  <a:cubicBezTo>
                    <a:pt x="51" y="26"/>
                    <a:pt x="45" y="35"/>
                    <a:pt x="32" y="35"/>
                  </a:cubicBezTo>
                  <a:cubicBezTo>
                    <a:pt x="22" y="35"/>
                    <a:pt x="22" y="30"/>
                    <a:pt x="20" y="38"/>
                  </a:cubicBezTo>
                  <a:cubicBezTo>
                    <a:pt x="25" y="38"/>
                    <a:pt x="25" y="38"/>
                    <a:pt x="25" y="38"/>
                  </a:cubicBezTo>
                  <a:cubicBezTo>
                    <a:pt x="24" y="46"/>
                    <a:pt x="21" y="48"/>
                    <a:pt x="15" y="53"/>
                  </a:cubicBezTo>
                  <a:cubicBezTo>
                    <a:pt x="6" y="53"/>
                    <a:pt x="6" y="53"/>
                    <a:pt x="6" y="53"/>
                  </a:cubicBezTo>
                  <a:cubicBezTo>
                    <a:pt x="6" y="47"/>
                    <a:pt x="6" y="42"/>
                    <a:pt x="7" y="40"/>
                  </a:cubicBezTo>
                  <a:cubicBezTo>
                    <a:pt x="0" y="33"/>
                    <a:pt x="3" y="27"/>
                    <a:pt x="0" y="19"/>
                  </a:cubicBezTo>
                  <a:cubicBezTo>
                    <a:pt x="0" y="11"/>
                    <a:pt x="0" y="11"/>
                    <a:pt x="0" y="11"/>
                  </a:cubicBezTo>
                  <a:cubicBezTo>
                    <a:pt x="3" y="11"/>
                    <a:pt x="8" y="11"/>
                    <a:pt x="10" y="11"/>
                  </a:cubicBezTo>
                  <a:cubicBezTo>
                    <a:pt x="9" y="11"/>
                    <a:pt x="10" y="8"/>
                    <a:pt x="10" y="7"/>
                  </a:cubicBezTo>
                  <a:cubicBezTo>
                    <a:pt x="10" y="6"/>
                    <a:pt x="13" y="0"/>
                    <a:pt x="22" y="0"/>
                  </a:cubicBezTo>
                  <a:cubicBezTo>
                    <a:pt x="37" y="0"/>
                    <a:pt x="49" y="5"/>
                    <a:pt x="65" y="5"/>
                  </a:cubicBezTo>
                  <a:cubicBezTo>
                    <a:pt x="65" y="8"/>
                    <a:pt x="65" y="9"/>
                    <a:pt x="65" y="1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8" name="Freeform 67"/>
            <p:cNvSpPr/>
            <p:nvPr/>
          </p:nvSpPr>
          <p:spPr bwMode="auto">
            <a:xfrm>
              <a:off x="2608263" y="1198563"/>
              <a:ext cx="28575" cy="23813"/>
            </a:xfrm>
            <a:custGeom>
              <a:avLst/>
              <a:gdLst/>
              <a:ahLst/>
              <a:cxnLst>
                <a:cxn ang="0">
                  <a:pos x="21" y="12"/>
                </a:cxn>
                <a:cxn ang="0">
                  <a:pos x="15" y="18"/>
                </a:cxn>
                <a:cxn ang="0">
                  <a:pos x="0" y="0"/>
                </a:cxn>
                <a:cxn ang="0">
                  <a:pos x="21" y="12"/>
                </a:cxn>
              </a:cxnLst>
              <a:rect l="0" t="0" r="r" b="b"/>
              <a:pathLst>
                <a:path w="21" h="18">
                  <a:moveTo>
                    <a:pt x="21" y="12"/>
                  </a:moveTo>
                  <a:cubicBezTo>
                    <a:pt x="21" y="16"/>
                    <a:pt x="18" y="18"/>
                    <a:pt x="15" y="18"/>
                  </a:cubicBezTo>
                  <a:cubicBezTo>
                    <a:pt x="10" y="18"/>
                    <a:pt x="0" y="6"/>
                    <a:pt x="0" y="0"/>
                  </a:cubicBezTo>
                  <a:cubicBezTo>
                    <a:pt x="11" y="0"/>
                    <a:pt x="12" y="9"/>
                    <a:pt x="21" y="1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09" name="Freeform 68"/>
            <p:cNvSpPr/>
            <p:nvPr/>
          </p:nvSpPr>
          <p:spPr bwMode="auto">
            <a:xfrm>
              <a:off x="2625725" y="1277938"/>
              <a:ext cx="19050" cy="15875"/>
            </a:xfrm>
            <a:custGeom>
              <a:avLst/>
              <a:gdLst/>
              <a:ahLst/>
              <a:cxnLst>
                <a:cxn ang="0">
                  <a:pos x="12" y="0"/>
                </a:cxn>
                <a:cxn ang="0">
                  <a:pos x="15" y="6"/>
                </a:cxn>
                <a:cxn ang="0">
                  <a:pos x="9" y="12"/>
                </a:cxn>
                <a:cxn ang="0">
                  <a:pos x="0" y="12"/>
                </a:cxn>
                <a:cxn ang="0">
                  <a:pos x="12" y="0"/>
                </a:cxn>
              </a:cxnLst>
              <a:rect l="0" t="0" r="r" b="b"/>
              <a:pathLst>
                <a:path w="15" h="12">
                  <a:moveTo>
                    <a:pt x="12" y="0"/>
                  </a:moveTo>
                  <a:cubicBezTo>
                    <a:pt x="13" y="2"/>
                    <a:pt x="15" y="3"/>
                    <a:pt x="15" y="6"/>
                  </a:cubicBezTo>
                  <a:cubicBezTo>
                    <a:pt x="15" y="12"/>
                    <a:pt x="11" y="12"/>
                    <a:pt x="9" y="12"/>
                  </a:cubicBezTo>
                  <a:cubicBezTo>
                    <a:pt x="4" y="12"/>
                    <a:pt x="3" y="11"/>
                    <a:pt x="0" y="12"/>
                  </a:cubicBezTo>
                  <a:cubicBezTo>
                    <a:pt x="2" y="4"/>
                    <a:pt x="6" y="2"/>
                    <a:pt x="12"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0" name="Freeform 69"/>
            <p:cNvSpPr/>
            <p:nvPr/>
          </p:nvSpPr>
          <p:spPr bwMode="auto">
            <a:xfrm>
              <a:off x="2614613" y="1139825"/>
              <a:ext cx="109538" cy="57150"/>
            </a:xfrm>
            <a:custGeom>
              <a:avLst/>
              <a:gdLst/>
              <a:ahLst/>
              <a:cxnLst>
                <a:cxn ang="0">
                  <a:pos x="54" y="32"/>
                </a:cxn>
                <a:cxn ang="0">
                  <a:pos x="33" y="30"/>
                </a:cxn>
                <a:cxn ang="0">
                  <a:pos x="19" y="29"/>
                </a:cxn>
                <a:cxn ang="0">
                  <a:pos x="7" y="25"/>
                </a:cxn>
                <a:cxn ang="0">
                  <a:pos x="20" y="20"/>
                </a:cxn>
                <a:cxn ang="0">
                  <a:pos x="20" y="15"/>
                </a:cxn>
                <a:cxn ang="0">
                  <a:pos x="5" y="15"/>
                </a:cxn>
                <a:cxn ang="0">
                  <a:pos x="8" y="10"/>
                </a:cxn>
                <a:cxn ang="0">
                  <a:pos x="0" y="3"/>
                </a:cxn>
                <a:cxn ang="0">
                  <a:pos x="14" y="0"/>
                </a:cxn>
                <a:cxn ang="0">
                  <a:pos x="31" y="8"/>
                </a:cxn>
                <a:cxn ang="0">
                  <a:pos x="40" y="4"/>
                </a:cxn>
                <a:cxn ang="0">
                  <a:pos x="53" y="15"/>
                </a:cxn>
                <a:cxn ang="0">
                  <a:pos x="60" y="11"/>
                </a:cxn>
                <a:cxn ang="0">
                  <a:pos x="73" y="21"/>
                </a:cxn>
                <a:cxn ang="0">
                  <a:pos x="70" y="26"/>
                </a:cxn>
                <a:cxn ang="0">
                  <a:pos x="82" y="37"/>
                </a:cxn>
                <a:cxn ang="0">
                  <a:pos x="74" y="43"/>
                </a:cxn>
                <a:cxn ang="0">
                  <a:pos x="54" y="32"/>
                </a:cxn>
              </a:cxnLst>
              <a:rect l="0" t="0" r="r" b="b"/>
              <a:pathLst>
                <a:path w="82" h="43">
                  <a:moveTo>
                    <a:pt x="54" y="32"/>
                  </a:moveTo>
                  <a:cubicBezTo>
                    <a:pt x="46" y="32"/>
                    <a:pt x="41" y="29"/>
                    <a:pt x="33" y="30"/>
                  </a:cubicBezTo>
                  <a:cubicBezTo>
                    <a:pt x="31" y="26"/>
                    <a:pt x="25" y="29"/>
                    <a:pt x="19" y="29"/>
                  </a:cubicBezTo>
                  <a:cubicBezTo>
                    <a:pt x="13" y="29"/>
                    <a:pt x="11" y="29"/>
                    <a:pt x="7" y="25"/>
                  </a:cubicBezTo>
                  <a:cubicBezTo>
                    <a:pt x="11" y="21"/>
                    <a:pt x="15" y="22"/>
                    <a:pt x="20" y="20"/>
                  </a:cubicBezTo>
                  <a:cubicBezTo>
                    <a:pt x="19" y="18"/>
                    <a:pt x="19" y="16"/>
                    <a:pt x="20" y="15"/>
                  </a:cubicBezTo>
                  <a:cubicBezTo>
                    <a:pt x="10" y="15"/>
                    <a:pt x="8" y="17"/>
                    <a:pt x="5" y="15"/>
                  </a:cubicBezTo>
                  <a:cubicBezTo>
                    <a:pt x="6" y="14"/>
                    <a:pt x="7" y="12"/>
                    <a:pt x="8" y="10"/>
                  </a:cubicBezTo>
                  <a:cubicBezTo>
                    <a:pt x="2" y="10"/>
                    <a:pt x="0" y="9"/>
                    <a:pt x="0" y="3"/>
                  </a:cubicBezTo>
                  <a:cubicBezTo>
                    <a:pt x="6" y="3"/>
                    <a:pt x="9" y="0"/>
                    <a:pt x="14" y="0"/>
                  </a:cubicBezTo>
                  <a:cubicBezTo>
                    <a:pt x="24" y="0"/>
                    <a:pt x="26" y="8"/>
                    <a:pt x="31" y="8"/>
                  </a:cubicBezTo>
                  <a:cubicBezTo>
                    <a:pt x="35" y="8"/>
                    <a:pt x="36" y="4"/>
                    <a:pt x="40" y="4"/>
                  </a:cubicBezTo>
                  <a:cubicBezTo>
                    <a:pt x="49" y="4"/>
                    <a:pt x="48" y="15"/>
                    <a:pt x="53" y="15"/>
                  </a:cubicBezTo>
                  <a:cubicBezTo>
                    <a:pt x="56" y="15"/>
                    <a:pt x="57" y="11"/>
                    <a:pt x="60" y="11"/>
                  </a:cubicBezTo>
                  <a:cubicBezTo>
                    <a:pt x="66" y="11"/>
                    <a:pt x="71" y="19"/>
                    <a:pt x="73" y="21"/>
                  </a:cubicBezTo>
                  <a:cubicBezTo>
                    <a:pt x="72" y="22"/>
                    <a:pt x="70" y="24"/>
                    <a:pt x="70" y="26"/>
                  </a:cubicBezTo>
                  <a:cubicBezTo>
                    <a:pt x="73" y="29"/>
                    <a:pt x="82" y="33"/>
                    <a:pt x="82" y="37"/>
                  </a:cubicBezTo>
                  <a:cubicBezTo>
                    <a:pt x="82" y="42"/>
                    <a:pt x="77" y="43"/>
                    <a:pt x="74" y="43"/>
                  </a:cubicBezTo>
                  <a:cubicBezTo>
                    <a:pt x="63" y="43"/>
                    <a:pt x="64" y="32"/>
                    <a:pt x="54" y="3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1" name="Freeform 70"/>
            <p:cNvSpPr/>
            <p:nvPr/>
          </p:nvSpPr>
          <p:spPr bwMode="auto">
            <a:xfrm>
              <a:off x="2657475" y="1189038"/>
              <a:ext cx="30163" cy="9525"/>
            </a:xfrm>
            <a:custGeom>
              <a:avLst/>
              <a:gdLst/>
              <a:ahLst/>
              <a:cxnLst>
                <a:cxn ang="0">
                  <a:pos x="8" y="7"/>
                </a:cxn>
                <a:cxn ang="0">
                  <a:pos x="12" y="0"/>
                </a:cxn>
                <a:cxn ang="0">
                  <a:pos x="23" y="4"/>
                </a:cxn>
                <a:cxn ang="0">
                  <a:pos x="8" y="7"/>
                </a:cxn>
              </a:cxnLst>
              <a:rect l="0" t="0" r="r" b="b"/>
              <a:pathLst>
                <a:path w="23" h="7">
                  <a:moveTo>
                    <a:pt x="8" y="7"/>
                  </a:moveTo>
                  <a:cubicBezTo>
                    <a:pt x="0" y="7"/>
                    <a:pt x="11" y="0"/>
                    <a:pt x="12" y="0"/>
                  </a:cubicBezTo>
                  <a:cubicBezTo>
                    <a:pt x="17" y="0"/>
                    <a:pt x="19" y="3"/>
                    <a:pt x="23" y="4"/>
                  </a:cubicBezTo>
                  <a:cubicBezTo>
                    <a:pt x="20" y="7"/>
                    <a:pt x="15" y="7"/>
                    <a:pt x="8" y="7"/>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2" name="Freeform 71"/>
            <p:cNvSpPr/>
            <p:nvPr/>
          </p:nvSpPr>
          <p:spPr bwMode="auto">
            <a:xfrm>
              <a:off x="2765425" y="1223963"/>
              <a:ext cx="287338" cy="90488"/>
            </a:xfrm>
            <a:custGeom>
              <a:avLst/>
              <a:gdLst/>
              <a:ahLst/>
              <a:cxnLst>
                <a:cxn ang="0">
                  <a:pos x="215" y="45"/>
                </a:cxn>
                <a:cxn ang="0">
                  <a:pos x="210" y="51"/>
                </a:cxn>
                <a:cxn ang="0">
                  <a:pos x="216" y="52"/>
                </a:cxn>
                <a:cxn ang="0">
                  <a:pos x="179" y="67"/>
                </a:cxn>
                <a:cxn ang="0">
                  <a:pos x="170" y="60"/>
                </a:cxn>
                <a:cxn ang="0">
                  <a:pos x="159" y="66"/>
                </a:cxn>
                <a:cxn ang="0">
                  <a:pos x="124" y="66"/>
                </a:cxn>
                <a:cxn ang="0">
                  <a:pos x="102" y="60"/>
                </a:cxn>
                <a:cxn ang="0">
                  <a:pos x="97" y="60"/>
                </a:cxn>
                <a:cxn ang="0">
                  <a:pos x="84" y="67"/>
                </a:cxn>
                <a:cxn ang="0">
                  <a:pos x="53" y="47"/>
                </a:cxn>
                <a:cxn ang="0">
                  <a:pos x="58" y="40"/>
                </a:cxn>
                <a:cxn ang="0">
                  <a:pos x="40" y="18"/>
                </a:cxn>
                <a:cxn ang="0">
                  <a:pos x="32" y="22"/>
                </a:cxn>
                <a:cxn ang="0">
                  <a:pos x="0" y="7"/>
                </a:cxn>
                <a:cxn ang="0">
                  <a:pos x="13" y="0"/>
                </a:cxn>
                <a:cxn ang="0">
                  <a:pos x="51" y="15"/>
                </a:cxn>
                <a:cxn ang="0">
                  <a:pos x="60" y="12"/>
                </a:cxn>
                <a:cxn ang="0">
                  <a:pos x="68" y="12"/>
                </a:cxn>
                <a:cxn ang="0">
                  <a:pos x="89" y="25"/>
                </a:cxn>
                <a:cxn ang="0">
                  <a:pos x="71" y="25"/>
                </a:cxn>
                <a:cxn ang="0">
                  <a:pos x="91" y="35"/>
                </a:cxn>
                <a:cxn ang="0">
                  <a:pos x="88" y="38"/>
                </a:cxn>
                <a:cxn ang="0">
                  <a:pos x="95" y="40"/>
                </a:cxn>
                <a:cxn ang="0">
                  <a:pos x="125" y="45"/>
                </a:cxn>
                <a:cxn ang="0">
                  <a:pos x="181" y="34"/>
                </a:cxn>
                <a:cxn ang="0">
                  <a:pos x="216" y="46"/>
                </a:cxn>
                <a:cxn ang="0">
                  <a:pos x="211" y="47"/>
                </a:cxn>
                <a:cxn ang="0">
                  <a:pos x="215" y="45"/>
                </a:cxn>
              </a:cxnLst>
              <a:rect l="0" t="0" r="r" b="b"/>
              <a:pathLst>
                <a:path w="216" h="68">
                  <a:moveTo>
                    <a:pt x="215" y="45"/>
                  </a:moveTo>
                  <a:cubicBezTo>
                    <a:pt x="213" y="46"/>
                    <a:pt x="211" y="48"/>
                    <a:pt x="210" y="51"/>
                  </a:cubicBezTo>
                  <a:cubicBezTo>
                    <a:pt x="213" y="52"/>
                    <a:pt x="216" y="52"/>
                    <a:pt x="216" y="52"/>
                  </a:cubicBezTo>
                  <a:cubicBezTo>
                    <a:pt x="215" y="67"/>
                    <a:pt x="195" y="67"/>
                    <a:pt x="179" y="67"/>
                  </a:cubicBezTo>
                  <a:cubicBezTo>
                    <a:pt x="174" y="67"/>
                    <a:pt x="171" y="64"/>
                    <a:pt x="170" y="60"/>
                  </a:cubicBezTo>
                  <a:cubicBezTo>
                    <a:pt x="164" y="61"/>
                    <a:pt x="163" y="64"/>
                    <a:pt x="159" y="66"/>
                  </a:cubicBezTo>
                  <a:cubicBezTo>
                    <a:pt x="124" y="66"/>
                    <a:pt x="124" y="66"/>
                    <a:pt x="124" y="66"/>
                  </a:cubicBezTo>
                  <a:cubicBezTo>
                    <a:pt x="115" y="68"/>
                    <a:pt x="101" y="67"/>
                    <a:pt x="102" y="60"/>
                  </a:cubicBezTo>
                  <a:cubicBezTo>
                    <a:pt x="97" y="60"/>
                    <a:pt x="97" y="60"/>
                    <a:pt x="97" y="60"/>
                  </a:cubicBezTo>
                  <a:cubicBezTo>
                    <a:pt x="95" y="62"/>
                    <a:pt x="88" y="67"/>
                    <a:pt x="84" y="67"/>
                  </a:cubicBezTo>
                  <a:cubicBezTo>
                    <a:pt x="75" y="67"/>
                    <a:pt x="53" y="56"/>
                    <a:pt x="53" y="47"/>
                  </a:cubicBezTo>
                  <a:cubicBezTo>
                    <a:pt x="53" y="44"/>
                    <a:pt x="56" y="41"/>
                    <a:pt x="58" y="40"/>
                  </a:cubicBezTo>
                  <a:cubicBezTo>
                    <a:pt x="50" y="32"/>
                    <a:pt x="48" y="25"/>
                    <a:pt x="40" y="18"/>
                  </a:cubicBezTo>
                  <a:cubicBezTo>
                    <a:pt x="38" y="20"/>
                    <a:pt x="35" y="22"/>
                    <a:pt x="32" y="22"/>
                  </a:cubicBezTo>
                  <a:cubicBezTo>
                    <a:pt x="27" y="22"/>
                    <a:pt x="0" y="11"/>
                    <a:pt x="0" y="7"/>
                  </a:cubicBezTo>
                  <a:cubicBezTo>
                    <a:pt x="0" y="0"/>
                    <a:pt x="8" y="0"/>
                    <a:pt x="13" y="0"/>
                  </a:cubicBezTo>
                  <a:cubicBezTo>
                    <a:pt x="33" y="0"/>
                    <a:pt x="36" y="15"/>
                    <a:pt x="51" y="15"/>
                  </a:cubicBezTo>
                  <a:cubicBezTo>
                    <a:pt x="56" y="15"/>
                    <a:pt x="58" y="15"/>
                    <a:pt x="60" y="12"/>
                  </a:cubicBezTo>
                  <a:cubicBezTo>
                    <a:pt x="63" y="12"/>
                    <a:pt x="68" y="12"/>
                    <a:pt x="68" y="12"/>
                  </a:cubicBezTo>
                  <a:cubicBezTo>
                    <a:pt x="65" y="22"/>
                    <a:pt x="85" y="19"/>
                    <a:pt x="89" y="25"/>
                  </a:cubicBezTo>
                  <a:cubicBezTo>
                    <a:pt x="71" y="25"/>
                    <a:pt x="71" y="25"/>
                    <a:pt x="71" y="25"/>
                  </a:cubicBezTo>
                  <a:cubicBezTo>
                    <a:pt x="74" y="37"/>
                    <a:pt x="85" y="30"/>
                    <a:pt x="91" y="35"/>
                  </a:cubicBezTo>
                  <a:cubicBezTo>
                    <a:pt x="90" y="36"/>
                    <a:pt x="88" y="36"/>
                    <a:pt x="88" y="38"/>
                  </a:cubicBezTo>
                  <a:cubicBezTo>
                    <a:pt x="88" y="44"/>
                    <a:pt x="93" y="41"/>
                    <a:pt x="95" y="40"/>
                  </a:cubicBezTo>
                  <a:cubicBezTo>
                    <a:pt x="106" y="42"/>
                    <a:pt x="114" y="45"/>
                    <a:pt x="125" y="45"/>
                  </a:cubicBezTo>
                  <a:cubicBezTo>
                    <a:pt x="150" y="45"/>
                    <a:pt x="158" y="34"/>
                    <a:pt x="181" y="34"/>
                  </a:cubicBezTo>
                  <a:cubicBezTo>
                    <a:pt x="198" y="34"/>
                    <a:pt x="210" y="35"/>
                    <a:pt x="216" y="46"/>
                  </a:cubicBezTo>
                  <a:cubicBezTo>
                    <a:pt x="215" y="47"/>
                    <a:pt x="213" y="47"/>
                    <a:pt x="211" y="47"/>
                  </a:cubicBezTo>
                  <a:lnTo>
                    <a:pt x="215" y="45"/>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3" name="Freeform 72"/>
            <p:cNvSpPr/>
            <p:nvPr/>
          </p:nvSpPr>
          <p:spPr bwMode="auto">
            <a:xfrm>
              <a:off x="2768600" y="1271588"/>
              <a:ext cx="49213" cy="38100"/>
            </a:xfrm>
            <a:custGeom>
              <a:avLst/>
              <a:gdLst/>
              <a:ahLst/>
              <a:cxnLst>
                <a:cxn ang="0">
                  <a:pos x="6" y="10"/>
                </a:cxn>
                <a:cxn ang="0">
                  <a:pos x="19" y="0"/>
                </a:cxn>
                <a:cxn ang="0">
                  <a:pos x="37" y="15"/>
                </a:cxn>
                <a:cxn ang="0">
                  <a:pos x="29" y="29"/>
                </a:cxn>
                <a:cxn ang="0">
                  <a:pos x="0" y="17"/>
                </a:cxn>
                <a:cxn ang="0">
                  <a:pos x="6" y="10"/>
                </a:cxn>
              </a:cxnLst>
              <a:rect l="0" t="0" r="r" b="b"/>
              <a:pathLst>
                <a:path w="37" h="29">
                  <a:moveTo>
                    <a:pt x="6" y="10"/>
                  </a:moveTo>
                  <a:cubicBezTo>
                    <a:pt x="10" y="10"/>
                    <a:pt x="9" y="0"/>
                    <a:pt x="19" y="0"/>
                  </a:cubicBezTo>
                  <a:cubicBezTo>
                    <a:pt x="27" y="0"/>
                    <a:pt x="37" y="9"/>
                    <a:pt x="37" y="15"/>
                  </a:cubicBezTo>
                  <a:cubicBezTo>
                    <a:pt x="37" y="22"/>
                    <a:pt x="35" y="29"/>
                    <a:pt x="29" y="29"/>
                  </a:cubicBezTo>
                  <a:cubicBezTo>
                    <a:pt x="25" y="29"/>
                    <a:pt x="0" y="17"/>
                    <a:pt x="0" y="17"/>
                  </a:cubicBezTo>
                  <a:cubicBezTo>
                    <a:pt x="0" y="13"/>
                    <a:pt x="5" y="10"/>
                    <a:pt x="6" y="1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4" name="Freeform 73"/>
            <p:cNvSpPr/>
            <p:nvPr/>
          </p:nvSpPr>
          <p:spPr bwMode="auto">
            <a:xfrm>
              <a:off x="2774950" y="1198563"/>
              <a:ext cx="46038" cy="12700"/>
            </a:xfrm>
            <a:custGeom>
              <a:avLst/>
              <a:gdLst/>
              <a:ahLst/>
              <a:cxnLst>
                <a:cxn ang="0">
                  <a:pos x="29" y="0"/>
                </a:cxn>
                <a:cxn ang="0">
                  <a:pos x="35" y="0"/>
                </a:cxn>
                <a:cxn ang="0">
                  <a:pos x="35" y="6"/>
                </a:cxn>
                <a:cxn ang="0">
                  <a:pos x="28" y="10"/>
                </a:cxn>
                <a:cxn ang="0">
                  <a:pos x="0" y="5"/>
                </a:cxn>
                <a:cxn ang="0">
                  <a:pos x="29" y="0"/>
                </a:cxn>
              </a:cxnLst>
              <a:rect l="0" t="0" r="r" b="b"/>
              <a:pathLst>
                <a:path w="35" h="10">
                  <a:moveTo>
                    <a:pt x="29" y="0"/>
                  </a:moveTo>
                  <a:cubicBezTo>
                    <a:pt x="34" y="0"/>
                    <a:pt x="30" y="1"/>
                    <a:pt x="35" y="0"/>
                  </a:cubicBezTo>
                  <a:cubicBezTo>
                    <a:pt x="35" y="3"/>
                    <a:pt x="35" y="5"/>
                    <a:pt x="35" y="6"/>
                  </a:cubicBezTo>
                  <a:cubicBezTo>
                    <a:pt x="35" y="8"/>
                    <a:pt x="32" y="10"/>
                    <a:pt x="28" y="10"/>
                  </a:cubicBezTo>
                  <a:cubicBezTo>
                    <a:pt x="26" y="10"/>
                    <a:pt x="0" y="5"/>
                    <a:pt x="0" y="5"/>
                  </a:cubicBezTo>
                  <a:cubicBezTo>
                    <a:pt x="5" y="1"/>
                    <a:pt x="21" y="0"/>
                    <a:pt x="29"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5" name="Freeform 74"/>
            <p:cNvSpPr/>
            <p:nvPr/>
          </p:nvSpPr>
          <p:spPr bwMode="auto">
            <a:xfrm>
              <a:off x="2740025" y="1154113"/>
              <a:ext cx="53975" cy="44450"/>
            </a:xfrm>
            <a:custGeom>
              <a:avLst/>
              <a:gdLst/>
              <a:ahLst/>
              <a:cxnLst>
                <a:cxn ang="0">
                  <a:pos x="10" y="28"/>
                </a:cxn>
                <a:cxn ang="0">
                  <a:pos x="14" y="23"/>
                </a:cxn>
                <a:cxn ang="0">
                  <a:pos x="0" y="7"/>
                </a:cxn>
                <a:cxn ang="0">
                  <a:pos x="10" y="0"/>
                </a:cxn>
                <a:cxn ang="0">
                  <a:pos x="25" y="7"/>
                </a:cxn>
                <a:cxn ang="0">
                  <a:pos x="41" y="17"/>
                </a:cxn>
                <a:cxn ang="0">
                  <a:pos x="41" y="28"/>
                </a:cxn>
                <a:cxn ang="0">
                  <a:pos x="10" y="28"/>
                </a:cxn>
              </a:cxnLst>
              <a:rect l="0" t="0" r="r" b="b"/>
              <a:pathLst>
                <a:path w="41" h="33">
                  <a:moveTo>
                    <a:pt x="10" y="28"/>
                  </a:moveTo>
                  <a:cubicBezTo>
                    <a:pt x="10" y="26"/>
                    <a:pt x="13" y="24"/>
                    <a:pt x="14" y="23"/>
                  </a:cubicBezTo>
                  <a:cubicBezTo>
                    <a:pt x="9" y="18"/>
                    <a:pt x="0" y="15"/>
                    <a:pt x="0" y="7"/>
                  </a:cubicBezTo>
                  <a:cubicBezTo>
                    <a:pt x="0" y="2"/>
                    <a:pt x="6" y="0"/>
                    <a:pt x="10" y="0"/>
                  </a:cubicBezTo>
                  <a:cubicBezTo>
                    <a:pt x="11" y="4"/>
                    <a:pt x="21" y="7"/>
                    <a:pt x="25" y="7"/>
                  </a:cubicBezTo>
                  <a:cubicBezTo>
                    <a:pt x="25" y="17"/>
                    <a:pt x="41" y="7"/>
                    <a:pt x="41" y="17"/>
                  </a:cubicBezTo>
                  <a:cubicBezTo>
                    <a:pt x="41" y="20"/>
                    <a:pt x="39" y="23"/>
                    <a:pt x="41" y="28"/>
                  </a:cubicBezTo>
                  <a:cubicBezTo>
                    <a:pt x="25" y="31"/>
                    <a:pt x="10" y="33"/>
                    <a:pt x="10" y="28"/>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6" name="Freeform 75"/>
            <p:cNvSpPr/>
            <p:nvPr/>
          </p:nvSpPr>
          <p:spPr bwMode="auto">
            <a:xfrm>
              <a:off x="2719388" y="1114425"/>
              <a:ext cx="20638" cy="12700"/>
            </a:xfrm>
            <a:custGeom>
              <a:avLst/>
              <a:gdLst/>
              <a:ahLst/>
              <a:cxnLst>
                <a:cxn ang="0">
                  <a:pos x="16" y="0"/>
                </a:cxn>
                <a:cxn ang="0">
                  <a:pos x="16" y="9"/>
                </a:cxn>
                <a:cxn ang="0">
                  <a:pos x="8" y="9"/>
                </a:cxn>
                <a:cxn ang="0">
                  <a:pos x="0" y="0"/>
                </a:cxn>
                <a:cxn ang="0">
                  <a:pos x="16" y="0"/>
                </a:cxn>
              </a:cxnLst>
              <a:rect l="0" t="0" r="r" b="b"/>
              <a:pathLst>
                <a:path w="16" h="9">
                  <a:moveTo>
                    <a:pt x="16" y="0"/>
                  </a:moveTo>
                  <a:cubicBezTo>
                    <a:pt x="16" y="9"/>
                    <a:pt x="16" y="9"/>
                    <a:pt x="16" y="9"/>
                  </a:cubicBezTo>
                  <a:cubicBezTo>
                    <a:pt x="8" y="9"/>
                    <a:pt x="8" y="9"/>
                    <a:pt x="8" y="9"/>
                  </a:cubicBezTo>
                  <a:cubicBezTo>
                    <a:pt x="6" y="7"/>
                    <a:pt x="0" y="6"/>
                    <a:pt x="0" y="0"/>
                  </a:cubicBezTo>
                  <a:cubicBezTo>
                    <a:pt x="6" y="0"/>
                    <a:pt x="13" y="0"/>
                    <a:pt x="16"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7" name="Freeform 76"/>
            <p:cNvSpPr/>
            <p:nvPr/>
          </p:nvSpPr>
          <p:spPr bwMode="auto">
            <a:xfrm>
              <a:off x="2776538" y="1062038"/>
              <a:ext cx="184150" cy="123825"/>
            </a:xfrm>
            <a:custGeom>
              <a:avLst/>
              <a:gdLst/>
              <a:ahLst/>
              <a:cxnLst>
                <a:cxn ang="0">
                  <a:pos x="92" y="37"/>
                </a:cxn>
                <a:cxn ang="0">
                  <a:pos x="97" y="37"/>
                </a:cxn>
                <a:cxn ang="0">
                  <a:pos x="97" y="32"/>
                </a:cxn>
                <a:cxn ang="0">
                  <a:pos x="95" y="28"/>
                </a:cxn>
                <a:cxn ang="0">
                  <a:pos x="100" y="28"/>
                </a:cxn>
                <a:cxn ang="0">
                  <a:pos x="105" y="36"/>
                </a:cxn>
                <a:cxn ang="0">
                  <a:pos x="111" y="43"/>
                </a:cxn>
                <a:cxn ang="0">
                  <a:pos x="108" y="49"/>
                </a:cxn>
                <a:cxn ang="0">
                  <a:pos x="115" y="49"/>
                </a:cxn>
                <a:cxn ang="0">
                  <a:pos x="137" y="55"/>
                </a:cxn>
                <a:cxn ang="0">
                  <a:pos x="136" y="61"/>
                </a:cxn>
                <a:cxn ang="0">
                  <a:pos x="126" y="64"/>
                </a:cxn>
                <a:cxn ang="0">
                  <a:pos x="105" y="78"/>
                </a:cxn>
                <a:cxn ang="0">
                  <a:pos x="98" y="69"/>
                </a:cxn>
                <a:cxn ang="0">
                  <a:pos x="93" y="76"/>
                </a:cxn>
                <a:cxn ang="0">
                  <a:pos x="99" y="84"/>
                </a:cxn>
                <a:cxn ang="0">
                  <a:pos x="91" y="84"/>
                </a:cxn>
                <a:cxn ang="0">
                  <a:pos x="91" y="90"/>
                </a:cxn>
                <a:cxn ang="0">
                  <a:pos x="75" y="82"/>
                </a:cxn>
                <a:cxn ang="0">
                  <a:pos x="64" y="92"/>
                </a:cxn>
                <a:cxn ang="0">
                  <a:pos x="47" y="84"/>
                </a:cxn>
                <a:cxn ang="0">
                  <a:pos x="53" y="81"/>
                </a:cxn>
                <a:cxn ang="0">
                  <a:pos x="33" y="70"/>
                </a:cxn>
                <a:cxn ang="0">
                  <a:pos x="66" y="61"/>
                </a:cxn>
                <a:cxn ang="0">
                  <a:pos x="48" y="58"/>
                </a:cxn>
                <a:cxn ang="0">
                  <a:pos x="35" y="61"/>
                </a:cxn>
                <a:cxn ang="0">
                  <a:pos x="29" y="56"/>
                </a:cxn>
                <a:cxn ang="0">
                  <a:pos x="19" y="59"/>
                </a:cxn>
                <a:cxn ang="0">
                  <a:pos x="16" y="55"/>
                </a:cxn>
                <a:cxn ang="0">
                  <a:pos x="26" y="49"/>
                </a:cxn>
                <a:cxn ang="0">
                  <a:pos x="0" y="35"/>
                </a:cxn>
                <a:cxn ang="0">
                  <a:pos x="7" y="35"/>
                </a:cxn>
                <a:cxn ang="0">
                  <a:pos x="20" y="39"/>
                </a:cxn>
                <a:cxn ang="0">
                  <a:pos x="24" y="36"/>
                </a:cxn>
                <a:cxn ang="0">
                  <a:pos x="5" y="26"/>
                </a:cxn>
                <a:cxn ang="0">
                  <a:pos x="15" y="22"/>
                </a:cxn>
                <a:cxn ang="0">
                  <a:pos x="27" y="25"/>
                </a:cxn>
                <a:cxn ang="0">
                  <a:pos x="32" y="20"/>
                </a:cxn>
                <a:cxn ang="0">
                  <a:pos x="19" y="20"/>
                </a:cxn>
                <a:cxn ang="0">
                  <a:pos x="14" y="13"/>
                </a:cxn>
                <a:cxn ang="0">
                  <a:pos x="30" y="9"/>
                </a:cxn>
                <a:cxn ang="0">
                  <a:pos x="38" y="9"/>
                </a:cxn>
                <a:cxn ang="0">
                  <a:pos x="25" y="0"/>
                </a:cxn>
                <a:cxn ang="0">
                  <a:pos x="53" y="5"/>
                </a:cxn>
                <a:cxn ang="0">
                  <a:pos x="67" y="24"/>
                </a:cxn>
                <a:cxn ang="0">
                  <a:pos x="84" y="25"/>
                </a:cxn>
                <a:cxn ang="0">
                  <a:pos x="92" y="37"/>
                </a:cxn>
              </a:cxnLst>
              <a:rect l="0" t="0" r="r" b="b"/>
              <a:pathLst>
                <a:path w="138" h="92">
                  <a:moveTo>
                    <a:pt x="92" y="37"/>
                  </a:moveTo>
                  <a:cubicBezTo>
                    <a:pt x="97" y="37"/>
                    <a:pt x="97" y="37"/>
                    <a:pt x="97" y="37"/>
                  </a:cubicBezTo>
                  <a:cubicBezTo>
                    <a:pt x="97" y="32"/>
                    <a:pt x="97" y="32"/>
                    <a:pt x="97" y="32"/>
                  </a:cubicBezTo>
                  <a:cubicBezTo>
                    <a:pt x="95" y="28"/>
                    <a:pt x="95" y="28"/>
                    <a:pt x="95" y="28"/>
                  </a:cubicBezTo>
                  <a:cubicBezTo>
                    <a:pt x="97" y="28"/>
                    <a:pt x="98" y="28"/>
                    <a:pt x="100" y="28"/>
                  </a:cubicBezTo>
                  <a:cubicBezTo>
                    <a:pt x="106" y="28"/>
                    <a:pt x="105" y="31"/>
                    <a:pt x="105" y="36"/>
                  </a:cubicBezTo>
                  <a:cubicBezTo>
                    <a:pt x="105" y="39"/>
                    <a:pt x="111" y="39"/>
                    <a:pt x="111" y="43"/>
                  </a:cubicBezTo>
                  <a:cubicBezTo>
                    <a:pt x="111" y="46"/>
                    <a:pt x="108" y="46"/>
                    <a:pt x="108" y="49"/>
                  </a:cubicBezTo>
                  <a:cubicBezTo>
                    <a:pt x="108" y="53"/>
                    <a:pt x="114" y="49"/>
                    <a:pt x="115" y="49"/>
                  </a:cubicBezTo>
                  <a:cubicBezTo>
                    <a:pt x="120" y="49"/>
                    <a:pt x="131" y="54"/>
                    <a:pt x="137" y="55"/>
                  </a:cubicBezTo>
                  <a:cubicBezTo>
                    <a:pt x="137" y="58"/>
                    <a:pt x="138" y="60"/>
                    <a:pt x="136" y="61"/>
                  </a:cubicBezTo>
                  <a:cubicBezTo>
                    <a:pt x="135" y="64"/>
                    <a:pt x="130" y="63"/>
                    <a:pt x="126" y="64"/>
                  </a:cubicBezTo>
                  <a:cubicBezTo>
                    <a:pt x="117" y="65"/>
                    <a:pt x="111" y="78"/>
                    <a:pt x="105" y="78"/>
                  </a:cubicBezTo>
                  <a:cubicBezTo>
                    <a:pt x="100" y="78"/>
                    <a:pt x="100" y="74"/>
                    <a:pt x="98" y="69"/>
                  </a:cubicBezTo>
                  <a:cubicBezTo>
                    <a:pt x="96" y="71"/>
                    <a:pt x="95" y="73"/>
                    <a:pt x="93" y="76"/>
                  </a:cubicBezTo>
                  <a:cubicBezTo>
                    <a:pt x="96" y="80"/>
                    <a:pt x="97" y="81"/>
                    <a:pt x="99" y="84"/>
                  </a:cubicBezTo>
                  <a:cubicBezTo>
                    <a:pt x="91" y="84"/>
                    <a:pt x="91" y="84"/>
                    <a:pt x="91" y="84"/>
                  </a:cubicBezTo>
                  <a:cubicBezTo>
                    <a:pt x="91" y="90"/>
                    <a:pt x="91" y="90"/>
                    <a:pt x="91" y="90"/>
                  </a:cubicBezTo>
                  <a:cubicBezTo>
                    <a:pt x="87" y="91"/>
                    <a:pt x="79" y="85"/>
                    <a:pt x="75" y="82"/>
                  </a:cubicBezTo>
                  <a:cubicBezTo>
                    <a:pt x="75" y="90"/>
                    <a:pt x="71" y="92"/>
                    <a:pt x="64" y="92"/>
                  </a:cubicBezTo>
                  <a:cubicBezTo>
                    <a:pt x="57" y="92"/>
                    <a:pt x="48" y="91"/>
                    <a:pt x="47" y="84"/>
                  </a:cubicBezTo>
                  <a:cubicBezTo>
                    <a:pt x="50" y="84"/>
                    <a:pt x="51" y="83"/>
                    <a:pt x="53" y="81"/>
                  </a:cubicBezTo>
                  <a:cubicBezTo>
                    <a:pt x="45" y="81"/>
                    <a:pt x="33" y="77"/>
                    <a:pt x="33" y="70"/>
                  </a:cubicBezTo>
                  <a:cubicBezTo>
                    <a:pt x="33" y="62"/>
                    <a:pt x="60" y="63"/>
                    <a:pt x="66" y="61"/>
                  </a:cubicBezTo>
                  <a:cubicBezTo>
                    <a:pt x="60" y="60"/>
                    <a:pt x="55" y="58"/>
                    <a:pt x="48" y="58"/>
                  </a:cubicBezTo>
                  <a:cubicBezTo>
                    <a:pt x="41" y="58"/>
                    <a:pt x="40" y="61"/>
                    <a:pt x="35" y="61"/>
                  </a:cubicBezTo>
                  <a:cubicBezTo>
                    <a:pt x="30" y="61"/>
                    <a:pt x="30" y="58"/>
                    <a:pt x="29" y="56"/>
                  </a:cubicBezTo>
                  <a:cubicBezTo>
                    <a:pt x="24" y="58"/>
                    <a:pt x="23" y="59"/>
                    <a:pt x="19" y="59"/>
                  </a:cubicBezTo>
                  <a:cubicBezTo>
                    <a:pt x="16" y="59"/>
                    <a:pt x="16" y="58"/>
                    <a:pt x="16" y="55"/>
                  </a:cubicBezTo>
                  <a:cubicBezTo>
                    <a:pt x="20" y="53"/>
                    <a:pt x="23" y="53"/>
                    <a:pt x="26" y="49"/>
                  </a:cubicBezTo>
                  <a:cubicBezTo>
                    <a:pt x="11" y="49"/>
                    <a:pt x="2" y="48"/>
                    <a:pt x="0" y="35"/>
                  </a:cubicBezTo>
                  <a:cubicBezTo>
                    <a:pt x="7" y="35"/>
                    <a:pt x="7" y="35"/>
                    <a:pt x="7" y="35"/>
                  </a:cubicBezTo>
                  <a:cubicBezTo>
                    <a:pt x="9" y="37"/>
                    <a:pt x="16" y="39"/>
                    <a:pt x="20" y="39"/>
                  </a:cubicBezTo>
                  <a:cubicBezTo>
                    <a:pt x="22" y="39"/>
                    <a:pt x="24" y="36"/>
                    <a:pt x="24" y="36"/>
                  </a:cubicBezTo>
                  <a:cubicBezTo>
                    <a:pt x="19" y="34"/>
                    <a:pt x="5" y="31"/>
                    <a:pt x="5" y="26"/>
                  </a:cubicBezTo>
                  <a:cubicBezTo>
                    <a:pt x="5" y="21"/>
                    <a:pt x="11" y="22"/>
                    <a:pt x="15" y="22"/>
                  </a:cubicBezTo>
                  <a:cubicBezTo>
                    <a:pt x="21" y="22"/>
                    <a:pt x="23" y="25"/>
                    <a:pt x="27" y="25"/>
                  </a:cubicBezTo>
                  <a:cubicBezTo>
                    <a:pt x="30" y="25"/>
                    <a:pt x="30" y="22"/>
                    <a:pt x="32" y="20"/>
                  </a:cubicBezTo>
                  <a:cubicBezTo>
                    <a:pt x="27" y="18"/>
                    <a:pt x="22" y="20"/>
                    <a:pt x="19" y="20"/>
                  </a:cubicBezTo>
                  <a:cubicBezTo>
                    <a:pt x="18" y="20"/>
                    <a:pt x="14" y="14"/>
                    <a:pt x="14" y="13"/>
                  </a:cubicBezTo>
                  <a:cubicBezTo>
                    <a:pt x="19" y="10"/>
                    <a:pt x="23" y="8"/>
                    <a:pt x="30" y="9"/>
                  </a:cubicBezTo>
                  <a:cubicBezTo>
                    <a:pt x="38" y="9"/>
                    <a:pt x="38" y="9"/>
                    <a:pt x="38" y="9"/>
                  </a:cubicBezTo>
                  <a:cubicBezTo>
                    <a:pt x="33" y="7"/>
                    <a:pt x="25" y="6"/>
                    <a:pt x="25" y="0"/>
                  </a:cubicBezTo>
                  <a:cubicBezTo>
                    <a:pt x="36" y="1"/>
                    <a:pt x="45" y="2"/>
                    <a:pt x="53" y="5"/>
                  </a:cubicBezTo>
                  <a:cubicBezTo>
                    <a:pt x="61" y="9"/>
                    <a:pt x="60" y="21"/>
                    <a:pt x="67" y="24"/>
                  </a:cubicBezTo>
                  <a:cubicBezTo>
                    <a:pt x="73" y="27"/>
                    <a:pt x="78" y="22"/>
                    <a:pt x="84" y="25"/>
                  </a:cubicBezTo>
                  <a:cubicBezTo>
                    <a:pt x="91" y="28"/>
                    <a:pt x="88" y="33"/>
                    <a:pt x="92" y="37"/>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8" name="Freeform 77"/>
            <p:cNvSpPr/>
            <p:nvPr/>
          </p:nvSpPr>
          <p:spPr bwMode="auto">
            <a:xfrm>
              <a:off x="2925763" y="1574800"/>
              <a:ext cx="117475" cy="74613"/>
            </a:xfrm>
            <a:custGeom>
              <a:avLst/>
              <a:gdLst/>
              <a:ahLst/>
              <a:cxnLst>
                <a:cxn ang="0">
                  <a:pos x="6" y="39"/>
                </a:cxn>
                <a:cxn ang="0">
                  <a:pos x="11" y="33"/>
                </a:cxn>
                <a:cxn ang="0">
                  <a:pos x="11" y="27"/>
                </a:cxn>
                <a:cxn ang="0">
                  <a:pos x="25" y="0"/>
                </a:cxn>
                <a:cxn ang="0">
                  <a:pos x="32" y="13"/>
                </a:cxn>
                <a:cxn ang="0">
                  <a:pos x="36" y="9"/>
                </a:cxn>
                <a:cxn ang="0">
                  <a:pos x="67" y="27"/>
                </a:cxn>
                <a:cxn ang="0">
                  <a:pos x="70" y="35"/>
                </a:cxn>
                <a:cxn ang="0">
                  <a:pos x="89" y="43"/>
                </a:cxn>
                <a:cxn ang="0">
                  <a:pos x="75" y="48"/>
                </a:cxn>
                <a:cxn ang="0">
                  <a:pos x="63" y="48"/>
                </a:cxn>
                <a:cxn ang="0">
                  <a:pos x="46" y="37"/>
                </a:cxn>
                <a:cxn ang="0">
                  <a:pos x="25" y="53"/>
                </a:cxn>
                <a:cxn ang="0">
                  <a:pos x="22" y="57"/>
                </a:cxn>
                <a:cxn ang="0">
                  <a:pos x="19" y="48"/>
                </a:cxn>
                <a:cxn ang="0">
                  <a:pos x="0" y="48"/>
                </a:cxn>
                <a:cxn ang="0">
                  <a:pos x="6" y="39"/>
                </a:cxn>
              </a:cxnLst>
              <a:rect l="0" t="0" r="r" b="b"/>
              <a:pathLst>
                <a:path w="89" h="57">
                  <a:moveTo>
                    <a:pt x="6" y="39"/>
                  </a:moveTo>
                  <a:cubicBezTo>
                    <a:pt x="9" y="37"/>
                    <a:pt x="11" y="36"/>
                    <a:pt x="11" y="33"/>
                  </a:cubicBezTo>
                  <a:cubicBezTo>
                    <a:pt x="11" y="29"/>
                    <a:pt x="11" y="31"/>
                    <a:pt x="11" y="27"/>
                  </a:cubicBezTo>
                  <a:cubicBezTo>
                    <a:pt x="11" y="19"/>
                    <a:pt x="13" y="2"/>
                    <a:pt x="25" y="0"/>
                  </a:cubicBezTo>
                  <a:cubicBezTo>
                    <a:pt x="28" y="7"/>
                    <a:pt x="30" y="8"/>
                    <a:pt x="32" y="13"/>
                  </a:cubicBezTo>
                  <a:cubicBezTo>
                    <a:pt x="33" y="11"/>
                    <a:pt x="35" y="10"/>
                    <a:pt x="36" y="9"/>
                  </a:cubicBezTo>
                  <a:cubicBezTo>
                    <a:pt x="45" y="21"/>
                    <a:pt x="59" y="16"/>
                    <a:pt x="67" y="27"/>
                  </a:cubicBezTo>
                  <a:cubicBezTo>
                    <a:pt x="69" y="30"/>
                    <a:pt x="68" y="33"/>
                    <a:pt x="70" y="35"/>
                  </a:cubicBezTo>
                  <a:cubicBezTo>
                    <a:pt x="77" y="40"/>
                    <a:pt x="85" y="38"/>
                    <a:pt x="89" y="43"/>
                  </a:cubicBezTo>
                  <a:cubicBezTo>
                    <a:pt x="84" y="46"/>
                    <a:pt x="80" y="48"/>
                    <a:pt x="75" y="48"/>
                  </a:cubicBezTo>
                  <a:cubicBezTo>
                    <a:pt x="69" y="48"/>
                    <a:pt x="67" y="48"/>
                    <a:pt x="63" y="48"/>
                  </a:cubicBezTo>
                  <a:cubicBezTo>
                    <a:pt x="63" y="48"/>
                    <a:pt x="49" y="38"/>
                    <a:pt x="46" y="37"/>
                  </a:cubicBezTo>
                  <a:cubicBezTo>
                    <a:pt x="46" y="47"/>
                    <a:pt x="31" y="56"/>
                    <a:pt x="25" y="53"/>
                  </a:cubicBezTo>
                  <a:cubicBezTo>
                    <a:pt x="24" y="55"/>
                    <a:pt x="24" y="57"/>
                    <a:pt x="22" y="57"/>
                  </a:cubicBezTo>
                  <a:cubicBezTo>
                    <a:pt x="16" y="57"/>
                    <a:pt x="18" y="52"/>
                    <a:pt x="19" y="48"/>
                  </a:cubicBezTo>
                  <a:cubicBezTo>
                    <a:pt x="12" y="46"/>
                    <a:pt x="3" y="48"/>
                    <a:pt x="0" y="48"/>
                  </a:cubicBezTo>
                  <a:cubicBezTo>
                    <a:pt x="0" y="40"/>
                    <a:pt x="5" y="41"/>
                    <a:pt x="6" y="3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19" name="Freeform 78"/>
            <p:cNvSpPr/>
            <p:nvPr/>
          </p:nvSpPr>
          <p:spPr bwMode="auto">
            <a:xfrm>
              <a:off x="3094038" y="1500188"/>
              <a:ext cx="36513" cy="36513"/>
            </a:xfrm>
            <a:custGeom>
              <a:avLst/>
              <a:gdLst/>
              <a:ahLst/>
              <a:cxnLst>
                <a:cxn ang="0">
                  <a:pos x="27" y="18"/>
                </a:cxn>
                <a:cxn ang="0">
                  <a:pos x="11" y="28"/>
                </a:cxn>
                <a:cxn ang="0">
                  <a:pos x="0" y="18"/>
                </a:cxn>
                <a:cxn ang="0">
                  <a:pos x="27" y="18"/>
                </a:cxn>
              </a:cxnLst>
              <a:rect l="0" t="0" r="r" b="b"/>
              <a:pathLst>
                <a:path w="27" h="28">
                  <a:moveTo>
                    <a:pt x="27" y="18"/>
                  </a:moveTo>
                  <a:cubicBezTo>
                    <a:pt x="27" y="24"/>
                    <a:pt x="16" y="28"/>
                    <a:pt x="11" y="28"/>
                  </a:cubicBezTo>
                  <a:cubicBezTo>
                    <a:pt x="4" y="28"/>
                    <a:pt x="0" y="23"/>
                    <a:pt x="0" y="18"/>
                  </a:cubicBezTo>
                  <a:cubicBezTo>
                    <a:pt x="0" y="0"/>
                    <a:pt x="27" y="3"/>
                    <a:pt x="27" y="18"/>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0" name="Freeform 79"/>
            <p:cNvSpPr/>
            <p:nvPr/>
          </p:nvSpPr>
          <p:spPr bwMode="auto">
            <a:xfrm>
              <a:off x="2984500" y="1652588"/>
              <a:ext cx="30163" cy="23813"/>
            </a:xfrm>
            <a:custGeom>
              <a:avLst/>
              <a:gdLst/>
              <a:ahLst/>
              <a:cxnLst>
                <a:cxn ang="0">
                  <a:pos x="10" y="1"/>
                </a:cxn>
                <a:cxn ang="0">
                  <a:pos x="22" y="3"/>
                </a:cxn>
                <a:cxn ang="0">
                  <a:pos x="0" y="18"/>
                </a:cxn>
                <a:cxn ang="0">
                  <a:pos x="0" y="12"/>
                </a:cxn>
                <a:cxn ang="0">
                  <a:pos x="10" y="1"/>
                </a:cxn>
              </a:cxnLst>
              <a:rect l="0" t="0" r="r" b="b"/>
              <a:pathLst>
                <a:path w="22" h="18">
                  <a:moveTo>
                    <a:pt x="10" y="1"/>
                  </a:moveTo>
                  <a:cubicBezTo>
                    <a:pt x="19" y="0"/>
                    <a:pt x="17" y="0"/>
                    <a:pt x="22" y="3"/>
                  </a:cubicBezTo>
                  <a:cubicBezTo>
                    <a:pt x="18" y="8"/>
                    <a:pt x="7" y="17"/>
                    <a:pt x="0" y="18"/>
                  </a:cubicBezTo>
                  <a:cubicBezTo>
                    <a:pt x="0" y="12"/>
                    <a:pt x="0" y="12"/>
                    <a:pt x="0" y="12"/>
                  </a:cubicBezTo>
                  <a:cubicBezTo>
                    <a:pt x="4" y="7"/>
                    <a:pt x="9" y="4"/>
                    <a:pt x="10" y="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1" name="Freeform 80"/>
            <p:cNvSpPr/>
            <p:nvPr/>
          </p:nvSpPr>
          <p:spPr bwMode="auto">
            <a:xfrm>
              <a:off x="3032125" y="1336675"/>
              <a:ext cx="79375" cy="33338"/>
            </a:xfrm>
            <a:custGeom>
              <a:avLst/>
              <a:gdLst/>
              <a:ahLst/>
              <a:cxnLst>
                <a:cxn ang="0">
                  <a:pos x="22" y="25"/>
                </a:cxn>
                <a:cxn ang="0">
                  <a:pos x="9" y="16"/>
                </a:cxn>
                <a:cxn ang="0">
                  <a:pos x="0" y="6"/>
                </a:cxn>
                <a:cxn ang="0">
                  <a:pos x="8" y="0"/>
                </a:cxn>
                <a:cxn ang="0">
                  <a:pos x="30" y="3"/>
                </a:cxn>
                <a:cxn ang="0">
                  <a:pos x="60" y="17"/>
                </a:cxn>
                <a:cxn ang="0">
                  <a:pos x="52" y="24"/>
                </a:cxn>
                <a:cxn ang="0">
                  <a:pos x="39" y="21"/>
                </a:cxn>
                <a:cxn ang="0">
                  <a:pos x="22" y="25"/>
                </a:cxn>
              </a:cxnLst>
              <a:rect l="0" t="0" r="r" b="b"/>
              <a:pathLst>
                <a:path w="60" h="25">
                  <a:moveTo>
                    <a:pt x="22" y="25"/>
                  </a:moveTo>
                  <a:cubicBezTo>
                    <a:pt x="14" y="25"/>
                    <a:pt x="6" y="23"/>
                    <a:pt x="9" y="16"/>
                  </a:cubicBezTo>
                  <a:cubicBezTo>
                    <a:pt x="5" y="13"/>
                    <a:pt x="0" y="11"/>
                    <a:pt x="0" y="6"/>
                  </a:cubicBezTo>
                  <a:cubicBezTo>
                    <a:pt x="0" y="2"/>
                    <a:pt x="4" y="0"/>
                    <a:pt x="8" y="0"/>
                  </a:cubicBezTo>
                  <a:cubicBezTo>
                    <a:pt x="18" y="0"/>
                    <a:pt x="21" y="3"/>
                    <a:pt x="30" y="3"/>
                  </a:cubicBezTo>
                  <a:cubicBezTo>
                    <a:pt x="42" y="3"/>
                    <a:pt x="52" y="13"/>
                    <a:pt x="60" y="17"/>
                  </a:cubicBezTo>
                  <a:cubicBezTo>
                    <a:pt x="59" y="21"/>
                    <a:pt x="56" y="24"/>
                    <a:pt x="52" y="24"/>
                  </a:cubicBezTo>
                  <a:cubicBezTo>
                    <a:pt x="46" y="24"/>
                    <a:pt x="44" y="21"/>
                    <a:pt x="39" y="21"/>
                  </a:cubicBezTo>
                  <a:cubicBezTo>
                    <a:pt x="34" y="21"/>
                    <a:pt x="30" y="25"/>
                    <a:pt x="22" y="2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2" name="Freeform 81"/>
            <p:cNvSpPr/>
            <p:nvPr/>
          </p:nvSpPr>
          <p:spPr bwMode="auto">
            <a:xfrm>
              <a:off x="3040063" y="1666875"/>
              <a:ext cx="17463" cy="20638"/>
            </a:xfrm>
            <a:custGeom>
              <a:avLst/>
              <a:gdLst/>
              <a:ahLst/>
              <a:cxnLst>
                <a:cxn ang="0">
                  <a:pos x="14" y="6"/>
                </a:cxn>
                <a:cxn ang="0">
                  <a:pos x="6" y="15"/>
                </a:cxn>
                <a:cxn ang="0">
                  <a:pos x="0" y="9"/>
                </a:cxn>
                <a:cxn ang="0">
                  <a:pos x="14" y="6"/>
                </a:cxn>
              </a:cxnLst>
              <a:rect l="0" t="0" r="r" b="b"/>
              <a:pathLst>
                <a:path w="14" h="15">
                  <a:moveTo>
                    <a:pt x="14" y="6"/>
                  </a:moveTo>
                  <a:cubicBezTo>
                    <a:pt x="12" y="9"/>
                    <a:pt x="11" y="15"/>
                    <a:pt x="6" y="15"/>
                  </a:cubicBezTo>
                  <a:cubicBezTo>
                    <a:pt x="5" y="15"/>
                    <a:pt x="0" y="9"/>
                    <a:pt x="0" y="9"/>
                  </a:cubicBezTo>
                  <a:cubicBezTo>
                    <a:pt x="0" y="1"/>
                    <a:pt x="10" y="0"/>
                    <a:pt x="14" y="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3" name="Freeform 82"/>
            <p:cNvSpPr/>
            <p:nvPr/>
          </p:nvSpPr>
          <p:spPr bwMode="auto">
            <a:xfrm>
              <a:off x="3136900" y="1509713"/>
              <a:ext cx="19050" cy="11113"/>
            </a:xfrm>
            <a:custGeom>
              <a:avLst/>
              <a:gdLst/>
              <a:ahLst/>
              <a:cxnLst>
                <a:cxn ang="0">
                  <a:pos x="5" y="8"/>
                </a:cxn>
                <a:cxn ang="0">
                  <a:pos x="0" y="4"/>
                </a:cxn>
                <a:cxn ang="0">
                  <a:pos x="5" y="0"/>
                </a:cxn>
                <a:cxn ang="0">
                  <a:pos x="14" y="7"/>
                </a:cxn>
                <a:cxn ang="0">
                  <a:pos x="5" y="8"/>
                </a:cxn>
              </a:cxnLst>
              <a:rect l="0" t="0" r="r" b="b"/>
              <a:pathLst>
                <a:path w="14" h="8">
                  <a:moveTo>
                    <a:pt x="5" y="8"/>
                  </a:moveTo>
                  <a:cubicBezTo>
                    <a:pt x="2" y="8"/>
                    <a:pt x="0" y="7"/>
                    <a:pt x="0" y="4"/>
                  </a:cubicBezTo>
                  <a:cubicBezTo>
                    <a:pt x="0" y="3"/>
                    <a:pt x="4" y="0"/>
                    <a:pt x="5" y="0"/>
                  </a:cubicBezTo>
                  <a:cubicBezTo>
                    <a:pt x="9" y="0"/>
                    <a:pt x="13" y="5"/>
                    <a:pt x="14" y="7"/>
                  </a:cubicBezTo>
                  <a:cubicBezTo>
                    <a:pt x="8" y="8"/>
                    <a:pt x="10" y="8"/>
                    <a:pt x="5" y="8"/>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4" name="Freeform 83"/>
            <p:cNvSpPr/>
            <p:nvPr/>
          </p:nvSpPr>
          <p:spPr bwMode="auto">
            <a:xfrm>
              <a:off x="3052763" y="1476375"/>
              <a:ext cx="20638" cy="12700"/>
            </a:xfrm>
            <a:custGeom>
              <a:avLst/>
              <a:gdLst/>
              <a:ahLst/>
              <a:cxnLst>
                <a:cxn ang="0">
                  <a:pos x="5" y="10"/>
                </a:cxn>
                <a:cxn ang="0">
                  <a:pos x="15" y="0"/>
                </a:cxn>
                <a:cxn ang="0">
                  <a:pos x="5" y="10"/>
                </a:cxn>
              </a:cxnLst>
              <a:rect l="0" t="0" r="r" b="b"/>
              <a:pathLst>
                <a:path w="15" h="10">
                  <a:moveTo>
                    <a:pt x="5" y="10"/>
                  </a:moveTo>
                  <a:cubicBezTo>
                    <a:pt x="0" y="10"/>
                    <a:pt x="10" y="0"/>
                    <a:pt x="15" y="0"/>
                  </a:cubicBezTo>
                  <a:cubicBezTo>
                    <a:pt x="14" y="6"/>
                    <a:pt x="10" y="10"/>
                    <a:pt x="5" y="1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5" name="Freeform 84"/>
            <p:cNvSpPr/>
            <p:nvPr/>
          </p:nvSpPr>
          <p:spPr bwMode="auto">
            <a:xfrm>
              <a:off x="2876550" y="1335088"/>
              <a:ext cx="482600" cy="347663"/>
            </a:xfrm>
            <a:custGeom>
              <a:avLst/>
              <a:gdLst/>
              <a:ahLst/>
              <a:cxnLst>
                <a:cxn ang="0">
                  <a:pos x="333" y="196"/>
                </a:cxn>
                <a:cxn ang="0">
                  <a:pos x="281" y="171"/>
                </a:cxn>
                <a:cxn ang="0">
                  <a:pos x="289" y="177"/>
                </a:cxn>
                <a:cxn ang="0">
                  <a:pos x="283" y="184"/>
                </a:cxn>
                <a:cxn ang="0">
                  <a:pos x="298" y="201"/>
                </a:cxn>
                <a:cxn ang="0">
                  <a:pos x="318" y="206"/>
                </a:cxn>
                <a:cxn ang="0">
                  <a:pos x="326" y="225"/>
                </a:cxn>
                <a:cxn ang="0">
                  <a:pos x="278" y="225"/>
                </a:cxn>
                <a:cxn ang="0">
                  <a:pos x="304" y="256"/>
                </a:cxn>
                <a:cxn ang="0">
                  <a:pos x="295" y="256"/>
                </a:cxn>
                <a:cxn ang="0">
                  <a:pos x="233" y="226"/>
                </a:cxn>
                <a:cxn ang="0">
                  <a:pos x="190" y="210"/>
                </a:cxn>
                <a:cxn ang="0">
                  <a:pos x="169" y="214"/>
                </a:cxn>
                <a:cxn ang="0">
                  <a:pos x="168" y="189"/>
                </a:cxn>
                <a:cxn ang="0">
                  <a:pos x="207" y="183"/>
                </a:cxn>
                <a:cxn ang="0">
                  <a:pos x="210" y="167"/>
                </a:cxn>
                <a:cxn ang="0">
                  <a:pos x="186" y="115"/>
                </a:cxn>
                <a:cxn ang="0">
                  <a:pos x="168" y="115"/>
                </a:cxn>
                <a:cxn ang="0">
                  <a:pos x="146" y="85"/>
                </a:cxn>
                <a:cxn ang="0">
                  <a:pos x="122" y="91"/>
                </a:cxn>
                <a:cxn ang="0">
                  <a:pos x="41" y="82"/>
                </a:cxn>
                <a:cxn ang="0">
                  <a:pos x="11" y="69"/>
                </a:cxn>
                <a:cxn ang="0">
                  <a:pos x="30" y="65"/>
                </a:cxn>
                <a:cxn ang="0">
                  <a:pos x="0" y="48"/>
                </a:cxn>
                <a:cxn ang="0">
                  <a:pos x="11" y="16"/>
                </a:cxn>
                <a:cxn ang="0">
                  <a:pos x="61" y="4"/>
                </a:cxn>
                <a:cxn ang="0">
                  <a:pos x="46" y="32"/>
                </a:cxn>
                <a:cxn ang="0">
                  <a:pos x="50" y="47"/>
                </a:cxn>
                <a:cxn ang="0">
                  <a:pos x="55" y="26"/>
                </a:cxn>
                <a:cxn ang="0">
                  <a:pos x="120" y="29"/>
                </a:cxn>
                <a:cxn ang="0">
                  <a:pos x="128" y="34"/>
                </a:cxn>
                <a:cxn ang="0">
                  <a:pos x="156" y="27"/>
                </a:cxn>
                <a:cxn ang="0">
                  <a:pos x="217" y="56"/>
                </a:cxn>
                <a:cxn ang="0">
                  <a:pos x="242" y="65"/>
                </a:cxn>
                <a:cxn ang="0">
                  <a:pos x="273" y="85"/>
                </a:cxn>
                <a:cxn ang="0">
                  <a:pos x="293" y="95"/>
                </a:cxn>
                <a:cxn ang="0">
                  <a:pos x="291" y="102"/>
                </a:cxn>
                <a:cxn ang="0">
                  <a:pos x="283" y="116"/>
                </a:cxn>
                <a:cxn ang="0">
                  <a:pos x="317" y="135"/>
                </a:cxn>
                <a:cxn ang="0">
                  <a:pos x="342" y="153"/>
                </a:cxn>
                <a:cxn ang="0">
                  <a:pos x="362" y="165"/>
                </a:cxn>
                <a:cxn ang="0">
                  <a:pos x="349" y="178"/>
                </a:cxn>
              </a:cxnLst>
              <a:rect l="0" t="0" r="r" b="b"/>
              <a:pathLst>
                <a:path w="362" h="261">
                  <a:moveTo>
                    <a:pt x="339" y="184"/>
                  </a:moveTo>
                  <a:cubicBezTo>
                    <a:pt x="339" y="189"/>
                    <a:pt x="338" y="196"/>
                    <a:pt x="333" y="196"/>
                  </a:cubicBezTo>
                  <a:cubicBezTo>
                    <a:pt x="311" y="196"/>
                    <a:pt x="311" y="166"/>
                    <a:pt x="289" y="166"/>
                  </a:cubicBezTo>
                  <a:cubicBezTo>
                    <a:pt x="287" y="166"/>
                    <a:pt x="281" y="171"/>
                    <a:pt x="281" y="171"/>
                  </a:cubicBezTo>
                  <a:cubicBezTo>
                    <a:pt x="284" y="173"/>
                    <a:pt x="285" y="173"/>
                    <a:pt x="289" y="172"/>
                  </a:cubicBezTo>
                  <a:cubicBezTo>
                    <a:pt x="289" y="177"/>
                    <a:pt x="289" y="177"/>
                    <a:pt x="289" y="177"/>
                  </a:cubicBezTo>
                  <a:cubicBezTo>
                    <a:pt x="287" y="178"/>
                    <a:pt x="284" y="178"/>
                    <a:pt x="283" y="177"/>
                  </a:cubicBezTo>
                  <a:cubicBezTo>
                    <a:pt x="283" y="184"/>
                    <a:pt x="283" y="184"/>
                    <a:pt x="283" y="184"/>
                  </a:cubicBezTo>
                  <a:cubicBezTo>
                    <a:pt x="288" y="184"/>
                    <a:pt x="288" y="184"/>
                    <a:pt x="288" y="184"/>
                  </a:cubicBezTo>
                  <a:cubicBezTo>
                    <a:pt x="289" y="189"/>
                    <a:pt x="295" y="199"/>
                    <a:pt x="298" y="201"/>
                  </a:cubicBezTo>
                  <a:cubicBezTo>
                    <a:pt x="307" y="204"/>
                    <a:pt x="310" y="198"/>
                    <a:pt x="311" y="206"/>
                  </a:cubicBezTo>
                  <a:cubicBezTo>
                    <a:pt x="315" y="206"/>
                    <a:pt x="315" y="206"/>
                    <a:pt x="318" y="206"/>
                  </a:cubicBezTo>
                  <a:cubicBezTo>
                    <a:pt x="318" y="213"/>
                    <a:pt x="318" y="213"/>
                    <a:pt x="318" y="215"/>
                  </a:cubicBezTo>
                  <a:cubicBezTo>
                    <a:pt x="318" y="218"/>
                    <a:pt x="326" y="220"/>
                    <a:pt x="326" y="225"/>
                  </a:cubicBezTo>
                  <a:cubicBezTo>
                    <a:pt x="326" y="229"/>
                    <a:pt x="321" y="238"/>
                    <a:pt x="319" y="242"/>
                  </a:cubicBezTo>
                  <a:cubicBezTo>
                    <a:pt x="311" y="242"/>
                    <a:pt x="283" y="231"/>
                    <a:pt x="278" y="225"/>
                  </a:cubicBezTo>
                  <a:cubicBezTo>
                    <a:pt x="272" y="225"/>
                    <a:pt x="272" y="225"/>
                    <a:pt x="272" y="225"/>
                  </a:cubicBezTo>
                  <a:cubicBezTo>
                    <a:pt x="279" y="234"/>
                    <a:pt x="304" y="243"/>
                    <a:pt x="304" y="256"/>
                  </a:cubicBezTo>
                  <a:cubicBezTo>
                    <a:pt x="304" y="259"/>
                    <a:pt x="301" y="261"/>
                    <a:pt x="299" y="261"/>
                  </a:cubicBezTo>
                  <a:cubicBezTo>
                    <a:pt x="297" y="261"/>
                    <a:pt x="296" y="256"/>
                    <a:pt x="295" y="256"/>
                  </a:cubicBezTo>
                  <a:cubicBezTo>
                    <a:pt x="282" y="249"/>
                    <a:pt x="274" y="252"/>
                    <a:pt x="263" y="245"/>
                  </a:cubicBezTo>
                  <a:cubicBezTo>
                    <a:pt x="252" y="239"/>
                    <a:pt x="226" y="240"/>
                    <a:pt x="233" y="226"/>
                  </a:cubicBezTo>
                  <a:cubicBezTo>
                    <a:pt x="219" y="219"/>
                    <a:pt x="212" y="211"/>
                    <a:pt x="199" y="204"/>
                  </a:cubicBezTo>
                  <a:cubicBezTo>
                    <a:pt x="197" y="207"/>
                    <a:pt x="194" y="210"/>
                    <a:pt x="190" y="210"/>
                  </a:cubicBezTo>
                  <a:cubicBezTo>
                    <a:pt x="186" y="210"/>
                    <a:pt x="187" y="207"/>
                    <a:pt x="183" y="207"/>
                  </a:cubicBezTo>
                  <a:cubicBezTo>
                    <a:pt x="177" y="207"/>
                    <a:pt x="175" y="214"/>
                    <a:pt x="169" y="214"/>
                  </a:cubicBezTo>
                  <a:cubicBezTo>
                    <a:pt x="165" y="214"/>
                    <a:pt x="150" y="208"/>
                    <a:pt x="150" y="201"/>
                  </a:cubicBezTo>
                  <a:cubicBezTo>
                    <a:pt x="150" y="197"/>
                    <a:pt x="162" y="189"/>
                    <a:pt x="168" y="189"/>
                  </a:cubicBezTo>
                  <a:cubicBezTo>
                    <a:pt x="176" y="189"/>
                    <a:pt x="183" y="189"/>
                    <a:pt x="187" y="189"/>
                  </a:cubicBezTo>
                  <a:cubicBezTo>
                    <a:pt x="191" y="189"/>
                    <a:pt x="202" y="187"/>
                    <a:pt x="207" y="183"/>
                  </a:cubicBezTo>
                  <a:cubicBezTo>
                    <a:pt x="205" y="182"/>
                    <a:pt x="199" y="178"/>
                    <a:pt x="199" y="174"/>
                  </a:cubicBezTo>
                  <a:cubicBezTo>
                    <a:pt x="199" y="167"/>
                    <a:pt x="207" y="171"/>
                    <a:pt x="210" y="167"/>
                  </a:cubicBezTo>
                  <a:cubicBezTo>
                    <a:pt x="214" y="163"/>
                    <a:pt x="223" y="154"/>
                    <a:pt x="223" y="148"/>
                  </a:cubicBezTo>
                  <a:cubicBezTo>
                    <a:pt x="223" y="136"/>
                    <a:pt x="195" y="115"/>
                    <a:pt x="186" y="115"/>
                  </a:cubicBezTo>
                  <a:cubicBezTo>
                    <a:pt x="180" y="115"/>
                    <a:pt x="177" y="120"/>
                    <a:pt x="172" y="120"/>
                  </a:cubicBezTo>
                  <a:cubicBezTo>
                    <a:pt x="170" y="120"/>
                    <a:pt x="168" y="115"/>
                    <a:pt x="168" y="115"/>
                  </a:cubicBezTo>
                  <a:cubicBezTo>
                    <a:pt x="168" y="110"/>
                    <a:pt x="176" y="109"/>
                    <a:pt x="179" y="109"/>
                  </a:cubicBezTo>
                  <a:cubicBezTo>
                    <a:pt x="175" y="105"/>
                    <a:pt x="151" y="85"/>
                    <a:pt x="146" y="85"/>
                  </a:cubicBezTo>
                  <a:cubicBezTo>
                    <a:pt x="140" y="85"/>
                    <a:pt x="133" y="101"/>
                    <a:pt x="125" y="101"/>
                  </a:cubicBezTo>
                  <a:cubicBezTo>
                    <a:pt x="120" y="101"/>
                    <a:pt x="121" y="94"/>
                    <a:pt x="122" y="91"/>
                  </a:cubicBezTo>
                  <a:cubicBezTo>
                    <a:pt x="108" y="90"/>
                    <a:pt x="75" y="91"/>
                    <a:pt x="55" y="91"/>
                  </a:cubicBezTo>
                  <a:cubicBezTo>
                    <a:pt x="51" y="91"/>
                    <a:pt x="44" y="86"/>
                    <a:pt x="41" y="82"/>
                  </a:cubicBezTo>
                  <a:cubicBezTo>
                    <a:pt x="20" y="82"/>
                    <a:pt x="20" y="82"/>
                    <a:pt x="20" y="82"/>
                  </a:cubicBezTo>
                  <a:cubicBezTo>
                    <a:pt x="18" y="76"/>
                    <a:pt x="11" y="75"/>
                    <a:pt x="11" y="69"/>
                  </a:cubicBezTo>
                  <a:cubicBezTo>
                    <a:pt x="16" y="67"/>
                    <a:pt x="23" y="70"/>
                    <a:pt x="30" y="70"/>
                  </a:cubicBezTo>
                  <a:cubicBezTo>
                    <a:pt x="30" y="65"/>
                    <a:pt x="30" y="65"/>
                    <a:pt x="30" y="65"/>
                  </a:cubicBezTo>
                  <a:cubicBezTo>
                    <a:pt x="26" y="62"/>
                    <a:pt x="6" y="60"/>
                    <a:pt x="6" y="60"/>
                  </a:cubicBezTo>
                  <a:cubicBezTo>
                    <a:pt x="6" y="60"/>
                    <a:pt x="0" y="52"/>
                    <a:pt x="0" y="48"/>
                  </a:cubicBezTo>
                  <a:cubicBezTo>
                    <a:pt x="0" y="36"/>
                    <a:pt x="2" y="33"/>
                    <a:pt x="8" y="29"/>
                  </a:cubicBezTo>
                  <a:cubicBezTo>
                    <a:pt x="12" y="26"/>
                    <a:pt x="10" y="18"/>
                    <a:pt x="11" y="16"/>
                  </a:cubicBezTo>
                  <a:cubicBezTo>
                    <a:pt x="20" y="7"/>
                    <a:pt x="32" y="0"/>
                    <a:pt x="47" y="0"/>
                  </a:cubicBezTo>
                  <a:cubicBezTo>
                    <a:pt x="47" y="0"/>
                    <a:pt x="61" y="4"/>
                    <a:pt x="61" y="4"/>
                  </a:cubicBezTo>
                  <a:cubicBezTo>
                    <a:pt x="57" y="14"/>
                    <a:pt x="42" y="14"/>
                    <a:pt x="42" y="27"/>
                  </a:cubicBezTo>
                  <a:cubicBezTo>
                    <a:pt x="42" y="30"/>
                    <a:pt x="44" y="32"/>
                    <a:pt x="46" y="32"/>
                  </a:cubicBezTo>
                  <a:cubicBezTo>
                    <a:pt x="45" y="35"/>
                    <a:pt x="46" y="40"/>
                    <a:pt x="46" y="40"/>
                  </a:cubicBezTo>
                  <a:cubicBezTo>
                    <a:pt x="46" y="43"/>
                    <a:pt x="45" y="47"/>
                    <a:pt x="50" y="47"/>
                  </a:cubicBezTo>
                  <a:cubicBezTo>
                    <a:pt x="53" y="47"/>
                    <a:pt x="59" y="42"/>
                    <a:pt x="59" y="38"/>
                  </a:cubicBezTo>
                  <a:cubicBezTo>
                    <a:pt x="59" y="34"/>
                    <a:pt x="55" y="31"/>
                    <a:pt x="55" y="26"/>
                  </a:cubicBezTo>
                  <a:cubicBezTo>
                    <a:pt x="55" y="10"/>
                    <a:pt x="84" y="4"/>
                    <a:pt x="102" y="4"/>
                  </a:cubicBezTo>
                  <a:cubicBezTo>
                    <a:pt x="113" y="4"/>
                    <a:pt x="120" y="20"/>
                    <a:pt x="120" y="29"/>
                  </a:cubicBezTo>
                  <a:cubicBezTo>
                    <a:pt x="120" y="31"/>
                    <a:pt x="117" y="38"/>
                    <a:pt x="120" y="38"/>
                  </a:cubicBezTo>
                  <a:cubicBezTo>
                    <a:pt x="122" y="38"/>
                    <a:pt x="124" y="34"/>
                    <a:pt x="128" y="34"/>
                  </a:cubicBezTo>
                  <a:cubicBezTo>
                    <a:pt x="133" y="34"/>
                    <a:pt x="135" y="38"/>
                    <a:pt x="138" y="38"/>
                  </a:cubicBezTo>
                  <a:cubicBezTo>
                    <a:pt x="146" y="38"/>
                    <a:pt x="148" y="27"/>
                    <a:pt x="156" y="27"/>
                  </a:cubicBezTo>
                  <a:cubicBezTo>
                    <a:pt x="165" y="27"/>
                    <a:pt x="183" y="30"/>
                    <a:pt x="189" y="34"/>
                  </a:cubicBezTo>
                  <a:cubicBezTo>
                    <a:pt x="199" y="41"/>
                    <a:pt x="202" y="56"/>
                    <a:pt x="217" y="56"/>
                  </a:cubicBezTo>
                  <a:cubicBezTo>
                    <a:pt x="223" y="56"/>
                    <a:pt x="224" y="56"/>
                    <a:pt x="228" y="56"/>
                  </a:cubicBezTo>
                  <a:cubicBezTo>
                    <a:pt x="232" y="56"/>
                    <a:pt x="243" y="57"/>
                    <a:pt x="242" y="65"/>
                  </a:cubicBezTo>
                  <a:cubicBezTo>
                    <a:pt x="254" y="69"/>
                    <a:pt x="261" y="76"/>
                    <a:pt x="273" y="77"/>
                  </a:cubicBezTo>
                  <a:cubicBezTo>
                    <a:pt x="273" y="85"/>
                    <a:pt x="273" y="85"/>
                    <a:pt x="273" y="85"/>
                  </a:cubicBezTo>
                  <a:cubicBezTo>
                    <a:pt x="276" y="85"/>
                    <a:pt x="281" y="85"/>
                    <a:pt x="281" y="85"/>
                  </a:cubicBezTo>
                  <a:cubicBezTo>
                    <a:pt x="287" y="85"/>
                    <a:pt x="290" y="89"/>
                    <a:pt x="293" y="95"/>
                  </a:cubicBezTo>
                  <a:cubicBezTo>
                    <a:pt x="287" y="96"/>
                    <a:pt x="281" y="96"/>
                    <a:pt x="277" y="101"/>
                  </a:cubicBezTo>
                  <a:cubicBezTo>
                    <a:pt x="285" y="102"/>
                    <a:pt x="287" y="102"/>
                    <a:pt x="291" y="102"/>
                  </a:cubicBezTo>
                  <a:cubicBezTo>
                    <a:pt x="293" y="102"/>
                    <a:pt x="296" y="103"/>
                    <a:pt x="297" y="106"/>
                  </a:cubicBezTo>
                  <a:cubicBezTo>
                    <a:pt x="290" y="110"/>
                    <a:pt x="287" y="110"/>
                    <a:pt x="283" y="116"/>
                  </a:cubicBezTo>
                  <a:cubicBezTo>
                    <a:pt x="287" y="118"/>
                    <a:pt x="289" y="120"/>
                    <a:pt x="295" y="120"/>
                  </a:cubicBezTo>
                  <a:cubicBezTo>
                    <a:pt x="296" y="130"/>
                    <a:pt x="308" y="134"/>
                    <a:pt x="317" y="135"/>
                  </a:cubicBezTo>
                  <a:cubicBezTo>
                    <a:pt x="318" y="143"/>
                    <a:pt x="320" y="151"/>
                    <a:pt x="327" y="151"/>
                  </a:cubicBezTo>
                  <a:cubicBezTo>
                    <a:pt x="337" y="151"/>
                    <a:pt x="339" y="145"/>
                    <a:pt x="342" y="153"/>
                  </a:cubicBezTo>
                  <a:cubicBezTo>
                    <a:pt x="344" y="155"/>
                    <a:pt x="348" y="155"/>
                    <a:pt x="350" y="155"/>
                  </a:cubicBezTo>
                  <a:cubicBezTo>
                    <a:pt x="359" y="155"/>
                    <a:pt x="362" y="158"/>
                    <a:pt x="362" y="165"/>
                  </a:cubicBezTo>
                  <a:cubicBezTo>
                    <a:pt x="362" y="171"/>
                    <a:pt x="355" y="173"/>
                    <a:pt x="349" y="173"/>
                  </a:cubicBezTo>
                  <a:cubicBezTo>
                    <a:pt x="349" y="178"/>
                    <a:pt x="349" y="176"/>
                    <a:pt x="349" y="178"/>
                  </a:cubicBezTo>
                  <a:cubicBezTo>
                    <a:pt x="349" y="180"/>
                    <a:pt x="348" y="184"/>
                    <a:pt x="339" y="18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6" name="Freeform 85"/>
            <p:cNvSpPr/>
            <p:nvPr/>
          </p:nvSpPr>
          <p:spPr bwMode="auto">
            <a:xfrm>
              <a:off x="3073400" y="1635125"/>
              <a:ext cx="14288" cy="12700"/>
            </a:xfrm>
            <a:custGeom>
              <a:avLst/>
              <a:gdLst/>
              <a:ahLst/>
              <a:cxnLst>
                <a:cxn ang="0">
                  <a:pos x="10" y="6"/>
                </a:cxn>
                <a:cxn ang="0">
                  <a:pos x="0" y="6"/>
                </a:cxn>
                <a:cxn ang="0">
                  <a:pos x="10" y="6"/>
                </a:cxn>
              </a:cxnLst>
              <a:rect l="0" t="0" r="r" b="b"/>
              <a:pathLst>
                <a:path w="10" h="9">
                  <a:moveTo>
                    <a:pt x="10" y="6"/>
                  </a:moveTo>
                  <a:cubicBezTo>
                    <a:pt x="6" y="9"/>
                    <a:pt x="5" y="9"/>
                    <a:pt x="0" y="6"/>
                  </a:cubicBezTo>
                  <a:cubicBezTo>
                    <a:pt x="5" y="0"/>
                    <a:pt x="5" y="3"/>
                    <a:pt x="10" y="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7" name="Freeform 86"/>
            <p:cNvSpPr/>
            <p:nvPr/>
          </p:nvSpPr>
          <p:spPr bwMode="auto">
            <a:xfrm>
              <a:off x="2974975" y="1568450"/>
              <a:ext cx="12700" cy="12700"/>
            </a:xfrm>
            <a:custGeom>
              <a:avLst/>
              <a:gdLst/>
              <a:ahLst/>
              <a:cxnLst>
                <a:cxn ang="0">
                  <a:pos x="1" y="2"/>
                </a:cxn>
                <a:cxn ang="0">
                  <a:pos x="9" y="9"/>
                </a:cxn>
                <a:cxn ang="0">
                  <a:pos x="1" y="2"/>
                </a:cxn>
              </a:cxnLst>
              <a:rect l="0" t="0" r="r" b="b"/>
              <a:pathLst>
                <a:path w="9" h="9">
                  <a:moveTo>
                    <a:pt x="1" y="2"/>
                  </a:moveTo>
                  <a:cubicBezTo>
                    <a:pt x="6" y="0"/>
                    <a:pt x="6" y="5"/>
                    <a:pt x="9" y="9"/>
                  </a:cubicBezTo>
                  <a:cubicBezTo>
                    <a:pt x="4" y="9"/>
                    <a:pt x="0" y="5"/>
                    <a:pt x="1" y="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8" name="Freeform 87"/>
            <p:cNvSpPr/>
            <p:nvPr/>
          </p:nvSpPr>
          <p:spPr bwMode="auto">
            <a:xfrm>
              <a:off x="2847975" y="985838"/>
              <a:ext cx="514350" cy="269875"/>
            </a:xfrm>
            <a:custGeom>
              <a:avLst/>
              <a:gdLst/>
              <a:ahLst/>
              <a:cxnLst>
                <a:cxn ang="0">
                  <a:pos x="307" y="16"/>
                </a:cxn>
                <a:cxn ang="0">
                  <a:pos x="350" y="9"/>
                </a:cxn>
                <a:cxn ang="0">
                  <a:pos x="386" y="28"/>
                </a:cxn>
                <a:cxn ang="0">
                  <a:pos x="313" y="51"/>
                </a:cxn>
                <a:cxn ang="0">
                  <a:pos x="295" y="74"/>
                </a:cxn>
                <a:cxn ang="0">
                  <a:pos x="231" y="108"/>
                </a:cxn>
                <a:cxn ang="0">
                  <a:pos x="216" y="118"/>
                </a:cxn>
                <a:cxn ang="0">
                  <a:pos x="216" y="137"/>
                </a:cxn>
                <a:cxn ang="0">
                  <a:pos x="174" y="157"/>
                </a:cxn>
                <a:cxn ang="0">
                  <a:pos x="158" y="184"/>
                </a:cxn>
                <a:cxn ang="0">
                  <a:pos x="176" y="188"/>
                </a:cxn>
                <a:cxn ang="0">
                  <a:pos x="126" y="197"/>
                </a:cxn>
                <a:cxn ang="0">
                  <a:pos x="80" y="201"/>
                </a:cxn>
                <a:cxn ang="0">
                  <a:pos x="33" y="197"/>
                </a:cxn>
                <a:cxn ang="0">
                  <a:pos x="60" y="176"/>
                </a:cxn>
                <a:cxn ang="0">
                  <a:pos x="57" y="158"/>
                </a:cxn>
                <a:cxn ang="0">
                  <a:pos x="92" y="170"/>
                </a:cxn>
                <a:cxn ang="0">
                  <a:pos x="66" y="148"/>
                </a:cxn>
                <a:cxn ang="0">
                  <a:pos x="55" y="151"/>
                </a:cxn>
                <a:cxn ang="0">
                  <a:pos x="68" y="131"/>
                </a:cxn>
                <a:cxn ang="0">
                  <a:pos x="62" y="97"/>
                </a:cxn>
                <a:cxn ang="0">
                  <a:pos x="67" y="89"/>
                </a:cxn>
                <a:cxn ang="0">
                  <a:pos x="97" y="90"/>
                </a:cxn>
                <a:cxn ang="0">
                  <a:pos x="108" y="91"/>
                </a:cxn>
                <a:cxn ang="0">
                  <a:pos x="133" y="86"/>
                </a:cxn>
                <a:cxn ang="0">
                  <a:pos x="147" y="74"/>
                </a:cxn>
                <a:cxn ang="0">
                  <a:pos x="99" y="81"/>
                </a:cxn>
                <a:cxn ang="0">
                  <a:pos x="72" y="76"/>
                </a:cxn>
                <a:cxn ang="0">
                  <a:pos x="57" y="81"/>
                </a:cxn>
                <a:cxn ang="0">
                  <a:pos x="44" y="67"/>
                </a:cxn>
                <a:cxn ang="0">
                  <a:pos x="51" y="53"/>
                </a:cxn>
                <a:cxn ang="0">
                  <a:pos x="25" y="60"/>
                </a:cxn>
                <a:cxn ang="0">
                  <a:pos x="29" y="49"/>
                </a:cxn>
                <a:cxn ang="0">
                  <a:pos x="9" y="52"/>
                </a:cxn>
                <a:cxn ang="0">
                  <a:pos x="44" y="36"/>
                </a:cxn>
                <a:cxn ang="0">
                  <a:pos x="57" y="32"/>
                </a:cxn>
                <a:cxn ang="0">
                  <a:pos x="104" y="32"/>
                </a:cxn>
                <a:cxn ang="0">
                  <a:pos x="135" y="11"/>
                </a:cxn>
                <a:cxn ang="0">
                  <a:pos x="196" y="6"/>
                </a:cxn>
                <a:cxn ang="0">
                  <a:pos x="218" y="8"/>
                </a:cxn>
                <a:cxn ang="0">
                  <a:pos x="245" y="3"/>
                </a:cxn>
                <a:cxn ang="0">
                  <a:pos x="315" y="11"/>
                </a:cxn>
              </a:cxnLst>
              <a:rect l="0" t="0" r="r" b="b"/>
              <a:pathLst>
                <a:path w="386" h="203">
                  <a:moveTo>
                    <a:pt x="315" y="11"/>
                  </a:moveTo>
                  <a:cubicBezTo>
                    <a:pt x="312" y="14"/>
                    <a:pt x="310" y="15"/>
                    <a:pt x="307" y="16"/>
                  </a:cubicBezTo>
                  <a:cubicBezTo>
                    <a:pt x="342" y="6"/>
                    <a:pt x="342" y="6"/>
                    <a:pt x="342" y="6"/>
                  </a:cubicBezTo>
                  <a:cubicBezTo>
                    <a:pt x="345" y="7"/>
                    <a:pt x="347" y="8"/>
                    <a:pt x="350" y="9"/>
                  </a:cubicBezTo>
                  <a:cubicBezTo>
                    <a:pt x="355" y="11"/>
                    <a:pt x="355" y="14"/>
                    <a:pt x="358" y="17"/>
                  </a:cubicBezTo>
                  <a:cubicBezTo>
                    <a:pt x="363" y="22"/>
                    <a:pt x="386" y="20"/>
                    <a:pt x="386" y="28"/>
                  </a:cubicBezTo>
                  <a:cubicBezTo>
                    <a:pt x="386" y="33"/>
                    <a:pt x="378" y="32"/>
                    <a:pt x="375" y="34"/>
                  </a:cubicBezTo>
                  <a:cubicBezTo>
                    <a:pt x="358" y="48"/>
                    <a:pt x="336" y="40"/>
                    <a:pt x="313" y="51"/>
                  </a:cubicBezTo>
                  <a:cubicBezTo>
                    <a:pt x="317" y="56"/>
                    <a:pt x="335" y="52"/>
                    <a:pt x="346" y="52"/>
                  </a:cubicBezTo>
                  <a:cubicBezTo>
                    <a:pt x="336" y="63"/>
                    <a:pt x="311" y="69"/>
                    <a:pt x="295" y="74"/>
                  </a:cubicBezTo>
                  <a:cubicBezTo>
                    <a:pt x="277" y="80"/>
                    <a:pt x="267" y="97"/>
                    <a:pt x="254" y="107"/>
                  </a:cubicBezTo>
                  <a:cubicBezTo>
                    <a:pt x="248" y="112"/>
                    <a:pt x="238" y="106"/>
                    <a:pt x="231" y="108"/>
                  </a:cubicBezTo>
                  <a:cubicBezTo>
                    <a:pt x="221" y="112"/>
                    <a:pt x="210" y="112"/>
                    <a:pt x="203" y="118"/>
                  </a:cubicBezTo>
                  <a:cubicBezTo>
                    <a:pt x="216" y="118"/>
                    <a:pt x="216" y="118"/>
                    <a:pt x="216" y="118"/>
                  </a:cubicBezTo>
                  <a:cubicBezTo>
                    <a:pt x="217" y="128"/>
                    <a:pt x="211" y="127"/>
                    <a:pt x="203" y="126"/>
                  </a:cubicBezTo>
                  <a:cubicBezTo>
                    <a:pt x="208" y="129"/>
                    <a:pt x="213" y="131"/>
                    <a:pt x="216" y="137"/>
                  </a:cubicBezTo>
                  <a:cubicBezTo>
                    <a:pt x="206" y="141"/>
                    <a:pt x="203" y="152"/>
                    <a:pt x="196" y="157"/>
                  </a:cubicBezTo>
                  <a:cubicBezTo>
                    <a:pt x="177" y="157"/>
                    <a:pt x="177" y="157"/>
                    <a:pt x="174" y="157"/>
                  </a:cubicBezTo>
                  <a:cubicBezTo>
                    <a:pt x="175" y="160"/>
                    <a:pt x="177" y="161"/>
                    <a:pt x="177" y="164"/>
                  </a:cubicBezTo>
                  <a:cubicBezTo>
                    <a:pt x="177" y="178"/>
                    <a:pt x="158" y="169"/>
                    <a:pt x="158" y="184"/>
                  </a:cubicBezTo>
                  <a:cubicBezTo>
                    <a:pt x="165" y="184"/>
                    <a:pt x="166" y="184"/>
                    <a:pt x="169" y="184"/>
                  </a:cubicBezTo>
                  <a:cubicBezTo>
                    <a:pt x="171" y="184"/>
                    <a:pt x="176" y="184"/>
                    <a:pt x="176" y="188"/>
                  </a:cubicBezTo>
                  <a:cubicBezTo>
                    <a:pt x="176" y="195"/>
                    <a:pt x="151" y="203"/>
                    <a:pt x="141" y="203"/>
                  </a:cubicBezTo>
                  <a:cubicBezTo>
                    <a:pt x="131" y="203"/>
                    <a:pt x="135" y="197"/>
                    <a:pt x="126" y="197"/>
                  </a:cubicBezTo>
                  <a:cubicBezTo>
                    <a:pt x="113" y="197"/>
                    <a:pt x="104" y="197"/>
                    <a:pt x="93" y="197"/>
                  </a:cubicBezTo>
                  <a:cubicBezTo>
                    <a:pt x="89" y="197"/>
                    <a:pt x="86" y="201"/>
                    <a:pt x="80" y="201"/>
                  </a:cubicBezTo>
                  <a:cubicBezTo>
                    <a:pt x="65" y="201"/>
                    <a:pt x="53" y="197"/>
                    <a:pt x="38" y="192"/>
                  </a:cubicBezTo>
                  <a:cubicBezTo>
                    <a:pt x="37" y="194"/>
                    <a:pt x="35" y="197"/>
                    <a:pt x="33" y="197"/>
                  </a:cubicBezTo>
                  <a:cubicBezTo>
                    <a:pt x="29" y="197"/>
                    <a:pt x="28" y="194"/>
                    <a:pt x="28" y="193"/>
                  </a:cubicBezTo>
                  <a:cubicBezTo>
                    <a:pt x="28" y="176"/>
                    <a:pt x="51" y="182"/>
                    <a:pt x="60" y="176"/>
                  </a:cubicBezTo>
                  <a:cubicBezTo>
                    <a:pt x="55" y="172"/>
                    <a:pt x="46" y="170"/>
                    <a:pt x="46" y="162"/>
                  </a:cubicBezTo>
                  <a:cubicBezTo>
                    <a:pt x="46" y="156"/>
                    <a:pt x="52" y="158"/>
                    <a:pt x="57" y="158"/>
                  </a:cubicBezTo>
                  <a:cubicBezTo>
                    <a:pt x="71" y="158"/>
                    <a:pt x="76" y="165"/>
                    <a:pt x="84" y="170"/>
                  </a:cubicBezTo>
                  <a:cubicBezTo>
                    <a:pt x="92" y="170"/>
                    <a:pt x="92" y="170"/>
                    <a:pt x="92" y="170"/>
                  </a:cubicBezTo>
                  <a:cubicBezTo>
                    <a:pt x="86" y="164"/>
                    <a:pt x="72" y="159"/>
                    <a:pt x="72" y="148"/>
                  </a:cubicBezTo>
                  <a:cubicBezTo>
                    <a:pt x="66" y="148"/>
                    <a:pt x="66" y="148"/>
                    <a:pt x="66" y="148"/>
                  </a:cubicBezTo>
                  <a:cubicBezTo>
                    <a:pt x="63" y="149"/>
                    <a:pt x="63" y="149"/>
                    <a:pt x="61" y="151"/>
                  </a:cubicBezTo>
                  <a:cubicBezTo>
                    <a:pt x="55" y="151"/>
                    <a:pt x="55" y="151"/>
                    <a:pt x="55" y="151"/>
                  </a:cubicBezTo>
                  <a:cubicBezTo>
                    <a:pt x="55" y="146"/>
                    <a:pt x="55" y="146"/>
                    <a:pt x="55" y="146"/>
                  </a:cubicBezTo>
                  <a:cubicBezTo>
                    <a:pt x="58" y="138"/>
                    <a:pt x="61" y="134"/>
                    <a:pt x="68" y="131"/>
                  </a:cubicBezTo>
                  <a:cubicBezTo>
                    <a:pt x="79" y="128"/>
                    <a:pt x="92" y="132"/>
                    <a:pt x="92" y="119"/>
                  </a:cubicBezTo>
                  <a:cubicBezTo>
                    <a:pt x="92" y="105"/>
                    <a:pt x="62" y="105"/>
                    <a:pt x="62" y="97"/>
                  </a:cubicBezTo>
                  <a:cubicBezTo>
                    <a:pt x="62" y="93"/>
                    <a:pt x="69" y="94"/>
                    <a:pt x="73" y="94"/>
                  </a:cubicBezTo>
                  <a:cubicBezTo>
                    <a:pt x="68" y="94"/>
                    <a:pt x="67" y="92"/>
                    <a:pt x="67" y="89"/>
                  </a:cubicBezTo>
                  <a:cubicBezTo>
                    <a:pt x="69" y="88"/>
                    <a:pt x="71" y="89"/>
                    <a:pt x="73" y="89"/>
                  </a:cubicBezTo>
                  <a:cubicBezTo>
                    <a:pt x="78" y="89"/>
                    <a:pt x="88" y="87"/>
                    <a:pt x="97" y="90"/>
                  </a:cubicBezTo>
                  <a:cubicBezTo>
                    <a:pt x="108" y="93"/>
                    <a:pt x="112" y="106"/>
                    <a:pt x="124" y="104"/>
                  </a:cubicBezTo>
                  <a:cubicBezTo>
                    <a:pt x="122" y="102"/>
                    <a:pt x="108" y="93"/>
                    <a:pt x="108" y="91"/>
                  </a:cubicBezTo>
                  <a:cubicBezTo>
                    <a:pt x="108" y="89"/>
                    <a:pt x="110" y="88"/>
                    <a:pt x="111" y="86"/>
                  </a:cubicBezTo>
                  <a:cubicBezTo>
                    <a:pt x="133" y="86"/>
                    <a:pt x="133" y="86"/>
                    <a:pt x="133" y="86"/>
                  </a:cubicBezTo>
                  <a:cubicBezTo>
                    <a:pt x="141" y="83"/>
                    <a:pt x="149" y="81"/>
                    <a:pt x="154" y="74"/>
                  </a:cubicBezTo>
                  <a:cubicBezTo>
                    <a:pt x="147" y="74"/>
                    <a:pt x="147" y="74"/>
                    <a:pt x="147" y="74"/>
                  </a:cubicBezTo>
                  <a:cubicBezTo>
                    <a:pt x="138" y="81"/>
                    <a:pt x="128" y="84"/>
                    <a:pt x="114" y="84"/>
                  </a:cubicBezTo>
                  <a:cubicBezTo>
                    <a:pt x="106" y="84"/>
                    <a:pt x="103" y="81"/>
                    <a:pt x="99" y="81"/>
                  </a:cubicBezTo>
                  <a:cubicBezTo>
                    <a:pt x="95" y="81"/>
                    <a:pt x="93" y="85"/>
                    <a:pt x="90" y="85"/>
                  </a:cubicBezTo>
                  <a:cubicBezTo>
                    <a:pt x="81" y="85"/>
                    <a:pt x="70" y="82"/>
                    <a:pt x="72" y="76"/>
                  </a:cubicBezTo>
                  <a:cubicBezTo>
                    <a:pt x="67" y="76"/>
                    <a:pt x="67" y="76"/>
                    <a:pt x="67" y="76"/>
                  </a:cubicBezTo>
                  <a:cubicBezTo>
                    <a:pt x="63" y="78"/>
                    <a:pt x="61" y="81"/>
                    <a:pt x="57" y="81"/>
                  </a:cubicBezTo>
                  <a:cubicBezTo>
                    <a:pt x="48" y="81"/>
                    <a:pt x="36" y="75"/>
                    <a:pt x="33" y="71"/>
                  </a:cubicBezTo>
                  <a:cubicBezTo>
                    <a:pt x="36" y="69"/>
                    <a:pt x="39" y="67"/>
                    <a:pt x="44" y="67"/>
                  </a:cubicBezTo>
                  <a:cubicBezTo>
                    <a:pt x="36" y="67"/>
                    <a:pt x="27" y="66"/>
                    <a:pt x="24" y="67"/>
                  </a:cubicBezTo>
                  <a:cubicBezTo>
                    <a:pt x="29" y="55"/>
                    <a:pt x="40" y="56"/>
                    <a:pt x="51" y="53"/>
                  </a:cubicBezTo>
                  <a:cubicBezTo>
                    <a:pt x="47" y="52"/>
                    <a:pt x="46" y="52"/>
                    <a:pt x="42" y="52"/>
                  </a:cubicBezTo>
                  <a:cubicBezTo>
                    <a:pt x="33" y="52"/>
                    <a:pt x="33" y="60"/>
                    <a:pt x="25" y="60"/>
                  </a:cubicBezTo>
                  <a:cubicBezTo>
                    <a:pt x="22" y="60"/>
                    <a:pt x="18" y="57"/>
                    <a:pt x="17" y="56"/>
                  </a:cubicBezTo>
                  <a:cubicBezTo>
                    <a:pt x="21" y="52"/>
                    <a:pt x="24" y="51"/>
                    <a:pt x="29" y="49"/>
                  </a:cubicBezTo>
                  <a:cubicBezTo>
                    <a:pt x="16" y="49"/>
                    <a:pt x="16" y="49"/>
                    <a:pt x="16" y="49"/>
                  </a:cubicBezTo>
                  <a:cubicBezTo>
                    <a:pt x="13" y="50"/>
                    <a:pt x="11" y="51"/>
                    <a:pt x="9" y="52"/>
                  </a:cubicBezTo>
                  <a:cubicBezTo>
                    <a:pt x="7" y="52"/>
                    <a:pt x="2" y="52"/>
                    <a:pt x="0" y="52"/>
                  </a:cubicBezTo>
                  <a:cubicBezTo>
                    <a:pt x="2" y="41"/>
                    <a:pt x="31" y="36"/>
                    <a:pt x="44" y="36"/>
                  </a:cubicBezTo>
                  <a:cubicBezTo>
                    <a:pt x="49" y="36"/>
                    <a:pt x="52" y="36"/>
                    <a:pt x="53" y="36"/>
                  </a:cubicBezTo>
                  <a:cubicBezTo>
                    <a:pt x="55" y="36"/>
                    <a:pt x="57" y="34"/>
                    <a:pt x="57" y="32"/>
                  </a:cubicBezTo>
                  <a:cubicBezTo>
                    <a:pt x="71" y="32"/>
                    <a:pt x="65" y="22"/>
                    <a:pt x="74" y="22"/>
                  </a:cubicBezTo>
                  <a:cubicBezTo>
                    <a:pt x="83" y="22"/>
                    <a:pt x="100" y="31"/>
                    <a:pt x="104" y="32"/>
                  </a:cubicBezTo>
                  <a:cubicBezTo>
                    <a:pt x="108" y="22"/>
                    <a:pt x="113" y="12"/>
                    <a:pt x="126" y="12"/>
                  </a:cubicBezTo>
                  <a:cubicBezTo>
                    <a:pt x="134" y="12"/>
                    <a:pt x="129" y="16"/>
                    <a:pt x="135" y="11"/>
                  </a:cubicBezTo>
                  <a:cubicBezTo>
                    <a:pt x="137" y="7"/>
                    <a:pt x="141" y="6"/>
                    <a:pt x="145" y="6"/>
                  </a:cubicBezTo>
                  <a:cubicBezTo>
                    <a:pt x="168" y="6"/>
                    <a:pt x="173" y="6"/>
                    <a:pt x="196" y="6"/>
                  </a:cubicBezTo>
                  <a:cubicBezTo>
                    <a:pt x="197" y="4"/>
                    <a:pt x="199" y="3"/>
                    <a:pt x="201" y="3"/>
                  </a:cubicBezTo>
                  <a:cubicBezTo>
                    <a:pt x="209" y="3"/>
                    <a:pt x="211" y="8"/>
                    <a:pt x="218" y="8"/>
                  </a:cubicBezTo>
                  <a:cubicBezTo>
                    <a:pt x="224" y="8"/>
                    <a:pt x="226" y="0"/>
                    <a:pt x="232" y="0"/>
                  </a:cubicBezTo>
                  <a:cubicBezTo>
                    <a:pt x="239" y="0"/>
                    <a:pt x="241" y="3"/>
                    <a:pt x="245" y="3"/>
                  </a:cubicBezTo>
                  <a:cubicBezTo>
                    <a:pt x="250" y="3"/>
                    <a:pt x="253" y="3"/>
                    <a:pt x="258" y="3"/>
                  </a:cubicBezTo>
                  <a:cubicBezTo>
                    <a:pt x="268" y="3"/>
                    <a:pt x="306" y="2"/>
                    <a:pt x="315" y="1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29" name="Freeform 88"/>
            <p:cNvSpPr/>
            <p:nvPr/>
          </p:nvSpPr>
          <p:spPr bwMode="auto">
            <a:xfrm>
              <a:off x="3170238" y="960438"/>
              <a:ext cx="1006475" cy="765175"/>
            </a:xfrm>
            <a:custGeom>
              <a:avLst/>
              <a:gdLst/>
              <a:ahLst/>
              <a:cxnLst>
                <a:cxn ang="0">
                  <a:pos x="280" y="372"/>
                </a:cxn>
                <a:cxn ang="0">
                  <a:pos x="267" y="360"/>
                </a:cxn>
                <a:cxn ang="0">
                  <a:pos x="228" y="336"/>
                </a:cxn>
                <a:cxn ang="0">
                  <a:pos x="215" y="302"/>
                </a:cxn>
                <a:cxn ang="0">
                  <a:pos x="109" y="219"/>
                </a:cxn>
                <a:cxn ang="0">
                  <a:pos x="73" y="223"/>
                </a:cxn>
                <a:cxn ang="0">
                  <a:pos x="43" y="217"/>
                </a:cxn>
                <a:cxn ang="0">
                  <a:pos x="19" y="202"/>
                </a:cxn>
                <a:cxn ang="0">
                  <a:pos x="51" y="190"/>
                </a:cxn>
                <a:cxn ang="0">
                  <a:pos x="64" y="180"/>
                </a:cxn>
                <a:cxn ang="0">
                  <a:pos x="0" y="166"/>
                </a:cxn>
                <a:cxn ang="0">
                  <a:pos x="84" y="141"/>
                </a:cxn>
                <a:cxn ang="0">
                  <a:pos x="72" y="102"/>
                </a:cxn>
                <a:cxn ang="0">
                  <a:pos x="144" y="59"/>
                </a:cxn>
                <a:cxn ang="0">
                  <a:pos x="237" y="56"/>
                </a:cxn>
                <a:cxn ang="0">
                  <a:pos x="260" y="53"/>
                </a:cxn>
                <a:cxn ang="0">
                  <a:pos x="274" y="38"/>
                </a:cxn>
                <a:cxn ang="0">
                  <a:pos x="309" y="36"/>
                </a:cxn>
                <a:cxn ang="0">
                  <a:pos x="355" y="15"/>
                </a:cxn>
                <a:cxn ang="0">
                  <a:pos x="391" y="13"/>
                </a:cxn>
                <a:cxn ang="0">
                  <a:pos x="534" y="0"/>
                </a:cxn>
                <a:cxn ang="0">
                  <a:pos x="594" y="48"/>
                </a:cxn>
                <a:cxn ang="0">
                  <a:pos x="570" y="75"/>
                </a:cxn>
                <a:cxn ang="0">
                  <a:pos x="603" y="102"/>
                </a:cxn>
                <a:cxn ang="0">
                  <a:pos x="684" y="66"/>
                </a:cxn>
                <a:cxn ang="0">
                  <a:pos x="730" y="51"/>
                </a:cxn>
                <a:cxn ang="0">
                  <a:pos x="702" y="94"/>
                </a:cxn>
                <a:cxn ang="0">
                  <a:pos x="691" y="114"/>
                </a:cxn>
                <a:cxn ang="0">
                  <a:pos x="654" y="150"/>
                </a:cxn>
                <a:cxn ang="0">
                  <a:pos x="677" y="178"/>
                </a:cxn>
                <a:cxn ang="0">
                  <a:pos x="657" y="202"/>
                </a:cxn>
                <a:cxn ang="0">
                  <a:pos x="669" y="236"/>
                </a:cxn>
                <a:cxn ang="0">
                  <a:pos x="673" y="260"/>
                </a:cxn>
                <a:cxn ang="0">
                  <a:pos x="633" y="295"/>
                </a:cxn>
                <a:cxn ang="0">
                  <a:pos x="637" y="305"/>
                </a:cxn>
                <a:cxn ang="0">
                  <a:pos x="601" y="297"/>
                </a:cxn>
                <a:cxn ang="0">
                  <a:pos x="633" y="358"/>
                </a:cxn>
                <a:cxn ang="0">
                  <a:pos x="596" y="347"/>
                </a:cxn>
                <a:cxn ang="0">
                  <a:pos x="616" y="375"/>
                </a:cxn>
                <a:cxn ang="0">
                  <a:pos x="518" y="408"/>
                </a:cxn>
                <a:cxn ang="0">
                  <a:pos x="483" y="445"/>
                </a:cxn>
                <a:cxn ang="0">
                  <a:pos x="443" y="449"/>
                </a:cxn>
                <a:cxn ang="0">
                  <a:pos x="402" y="485"/>
                </a:cxn>
                <a:cxn ang="0">
                  <a:pos x="384" y="523"/>
                </a:cxn>
                <a:cxn ang="0">
                  <a:pos x="362" y="571"/>
                </a:cxn>
                <a:cxn ang="0">
                  <a:pos x="313" y="560"/>
                </a:cxn>
                <a:cxn ang="0">
                  <a:pos x="270" y="499"/>
                </a:cxn>
                <a:cxn ang="0">
                  <a:pos x="256" y="475"/>
                </a:cxn>
                <a:cxn ang="0">
                  <a:pos x="237" y="438"/>
                </a:cxn>
                <a:cxn ang="0">
                  <a:pos x="255" y="403"/>
                </a:cxn>
              </a:cxnLst>
              <a:rect l="0" t="0" r="r" b="b"/>
              <a:pathLst>
                <a:path w="756" h="575">
                  <a:moveTo>
                    <a:pt x="255" y="403"/>
                  </a:moveTo>
                  <a:cubicBezTo>
                    <a:pt x="261" y="400"/>
                    <a:pt x="261" y="400"/>
                    <a:pt x="267" y="402"/>
                  </a:cubicBezTo>
                  <a:cubicBezTo>
                    <a:pt x="270" y="389"/>
                    <a:pt x="276" y="385"/>
                    <a:pt x="280" y="372"/>
                  </a:cubicBezTo>
                  <a:cubicBezTo>
                    <a:pt x="266" y="368"/>
                    <a:pt x="234" y="366"/>
                    <a:pt x="233" y="353"/>
                  </a:cubicBezTo>
                  <a:cubicBezTo>
                    <a:pt x="237" y="352"/>
                    <a:pt x="236" y="353"/>
                    <a:pt x="240" y="353"/>
                  </a:cubicBezTo>
                  <a:cubicBezTo>
                    <a:pt x="250" y="353"/>
                    <a:pt x="256" y="360"/>
                    <a:pt x="267" y="360"/>
                  </a:cubicBezTo>
                  <a:cubicBezTo>
                    <a:pt x="271" y="360"/>
                    <a:pt x="271" y="356"/>
                    <a:pt x="271" y="353"/>
                  </a:cubicBezTo>
                  <a:cubicBezTo>
                    <a:pt x="258" y="349"/>
                    <a:pt x="254" y="328"/>
                    <a:pt x="239" y="328"/>
                  </a:cubicBezTo>
                  <a:cubicBezTo>
                    <a:pt x="235" y="328"/>
                    <a:pt x="234" y="336"/>
                    <a:pt x="228" y="336"/>
                  </a:cubicBezTo>
                  <a:cubicBezTo>
                    <a:pt x="220" y="336"/>
                    <a:pt x="216" y="335"/>
                    <a:pt x="216" y="328"/>
                  </a:cubicBezTo>
                  <a:cubicBezTo>
                    <a:pt x="216" y="318"/>
                    <a:pt x="226" y="319"/>
                    <a:pt x="226" y="309"/>
                  </a:cubicBezTo>
                  <a:cubicBezTo>
                    <a:pt x="226" y="303"/>
                    <a:pt x="219" y="302"/>
                    <a:pt x="215" y="302"/>
                  </a:cubicBezTo>
                  <a:cubicBezTo>
                    <a:pt x="215" y="295"/>
                    <a:pt x="215" y="295"/>
                    <a:pt x="215" y="295"/>
                  </a:cubicBezTo>
                  <a:cubicBezTo>
                    <a:pt x="203" y="257"/>
                    <a:pt x="172" y="219"/>
                    <a:pt x="122" y="219"/>
                  </a:cubicBezTo>
                  <a:cubicBezTo>
                    <a:pt x="115" y="219"/>
                    <a:pt x="113" y="219"/>
                    <a:pt x="109" y="219"/>
                  </a:cubicBezTo>
                  <a:cubicBezTo>
                    <a:pt x="103" y="219"/>
                    <a:pt x="101" y="224"/>
                    <a:pt x="95" y="224"/>
                  </a:cubicBezTo>
                  <a:cubicBezTo>
                    <a:pt x="91" y="224"/>
                    <a:pt x="87" y="221"/>
                    <a:pt x="82" y="221"/>
                  </a:cubicBezTo>
                  <a:cubicBezTo>
                    <a:pt x="77" y="221"/>
                    <a:pt x="75" y="222"/>
                    <a:pt x="73" y="223"/>
                  </a:cubicBezTo>
                  <a:cubicBezTo>
                    <a:pt x="74" y="224"/>
                    <a:pt x="76" y="226"/>
                    <a:pt x="77" y="226"/>
                  </a:cubicBezTo>
                  <a:cubicBezTo>
                    <a:pt x="75" y="229"/>
                    <a:pt x="75" y="228"/>
                    <a:pt x="72" y="228"/>
                  </a:cubicBezTo>
                  <a:cubicBezTo>
                    <a:pt x="62" y="228"/>
                    <a:pt x="48" y="224"/>
                    <a:pt x="43" y="217"/>
                  </a:cubicBezTo>
                  <a:cubicBezTo>
                    <a:pt x="47" y="214"/>
                    <a:pt x="50" y="214"/>
                    <a:pt x="52" y="210"/>
                  </a:cubicBezTo>
                  <a:cubicBezTo>
                    <a:pt x="45" y="207"/>
                    <a:pt x="39" y="202"/>
                    <a:pt x="34" y="202"/>
                  </a:cubicBezTo>
                  <a:cubicBezTo>
                    <a:pt x="24" y="202"/>
                    <a:pt x="27" y="206"/>
                    <a:pt x="19" y="202"/>
                  </a:cubicBezTo>
                  <a:cubicBezTo>
                    <a:pt x="19" y="196"/>
                    <a:pt x="28" y="194"/>
                    <a:pt x="32" y="194"/>
                  </a:cubicBezTo>
                  <a:cubicBezTo>
                    <a:pt x="37" y="194"/>
                    <a:pt x="40" y="194"/>
                    <a:pt x="43" y="194"/>
                  </a:cubicBezTo>
                  <a:cubicBezTo>
                    <a:pt x="47" y="194"/>
                    <a:pt x="49" y="193"/>
                    <a:pt x="51" y="190"/>
                  </a:cubicBezTo>
                  <a:cubicBezTo>
                    <a:pt x="76" y="190"/>
                    <a:pt x="76" y="190"/>
                    <a:pt x="76" y="190"/>
                  </a:cubicBezTo>
                  <a:cubicBezTo>
                    <a:pt x="80" y="187"/>
                    <a:pt x="80" y="185"/>
                    <a:pt x="82" y="180"/>
                  </a:cubicBezTo>
                  <a:cubicBezTo>
                    <a:pt x="64" y="180"/>
                    <a:pt x="64" y="180"/>
                    <a:pt x="64" y="180"/>
                  </a:cubicBezTo>
                  <a:cubicBezTo>
                    <a:pt x="63" y="183"/>
                    <a:pt x="62" y="185"/>
                    <a:pt x="60" y="185"/>
                  </a:cubicBezTo>
                  <a:cubicBezTo>
                    <a:pt x="53" y="185"/>
                    <a:pt x="50" y="185"/>
                    <a:pt x="44" y="185"/>
                  </a:cubicBezTo>
                  <a:cubicBezTo>
                    <a:pt x="42" y="185"/>
                    <a:pt x="0" y="173"/>
                    <a:pt x="0" y="166"/>
                  </a:cubicBezTo>
                  <a:cubicBezTo>
                    <a:pt x="0" y="152"/>
                    <a:pt x="16" y="157"/>
                    <a:pt x="25" y="154"/>
                  </a:cubicBezTo>
                  <a:cubicBezTo>
                    <a:pt x="33" y="151"/>
                    <a:pt x="38" y="146"/>
                    <a:pt x="46" y="144"/>
                  </a:cubicBezTo>
                  <a:cubicBezTo>
                    <a:pt x="58" y="140"/>
                    <a:pt x="74" y="146"/>
                    <a:pt x="84" y="141"/>
                  </a:cubicBezTo>
                  <a:cubicBezTo>
                    <a:pt x="91" y="136"/>
                    <a:pt x="96" y="128"/>
                    <a:pt x="96" y="117"/>
                  </a:cubicBezTo>
                  <a:cubicBezTo>
                    <a:pt x="88" y="116"/>
                    <a:pt x="63" y="117"/>
                    <a:pt x="63" y="109"/>
                  </a:cubicBezTo>
                  <a:cubicBezTo>
                    <a:pt x="63" y="105"/>
                    <a:pt x="69" y="102"/>
                    <a:pt x="72" y="102"/>
                  </a:cubicBezTo>
                  <a:cubicBezTo>
                    <a:pt x="87" y="97"/>
                    <a:pt x="106" y="86"/>
                    <a:pt x="115" y="78"/>
                  </a:cubicBezTo>
                  <a:cubicBezTo>
                    <a:pt x="119" y="80"/>
                    <a:pt x="122" y="81"/>
                    <a:pt x="127" y="81"/>
                  </a:cubicBezTo>
                  <a:cubicBezTo>
                    <a:pt x="142" y="81"/>
                    <a:pt x="130" y="61"/>
                    <a:pt x="144" y="59"/>
                  </a:cubicBezTo>
                  <a:cubicBezTo>
                    <a:pt x="162" y="57"/>
                    <a:pt x="169" y="52"/>
                    <a:pt x="185" y="52"/>
                  </a:cubicBezTo>
                  <a:cubicBezTo>
                    <a:pt x="198" y="49"/>
                    <a:pt x="206" y="42"/>
                    <a:pt x="218" y="42"/>
                  </a:cubicBezTo>
                  <a:cubicBezTo>
                    <a:pt x="226" y="42"/>
                    <a:pt x="229" y="56"/>
                    <a:pt x="237" y="56"/>
                  </a:cubicBezTo>
                  <a:cubicBezTo>
                    <a:pt x="237" y="52"/>
                    <a:pt x="235" y="50"/>
                    <a:pt x="235" y="47"/>
                  </a:cubicBezTo>
                  <a:cubicBezTo>
                    <a:pt x="239" y="42"/>
                    <a:pt x="239" y="42"/>
                    <a:pt x="239" y="42"/>
                  </a:cubicBezTo>
                  <a:cubicBezTo>
                    <a:pt x="244" y="51"/>
                    <a:pt x="252" y="50"/>
                    <a:pt x="260" y="53"/>
                  </a:cubicBezTo>
                  <a:cubicBezTo>
                    <a:pt x="262" y="53"/>
                    <a:pt x="267" y="53"/>
                    <a:pt x="267" y="53"/>
                  </a:cubicBezTo>
                  <a:cubicBezTo>
                    <a:pt x="266" y="50"/>
                    <a:pt x="263" y="47"/>
                    <a:pt x="263" y="44"/>
                  </a:cubicBezTo>
                  <a:cubicBezTo>
                    <a:pt x="263" y="38"/>
                    <a:pt x="270" y="38"/>
                    <a:pt x="274" y="38"/>
                  </a:cubicBezTo>
                  <a:cubicBezTo>
                    <a:pt x="293" y="38"/>
                    <a:pt x="303" y="48"/>
                    <a:pt x="314" y="53"/>
                  </a:cubicBezTo>
                  <a:cubicBezTo>
                    <a:pt x="334" y="53"/>
                    <a:pt x="334" y="53"/>
                    <a:pt x="334" y="53"/>
                  </a:cubicBezTo>
                  <a:cubicBezTo>
                    <a:pt x="327" y="50"/>
                    <a:pt x="309" y="44"/>
                    <a:pt x="309" y="36"/>
                  </a:cubicBezTo>
                  <a:cubicBezTo>
                    <a:pt x="309" y="29"/>
                    <a:pt x="322" y="31"/>
                    <a:pt x="326" y="30"/>
                  </a:cubicBezTo>
                  <a:cubicBezTo>
                    <a:pt x="323" y="27"/>
                    <a:pt x="320" y="27"/>
                    <a:pt x="318" y="24"/>
                  </a:cubicBezTo>
                  <a:cubicBezTo>
                    <a:pt x="330" y="18"/>
                    <a:pt x="341" y="15"/>
                    <a:pt x="355" y="15"/>
                  </a:cubicBezTo>
                  <a:cubicBezTo>
                    <a:pt x="366" y="15"/>
                    <a:pt x="373" y="15"/>
                    <a:pt x="382" y="18"/>
                  </a:cubicBezTo>
                  <a:cubicBezTo>
                    <a:pt x="391" y="18"/>
                    <a:pt x="391" y="18"/>
                    <a:pt x="391" y="18"/>
                  </a:cubicBezTo>
                  <a:cubicBezTo>
                    <a:pt x="391" y="13"/>
                    <a:pt x="391" y="13"/>
                    <a:pt x="391" y="13"/>
                  </a:cubicBezTo>
                  <a:cubicBezTo>
                    <a:pt x="398" y="12"/>
                    <a:pt x="402" y="13"/>
                    <a:pt x="409" y="13"/>
                  </a:cubicBezTo>
                  <a:cubicBezTo>
                    <a:pt x="430" y="13"/>
                    <a:pt x="447" y="0"/>
                    <a:pt x="470" y="0"/>
                  </a:cubicBezTo>
                  <a:cubicBezTo>
                    <a:pt x="495" y="0"/>
                    <a:pt x="512" y="0"/>
                    <a:pt x="534" y="0"/>
                  </a:cubicBezTo>
                  <a:cubicBezTo>
                    <a:pt x="560" y="0"/>
                    <a:pt x="579" y="17"/>
                    <a:pt x="600" y="26"/>
                  </a:cubicBezTo>
                  <a:cubicBezTo>
                    <a:pt x="612" y="31"/>
                    <a:pt x="627" y="28"/>
                    <a:pt x="638" y="30"/>
                  </a:cubicBezTo>
                  <a:cubicBezTo>
                    <a:pt x="636" y="46"/>
                    <a:pt x="606" y="44"/>
                    <a:pt x="594" y="48"/>
                  </a:cubicBezTo>
                  <a:cubicBezTo>
                    <a:pt x="497" y="53"/>
                    <a:pt x="497" y="53"/>
                    <a:pt x="497" y="53"/>
                  </a:cubicBezTo>
                  <a:cubicBezTo>
                    <a:pt x="505" y="59"/>
                    <a:pt x="579" y="50"/>
                    <a:pt x="587" y="53"/>
                  </a:cubicBezTo>
                  <a:cubicBezTo>
                    <a:pt x="586" y="57"/>
                    <a:pt x="567" y="75"/>
                    <a:pt x="570" y="75"/>
                  </a:cubicBezTo>
                  <a:cubicBezTo>
                    <a:pt x="581" y="75"/>
                    <a:pt x="607" y="50"/>
                    <a:pt x="622" y="50"/>
                  </a:cubicBezTo>
                  <a:cubicBezTo>
                    <a:pt x="630" y="50"/>
                    <a:pt x="633" y="57"/>
                    <a:pt x="633" y="64"/>
                  </a:cubicBezTo>
                  <a:cubicBezTo>
                    <a:pt x="633" y="67"/>
                    <a:pt x="605" y="97"/>
                    <a:pt x="603" y="102"/>
                  </a:cubicBezTo>
                  <a:cubicBezTo>
                    <a:pt x="615" y="99"/>
                    <a:pt x="637" y="70"/>
                    <a:pt x="644" y="64"/>
                  </a:cubicBezTo>
                  <a:cubicBezTo>
                    <a:pt x="655" y="64"/>
                    <a:pt x="674" y="64"/>
                    <a:pt x="674" y="64"/>
                  </a:cubicBezTo>
                  <a:cubicBezTo>
                    <a:pt x="674" y="64"/>
                    <a:pt x="682" y="66"/>
                    <a:pt x="684" y="66"/>
                  </a:cubicBezTo>
                  <a:cubicBezTo>
                    <a:pt x="692" y="63"/>
                    <a:pt x="693" y="60"/>
                    <a:pt x="700" y="57"/>
                  </a:cubicBezTo>
                  <a:cubicBezTo>
                    <a:pt x="721" y="57"/>
                    <a:pt x="721" y="57"/>
                    <a:pt x="721" y="57"/>
                  </a:cubicBezTo>
                  <a:cubicBezTo>
                    <a:pt x="723" y="52"/>
                    <a:pt x="726" y="51"/>
                    <a:pt x="730" y="51"/>
                  </a:cubicBezTo>
                  <a:cubicBezTo>
                    <a:pt x="736" y="51"/>
                    <a:pt x="756" y="61"/>
                    <a:pt x="756" y="67"/>
                  </a:cubicBezTo>
                  <a:cubicBezTo>
                    <a:pt x="756" y="72"/>
                    <a:pt x="748" y="76"/>
                    <a:pt x="745" y="77"/>
                  </a:cubicBezTo>
                  <a:cubicBezTo>
                    <a:pt x="731" y="82"/>
                    <a:pt x="722" y="94"/>
                    <a:pt x="702" y="94"/>
                  </a:cubicBezTo>
                  <a:cubicBezTo>
                    <a:pt x="707" y="97"/>
                    <a:pt x="708" y="97"/>
                    <a:pt x="711" y="94"/>
                  </a:cubicBezTo>
                  <a:cubicBezTo>
                    <a:pt x="711" y="107"/>
                    <a:pt x="699" y="107"/>
                    <a:pt x="691" y="109"/>
                  </a:cubicBezTo>
                  <a:cubicBezTo>
                    <a:pt x="694" y="115"/>
                    <a:pt x="691" y="110"/>
                    <a:pt x="691" y="114"/>
                  </a:cubicBezTo>
                  <a:cubicBezTo>
                    <a:pt x="691" y="121"/>
                    <a:pt x="680" y="123"/>
                    <a:pt x="671" y="125"/>
                  </a:cubicBezTo>
                  <a:cubicBezTo>
                    <a:pt x="672" y="130"/>
                    <a:pt x="671" y="130"/>
                    <a:pt x="671" y="132"/>
                  </a:cubicBezTo>
                  <a:cubicBezTo>
                    <a:pt x="671" y="141"/>
                    <a:pt x="662" y="144"/>
                    <a:pt x="654" y="150"/>
                  </a:cubicBezTo>
                  <a:cubicBezTo>
                    <a:pt x="648" y="154"/>
                    <a:pt x="649" y="165"/>
                    <a:pt x="646" y="169"/>
                  </a:cubicBezTo>
                  <a:cubicBezTo>
                    <a:pt x="651" y="172"/>
                    <a:pt x="655" y="169"/>
                    <a:pt x="659" y="169"/>
                  </a:cubicBezTo>
                  <a:cubicBezTo>
                    <a:pt x="667" y="169"/>
                    <a:pt x="673" y="174"/>
                    <a:pt x="677" y="178"/>
                  </a:cubicBezTo>
                  <a:cubicBezTo>
                    <a:pt x="675" y="179"/>
                    <a:pt x="672" y="180"/>
                    <a:pt x="669" y="180"/>
                  </a:cubicBezTo>
                  <a:cubicBezTo>
                    <a:pt x="671" y="187"/>
                    <a:pt x="688" y="185"/>
                    <a:pt x="688" y="196"/>
                  </a:cubicBezTo>
                  <a:cubicBezTo>
                    <a:pt x="688" y="206"/>
                    <a:pt x="665" y="202"/>
                    <a:pt x="657" y="202"/>
                  </a:cubicBezTo>
                  <a:cubicBezTo>
                    <a:pt x="652" y="202"/>
                    <a:pt x="648" y="206"/>
                    <a:pt x="648" y="209"/>
                  </a:cubicBezTo>
                  <a:cubicBezTo>
                    <a:pt x="648" y="217"/>
                    <a:pt x="656" y="217"/>
                    <a:pt x="663" y="217"/>
                  </a:cubicBezTo>
                  <a:cubicBezTo>
                    <a:pt x="663" y="226"/>
                    <a:pt x="669" y="229"/>
                    <a:pt x="669" y="236"/>
                  </a:cubicBezTo>
                  <a:cubicBezTo>
                    <a:pt x="669" y="239"/>
                    <a:pt x="667" y="243"/>
                    <a:pt x="669" y="245"/>
                  </a:cubicBezTo>
                  <a:cubicBezTo>
                    <a:pt x="662" y="245"/>
                    <a:pt x="655" y="245"/>
                    <a:pt x="655" y="251"/>
                  </a:cubicBezTo>
                  <a:cubicBezTo>
                    <a:pt x="655" y="258"/>
                    <a:pt x="667" y="258"/>
                    <a:pt x="673" y="260"/>
                  </a:cubicBezTo>
                  <a:cubicBezTo>
                    <a:pt x="670" y="267"/>
                    <a:pt x="661" y="271"/>
                    <a:pt x="653" y="272"/>
                  </a:cubicBezTo>
                  <a:cubicBezTo>
                    <a:pt x="653" y="275"/>
                    <a:pt x="655" y="277"/>
                    <a:pt x="657" y="278"/>
                  </a:cubicBezTo>
                  <a:cubicBezTo>
                    <a:pt x="654" y="292"/>
                    <a:pt x="637" y="286"/>
                    <a:pt x="633" y="295"/>
                  </a:cubicBezTo>
                  <a:cubicBezTo>
                    <a:pt x="628" y="292"/>
                    <a:pt x="623" y="290"/>
                    <a:pt x="620" y="285"/>
                  </a:cubicBezTo>
                  <a:cubicBezTo>
                    <a:pt x="613" y="285"/>
                    <a:pt x="613" y="285"/>
                    <a:pt x="613" y="285"/>
                  </a:cubicBezTo>
                  <a:cubicBezTo>
                    <a:pt x="618" y="297"/>
                    <a:pt x="637" y="293"/>
                    <a:pt x="637" y="305"/>
                  </a:cubicBezTo>
                  <a:cubicBezTo>
                    <a:pt x="637" y="310"/>
                    <a:pt x="636" y="317"/>
                    <a:pt x="631" y="317"/>
                  </a:cubicBezTo>
                  <a:cubicBezTo>
                    <a:pt x="623" y="317"/>
                    <a:pt x="609" y="306"/>
                    <a:pt x="607" y="297"/>
                  </a:cubicBezTo>
                  <a:cubicBezTo>
                    <a:pt x="603" y="298"/>
                    <a:pt x="602" y="297"/>
                    <a:pt x="601" y="297"/>
                  </a:cubicBezTo>
                  <a:cubicBezTo>
                    <a:pt x="601" y="304"/>
                    <a:pt x="601" y="304"/>
                    <a:pt x="601" y="304"/>
                  </a:cubicBezTo>
                  <a:cubicBezTo>
                    <a:pt x="617" y="320"/>
                    <a:pt x="645" y="327"/>
                    <a:pt x="645" y="352"/>
                  </a:cubicBezTo>
                  <a:cubicBezTo>
                    <a:pt x="645" y="357"/>
                    <a:pt x="638" y="358"/>
                    <a:pt x="633" y="358"/>
                  </a:cubicBezTo>
                  <a:cubicBezTo>
                    <a:pt x="612" y="358"/>
                    <a:pt x="617" y="336"/>
                    <a:pt x="599" y="336"/>
                  </a:cubicBezTo>
                  <a:cubicBezTo>
                    <a:pt x="596" y="336"/>
                    <a:pt x="594" y="337"/>
                    <a:pt x="592" y="336"/>
                  </a:cubicBezTo>
                  <a:cubicBezTo>
                    <a:pt x="592" y="342"/>
                    <a:pt x="596" y="343"/>
                    <a:pt x="596" y="347"/>
                  </a:cubicBezTo>
                  <a:cubicBezTo>
                    <a:pt x="596" y="351"/>
                    <a:pt x="589" y="352"/>
                    <a:pt x="587" y="352"/>
                  </a:cubicBezTo>
                  <a:cubicBezTo>
                    <a:pt x="587" y="366"/>
                    <a:pt x="626" y="364"/>
                    <a:pt x="635" y="367"/>
                  </a:cubicBezTo>
                  <a:cubicBezTo>
                    <a:pt x="629" y="372"/>
                    <a:pt x="624" y="373"/>
                    <a:pt x="616" y="375"/>
                  </a:cubicBezTo>
                  <a:cubicBezTo>
                    <a:pt x="602" y="380"/>
                    <a:pt x="597" y="393"/>
                    <a:pt x="584" y="397"/>
                  </a:cubicBezTo>
                  <a:cubicBezTo>
                    <a:pt x="569" y="402"/>
                    <a:pt x="556" y="400"/>
                    <a:pt x="539" y="408"/>
                  </a:cubicBezTo>
                  <a:cubicBezTo>
                    <a:pt x="518" y="408"/>
                    <a:pt x="518" y="408"/>
                    <a:pt x="518" y="408"/>
                  </a:cubicBezTo>
                  <a:cubicBezTo>
                    <a:pt x="514" y="410"/>
                    <a:pt x="510" y="412"/>
                    <a:pt x="510" y="415"/>
                  </a:cubicBezTo>
                  <a:cubicBezTo>
                    <a:pt x="498" y="423"/>
                    <a:pt x="498" y="423"/>
                    <a:pt x="498" y="423"/>
                  </a:cubicBezTo>
                  <a:cubicBezTo>
                    <a:pt x="490" y="430"/>
                    <a:pt x="490" y="438"/>
                    <a:pt x="483" y="445"/>
                  </a:cubicBezTo>
                  <a:cubicBezTo>
                    <a:pt x="474" y="454"/>
                    <a:pt x="459" y="452"/>
                    <a:pt x="450" y="458"/>
                  </a:cubicBezTo>
                  <a:cubicBezTo>
                    <a:pt x="443" y="458"/>
                    <a:pt x="443" y="458"/>
                    <a:pt x="443" y="458"/>
                  </a:cubicBezTo>
                  <a:cubicBezTo>
                    <a:pt x="443" y="449"/>
                    <a:pt x="443" y="449"/>
                    <a:pt x="443" y="449"/>
                  </a:cubicBezTo>
                  <a:cubicBezTo>
                    <a:pt x="437" y="452"/>
                    <a:pt x="438" y="457"/>
                    <a:pt x="435" y="460"/>
                  </a:cubicBezTo>
                  <a:cubicBezTo>
                    <a:pt x="425" y="470"/>
                    <a:pt x="401" y="466"/>
                    <a:pt x="401" y="480"/>
                  </a:cubicBezTo>
                  <a:cubicBezTo>
                    <a:pt x="401" y="482"/>
                    <a:pt x="402" y="483"/>
                    <a:pt x="402" y="485"/>
                  </a:cubicBezTo>
                  <a:cubicBezTo>
                    <a:pt x="401" y="486"/>
                    <a:pt x="399" y="488"/>
                    <a:pt x="399" y="490"/>
                  </a:cubicBezTo>
                  <a:cubicBezTo>
                    <a:pt x="399" y="493"/>
                    <a:pt x="405" y="495"/>
                    <a:pt x="405" y="500"/>
                  </a:cubicBezTo>
                  <a:cubicBezTo>
                    <a:pt x="405" y="515"/>
                    <a:pt x="384" y="510"/>
                    <a:pt x="384" y="523"/>
                  </a:cubicBezTo>
                  <a:cubicBezTo>
                    <a:pt x="384" y="531"/>
                    <a:pt x="383" y="543"/>
                    <a:pt x="384" y="547"/>
                  </a:cubicBezTo>
                  <a:cubicBezTo>
                    <a:pt x="374" y="552"/>
                    <a:pt x="379" y="575"/>
                    <a:pt x="367" y="575"/>
                  </a:cubicBezTo>
                  <a:cubicBezTo>
                    <a:pt x="364" y="575"/>
                    <a:pt x="363" y="573"/>
                    <a:pt x="362" y="571"/>
                  </a:cubicBezTo>
                  <a:cubicBezTo>
                    <a:pt x="356" y="571"/>
                    <a:pt x="356" y="574"/>
                    <a:pt x="353" y="574"/>
                  </a:cubicBezTo>
                  <a:cubicBezTo>
                    <a:pt x="342" y="574"/>
                    <a:pt x="343" y="554"/>
                    <a:pt x="332" y="554"/>
                  </a:cubicBezTo>
                  <a:cubicBezTo>
                    <a:pt x="326" y="554"/>
                    <a:pt x="319" y="559"/>
                    <a:pt x="313" y="560"/>
                  </a:cubicBezTo>
                  <a:cubicBezTo>
                    <a:pt x="310" y="550"/>
                    <a:pt x="306" y="553"/>
                    <a:pt x="299" y="547"/>
                  </a:cubicBezTo>
                  <a:cubicBezTo>
                    <a:pt x="296" y="546"/>
                    <a:pt x="297" y="539"/>
                    <a:pt x="296" y="539"/>
                  </a:cubicBezTo>
                  <a:cubicBezTo>
                    <a:pt x="287" y="531"/>
                    <a:pt x="270" y="512"/>
                    <a:pt x="270" y="499"/>
                  </a:cubicBezTo>
                  <a:cubicBezTo>
                    <a:pt x="270" y="493"/>
                    <a:pt x="274" y="494"/>
                    <a:pt x="277" y="490"/>
                  </a:cubicBezTo>
                  <a:cubicBezTo>
                    <a:pt x="270" y="482"/>
                    <a:pt x="268" y="493"/>
                    <a:pt x="260" y="489"/>
                  </a:cubicBezTo>
                  <a:cubicBezTo>
                    <a:pt x="259" y="487"/>
                    <a:pt x="257" y="479"/>
                    <a:pt x="256" y="475"/>
                  </a:cubicBezTo>
                  <a:cubicBezTo>
                    <a:pt x="253" y="466"/>
                    <a:pt x="241" y="461"/>
                    <a:pt x="241" y="449"/>
                  </a:cubicBezTo>
                  <a:cubicBezTo>
                    <a:pt x="241" y="445"/>
                    <a:pt x="244" y="443"/>
                    <a:pt x="246" y="438"/>
                  </a:cubicBezTo>
                  <a:cubicBezTo>
                    <a:pt x="243" y="437"/>
                    <a:pt x="240" y="436"/>
                    <a:pt x="237" y="438"/>
                  </a:cubicBezTo>
                  <a:cubicBezTo>
                    <a:pt x="237" y="428"/>
                    <a:pt x="237" y="428"/>
                    <a:pt x="237" y="428"/>
                  </a:cubicBezTo>
                  <a:cubicBezTo>
                    <a:pt x="243" y="420"/>
                    <a:pt x="246" y="411"/>
                    <a:pt x="255" y="404"/>
                  </a:cubicBezTo>
                  <a:lnTo>
                    <a:pt x="255" y="403"/>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0" name="Freeform 89"/>
            <p:cNvSpPr/>
            <p:nvPr/>
          </p:nvSpPr>
          <p:spPr bwMode="auto">
            <a:xfrm>
              <a:off x="3470275" y="1443038"/>
              <a:ext cx="47625" cy="31750"/>
            </a:xfrm>
            <a:custGeom>
              <a:avLst/>
              <a:gdLst/>
              <a:ahLst/>
              <a:cxnLst>
                <a:cxn ang="0">
                  <a:pos x="9" y="24"/>
                </a:cxn>
                <a:cxn ang="0">
                  <a:pos x="0" y="9"/>
                </a:cxn>
                <a:cxn ang="0">
                  <a:pos x="10" y="0"/>
                </a:cxn>
                <a:cxn ang="0">
                  <a:pos x="36" y="16"/>
                </a:cxn>
                <a:cxn ang="0">
                  <a:pos x="19" y="24"/>
                </a:cxn>
                <a:cxn ang="0">
                  <a:pos x="9" y="24"/>
                </a:cxn>
              </a:cxnLst>
              <a:rect l="0" t="0" r="r" b="b"/>
              <a:pathLst>
                <a:path w="36" h="24">
                  <a:moveTo>
                    <a:pt x="9" y="24"/>
                  </a:moveTo>
                  <a:cubicBezTo>
                    <a:pt x="5" y="24"/>
                    <a:pt x="0" y="14"/>
                    <a:pt x="0" y="9"/>
                  </a:cubicBezTo>
                  <a:cubicBezTo>
                    <a:pt x="0" y="2"/>
                    <a:pt x="6" y="0"/>
                    <a:pt x="10" y="0"/>
                  </a:cubicBezTo>
                  <a:cubicBezTo>
                    <a:pt x="21" y="0"/>
                    <a:pt x="25" y="12"/>
                    <a:pt x="36" y="16"/>
                  </a:cubicBezTo>
                  <a:cubicBezTo>
                    <a:pt x="35" y="23"/>
                    <a:pt x="26" y="24"/>
                    <a:pt x="19" y="24"/>
                  </a:cubicBezTo>
                  <a:lnTo>
                    <a:pt x="9" y="24"/>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1" name="Freeform 90"/>
            <p:cNvSpPr/>
            <p:nvPr/>
          </p:nvSpPr>
          <p:spPr bwMode="auto">
            <a:xfrm>
              <a:off x="4070350" y="1277938"/>
              <a:ext cx="26988" cy="15875"/>
            </a:xfrm>
            <a:custGeom>
              <a:avLst/>
              <a:gdLst/>
              <a:ahLst/>
              <a:cxnLst>
                <a:cxn ang="0">
                  <a:pos x="6" y="12"/>
                </a:cxn>
                <a:cxn ang="0">
                  <a:pos x="0" y="5"/>
                </a:cxn>
                <a:cxn ang="0">
                  <a:pos x="4" y="0"/>
                </a:cxn>
                <a:cxn ang="0">
                  <a:pos x="12" y="0"/>
                </a:cxn>
                <a:cxn ang="0">
                  <a:pos x="12" y="5"/>
                </a:cxn>
                <a:cxn ang="0">
                  <a:pos x="20" y="5"/>
                </a:cxn>
                <a:cxn ang="0">
                  <a:pos x="6" y="12"/>
                </a:cxn>
              </a:cxnLst>
              <a:rect l="0" t="0" r="r" b="b"/>
              <a:pathLst>
                <a:path w="20" h="12">
                  <a:moveTo>
                    <a:pt x="6" y="12"/>
                  </a:moveTo>
                  <a:cubicBezTo>
                    <a:pt x="2" y="12"/>
                    <a:pt x="0" y="8"/>
                    <a:pt x="0" y="5"/>
                  </a:cubicBezTo>
                  <a:cubicBezTo>
                    <a:pt x="0" y="3"/>
                    <a:pt x="3" y="1"/>
                    <a:pt x="4" y="0"/>
                  </a:cubicBezTo>
                  <a:cubicBezTo>
                    <a:pt x="12" y="0"/>
                    <a:pt x="12" y="0"/>
                    <a:pt x="12" y="0"/>
                  </a:cubicBezTo>
                  <a:cubicBezTo>
                    <a:pt x="12" y="3"/>
                    <a:pt x="12" y="4"/>
                    <a:pt x="12" y="5"/>
                  </a:cubicBezTo>
                  <a:cubicBezTo>
                    <a:pt x="20" y="5"/>
                    <a:pt x="20" y="5"/>
                    <a:pt x="20" y="5"/>
                  </a:cubicBezTo>
                  <a:cubicBezTo>
                    <a:pt x="17" y="7"/>
                    <a:pt x="10" y="12"/>
                    <a:pt x="6" y="1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2" name="Freeform 91"/>
            <p:cNvSpPr/>
            <p:nvPr/>
          </p:nvSpPr>
          <p:spPr bwMode="auto">
            <a:xfrm>
              <a:off x="3397250" y="1928813"/>
              <a:ext cx="109538" cy="106363"/>
            </a:xfrm>
            <a:custGeom>
              <a:avLst/>
              <a:gdLst/>
              <a:ahLst/>
              <a:cxnLst>
                <a:cxn ang="0">
                  <a:pos x="4" y="67"/>
                </a:cxn>
                <a:cxn ang="0">
                  <a:pos x="0" y="62"/>
                </a:cxn>
                <a:cxn ang="0">
                  <a:pos x="8" y="54"/>
                </a:cxn>
                <a:cxn ang="0">
                  <a:pos x="8" y="51"/>
                </a:cxn>
                <a:cxn ang="0">
                  <a:pos x="4" y="49"/>
                </a:cxn>
                <a:cxn ang="0">
                  <a:pos x="28" y="13"/>
                </a:cxn>
                <a:cxn ang="0">
                  <a:pos x="41" y="0"/>
                </a:cxn>
                <a:cxn ang="0">
                  <a:pos x="44" y="4"/>
                </a:cxn>
                <a:cxn ang="0">
                  <a:pos x="32" y="27"/>
                </a:cxn>
                <a:cxn ang="0">
                  <a:pos x="32" y="31"/>
                </a:cxn>
                <a:cxn ang="0">
                  <a:pos x="39" y="27"/>
                </a:cxn>
                <a:cxn ang="0">
                  <a:pos x="46" y="29"/>
                </a:cxn>
                <a:cxn ang="0">
                  <a:pos x="44" y="32"/>
                </a:cxn>
                <a:cxn ang="0">
                  <a:pos x="44" y="36"/>
                </a:cxn>
                <a:cxn ang="0">
                  <a:pos x="52" y="36"/>
                </a:cxn>
                <a:cxn ang="0">
                  <a:pos x="52" y="38"/>
                </a:cxn>
                <a:cxn ang="0">
                  <a:pos x="57" y="36"/>
                </a:cxn>
                <a:cxn ang="0">
                  <a:pos x="70" y="36"/>
                </a:cxn>
                <a:cxn ang="0">
                  <a:pos x="69" y="51"/>
                </a:cxn>
                <a:cxn ang="0">
                  <a:pos x="74" y="49"/>
                </a:cxn>
                <a:cxn ang="0">
                  <a:pos x="70" y="56"/>
                </a:cxn>
                <a:cxn ang="0">
                  <a:pos x="73" y="63"/>
                </a:cxn>
                <a:cxn ang="0">
                  <a:pos x="79" y="60"/>
                </a:cxn>
                <a:cxn ang="0">
                  <a:pos x="82" y="70"/>
                </a:cxn>
                <a:cxn ang="0">
                  <a:pos x="75" y="80"/>
                </a:cxn>
                <a:cxn ang="0">
                  <a:pos x="71" y="75"/>
                </a:cxn>
                <a:cxn ang="0">
                  <a:pos x="67" y="74"/>
                </a:cxn>
                <a:cxn ang="0">
                  <a:pos x="63" y="62"/>
                </a:cxn>
                <a:cxn ang="0">
                  <a:pos x="50" y="74"/>
                </a:cxn>
                <a:cxn ang="0">
                  <a:pos x="47" y="74"/>
                </a:cxn>
                <a:cxn ang="0">
                  <a:pos x="52" y="67"/>
                </a:cxn>
                <a:cxn ang="0">
                  <a:pos x="40" y="65"/>
                </a:cxn>
                <a:cxn ang="0">
                  <a:pos x="31" y="67"/>
                </a:cxn>
                <a:cxn ang="0">
                  <a:pos x="18" y="64"/>
                </a:cxn>
                <a:cxn ang="0">
                  <a:pos x="4" y="67"/>
                </a:cxn>
              </a:cxnLst>
              <a:rect l="0" t="0" r="r" b="b"/>
              <a:pathLst>
                <a:path w="82" h="80">
                  <a:moveTo>
                    <a:pt x="4" y="67"/>
                  </a:moveTo>
                  <a:cubicBezTo>
                    <a:pt x="2" y="67"/>
                    <a:pt x="0" y="64"/>
                    <a:pt x="0" y="62"/>
                  </a:cubicBezTo>
                  <a:cubicBezTo>
                    <a:pt x="0" y="61"/>
                    <a:pt x="8" y="55"/>
                    <a:pt x="8" y="54"/>
                  </a:cubicBezTo>
                  <a:cubicBezTo>
                    <a:pt x="8" y="51"/>
                    <a:pt x="8" y="51"/>
                    <a:pt x="8" y="51"/>
                  </a:cubicBezTo>
                  <a:cubicBezTo>
                    <a:pt x="6" y="51"/>
                    <a:pt x="5" y="51"/>
                    <a:pt x="4" y="49"/>
                  </a:cubicBezTo>
                  <a:cubicBezTo>
                    <a:pt x="17" y="43"/>
                    <a:pt x="21" y="23"/>
                    <a:pt x="28" y="13"/>
                  </a:cubicBezTo>
                  <a:cubicBezTo>
                    <a:pt x="32" y="7"/>
                    <a:pt x="34" y="0"/>
                    <a:pt x="41" y="0"/>
                  </a:cubicBezTo>
                  <a:cubicBezTo>
                    <a:pt x="43" y="0"/>
                    <a:pt x="44" y="3"/>
                    <a:pt x="44" y="4"/>
                  </a:cubicBezTo>
                  <a:cubicBezTo>
                    <a:pt x="44" y="14"/>
                    <a:pt x="35" y="19"/>
                    <a:pt x="32" y="27"/>
                  </a:cubicBezTo>
                  <a:cubicBezTo>
                    <a:pt x="32" y="31"/>
                    <a:pt x="32" y="31"/>
                    <a:pt x="32" y="31"/>
                  </a:cubicBezTo>
                  <a:cubicBezTo>
                    <a:pt x="36" y="30"/>
                    <a:pt x="36" y="27"/>
                    <a:pt x="39" y="27"/>
                  </a:cubicBezTo>
                  <a:cubicBezTo>
                    <a:pt x="42" y="27"/>
                    <a:pt x="44" y="28"/>
                    <a:pt x="46" y="29"/>
                  </a:cubicBezTo>
                  <a:cubicBezTo>
                    <a:pt x="44" y="32"/>
                    <a:pt x="44" y="32"/>
                    <a:pt x="44" y="32"/>
                  </a:cubicBezTo>
                  <a:cubicBezTo>
                    <a:pt x="44" y="36"/>
                    <a:pt x="44" y="36"/>
                    <a:pt x="44" y="36"/>
                  </a:cubicBezTo>
                  <a:cubicBezTo>
                    <a:pt x="52" y="36"/>
                    <a:pt x="52" y="36"/>
                    <a:pt x="52" y="36"/>
                  </a:cubicBezTo>
                  <a:cubicBezTo>
                    <a:pt x="52" y="36"/>
                    <a:pt x="52" y="38"/>
                    <a:pt x="52" y="38"/>
                  </a:cubicBezTo>
                  <a:cubicBezTo>
                    <a:pt x="57" y="36"/>
                    <a:pt x="57" y="36"/>
                    <a:pt x="57" y="36"/>
                  </a:cubicBezTo>
                  <a:cubicBezTo>
                    <a:pt x="62" y="37"/>
                    <a:pt x="68" y="37"/>
                    <a:pt x="70" y="36"/>
                  </a:cubicBezTo>
                  <a:cubicBezTo>
                    <a:pt x="70" y="40"/>
                    <a:pt x="69" y="44"/>
                    <a:pt x="69" y="51"/>
                  </a:cubicBezTo>
                  <a:cubicBezTo>
                    <a:pt x="70" y="50"/>
                    <a:pt x="73" y="49"/>
                    <a:pt x="74" y="49"/>
                  </a:cubicBezTo>
                  <a:cubicBezTo>
                    <a:pt x="74" y="53"/>
                    <a:pt x="70" y="54"/>
                    <a:pt x="70" y="56"/>
                  </a:cubicBezTo>
                  <a:cubicBezTo>
                    <a:pt x="70" y="58"/>
                    <a:pt x="73" y="60"/>
                    <a:pt x="73" y="63"/>
                  </a:cubicBezTo>
                  <a:cubicBezTo>
                    <a:pt x="77" y="63"/>
                    <a:pt x="76" y="62"/>
                    <a:pt x="79" y="60"/>
                  </a:cubicBezTo>
                  <a:cubicBezTo>
                    <a:pt x="79" y="66"/>
                    <a:pt x="82" y="65"/>
                    <a:pt x="82" y="70"/>
                  </a:cubicBezTo>
                  <a:cubicBezTo>
                    <a:pt x="82" y="75"/>
                    <a:pt x="79" y="80"/>
                    <a:pt x="75" y="80"/>
                  </a:cubicBezTo>
                  <a:cubicBezTo>
                    <a:pt x="72" y="80"/>
                    <a:pt x="71" y="77"/>
                    <a:pt x="71" y="75"/>
                  </a:cubicBezTo>
                  <a:cubicBezTo>
                    <a:pt x="69" y="75"/>
                    <a:pt x="69" y="74"/>
                    <a:pt x="67" y="74"/>
                  </a:cubicBezTo>
                  <a:cubicBezTo>
                    <a:pt x="64" y="74"/>
                    <a:pt x="66" y="66"/>
                    <a:pt x="63" y="62"/>
                  </a:cubicBezTo>
                  <a:cubicBezTo>
                    <a:pt x="59" y="67"/>
                    <a:pt x="55" y="74"/>
                    <a:pt x="50" y="74"/>
                  </a:cubicBezTo>
                  <a:cubicBezTo>
                    <a:pt x="49" y="74"/>
                    <a:pt x="47" y="75"/>
                    <a:pt x="47" y="74"/>
                  </a:cubicBezTo>
                  <a:cubicBezTo>
                    <a:pt x="47" y="70"/>
                    <a:pt x="51" y="70"/>
                    <a:pt x="52" y="67"/>
                  </a:cubicBezTo>
                  <a:cubicBezTo>
                    <a:pt x="48" y="67"/>
                    <a:pt x="42" y="70"/>
                    <a:pt x="40" y="65"/>
                  </a:cubicBezTo>
                  <a:cubicBezTo>
                    <a:pt x="37" y="66"/>
                    <a:pt x="34" y="67"/>
                    <a:pt x="31" y="67"/>
                  </a:cubicBezTo>
                  <a:cubicBezTo>
                    <a:pt x="25" y="67"/>
                    <a:pt x="23" y="64"/>
                    <a:pt x="18" y="64"/>
                  </a:cubicBezTo>
                  <a:cubicBezTo>
                    <a:pt x="11" y="64"/>
                    <a:pt x="9" y="67"/>
                    <a:pt x="4" y="67"/>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3" name="Freeform 92"/>
            <p:cNvSpPr/>
            <p:nvPr/>
          </p:nvSpPr>
          <p:spPr bwMode="auto">
            <a:xfrm>
              <a:off x="2427288" y="2314575"/>
              <a:ext cx="671513" cy="450850"/>
            </a:xfrm>
            <a:custGeom>
              <a:avLst/>
              <a:gdLst/>
              <a:ahLst/>
              <a:cxnLst>
                <a:cxn ang="0">
                  <a:pos x="250" y="98"/>
                </a:cxn>
                <a:cxn ang="0">
                  <a:pos x="246" y="141"/>
                </a:cxn>
                <a:cxn ang="0">
                  <a:pos x="251" y="160"/>
                </a:cxn>
                <a:cxn ang="0">
                  <a:pos x="281" y="192"/>
                </a:cxn>
                <a:cxn ang="0">
                  <a:pos x="312" y="191"/>
                </a:cxn>
                <a:cxn ang="0">
                  <a:pos x="327" y="187"/>
                </a:cxn>
                <a:cxn ang="0">
                  <a:pos x="363" y="152"/>
                </a:cxn>
                <a:cxn ang="0">
                  <a:pos x="382" y="154"/>
                </a:cxn>
                <a:cxn ang="0">
                  <a:pos x="374" y="180"/>
                </a:cxn>
                <a:cxn ang="0">
                  <a:pos x="369" y="192"/>
                </a:cxn>
                <a:cxn ang="0">
                  <a:pos x="365" y="213"/>
                </a:cxn>
                <a:cxn ang="0">
                  <a:pos x="357" y="224"/>
                </a:cxn>
                <a:cxn ang="0">
                  <a:pos x="405" y="226"/>
                </a:cxn>
                <a:cxn ang="0">
                  <a:pos x="426" y="242"/>
                </a:cxn>
                <a:cxn ang="0">
                  <a:pos x="423" y="289"/>
                </a:cxn>
                <a:cxn ang="0">
                  <a:pos x="451" y="316"/>
                </a:cxn>
                <a:cxn ang="0">
                  <a:pos x="504" y="322"/>
                </a:cxn>
                <a:cxn ang="0">
                  <a:pos x="488" y="329"/>
                </a:cxn>
                <a:cxn ang="0">
                  <a:pos x="480" y="316"/>
                </a:cxn>
                <a:cxn ang="0">
                  <a:pos x="468" y="332"/>
                </a:cxn>
                <a:cxn ang="0">
                  <a:pos x="446" y="326"/>
                </a:cxn>
                <a:cxn ang="0">
                  <a:pos x="431" y="323"/>
                </a:cxn>
                <a:cxn ang="0">
                  <a:pos x="406" y="302"/>
                </a:cxn>
                <a:cxn ang="0">
                  <a:pos x="402" y="306"/>
                </a:cxn>
                <a:cxn ang="0">
                  <a:pos x="391" y="281"/>
                </a:cxn>
                <a:cxn ang="0">
                  <a:pos x="372" y="260"/>
                </a:cxn>
                <a:cxn ang="0">
                  <a:pos x="345" y="255"/>
                </a:cxn>
                <a:cxn ang="0">
                  <a:pos x="294" y="226"/>
                </a:cxn>
                <a:cxn ang="0">
                  <a:pos x="282" y="222"/>
                </a:cxn>
                <a:cxn ang="0">
                  <a:pos x="256" y="227"/>
                </a:cxn>
                <a:cxn ang="0">
                  <a:pos x="221" y="214"/>
                </a:cxn>
                <a:cxn ang="0">
                  <a:pos x="195" y="203"/>
                </a:cxn>
                <a:cxn ang="0">
                  <a:pos x="175" y="195"/>
                </a:cxn>
                <a:cxn ang="0">
                  <a:pos x="148" y="172"/>
                </a:cxn>
                <a:cxn ang="0">
                  <a:pos x="148" y="150"/>
                </a:cxn>
                <a:cxn ang="0">
                  <a:pos x="102" y="101"/>
                </a:cxn>
                <a:cxn ang="0">
                  <a:pos x="82" y="68"/>
                </a:cxn>
                <a:cxn ang="0">
                  <a:pos x="62" y="53"/>
                </a:cxn>
                <a:cxn ang="0">
                  <a:pos x="49" y="22"/>
                </a:cxn>
                <a:cxn ang="0">
                  <a:pos x="28" y="19"/>
                </a:cxn>
                <a:cxn ang="0">
                  <a:pos x="49" y="53"/>
                </a:cxn>
                <a:cxn ang="0">
                  <a:pos x="73" y="95"/>
                </a:cxn>
                <a:cxn ang="0">
                  <a:pos x="96" y="130"/>
                </a:cxn>
                <a:cxn ang="0">
                  <a:pos x="86" y="127"/>
                </a:cxn>
                <a:cxn ang="0">
                  <a:pos x="65" y="109"/>
                </a:cxn>
                <a:cxn ang="0">
                  <a:pos x="52" y="84"/>
                </a:cxn>
                <a:cxn ang="0">
                  <a:pos x="40" y="69"/>
                </a:cxn>
                <a:cxn ang="0">
                  <a:pos x="11" y="24"/>
                </a:cxn>
                <a:cxn ang="0">
                  <a:pos x="0" y="0"/>
                </a:cxn>
                <a:cxn ang="0">
                  <a:pos x="76" y="16"/>
                </a:cxn>
                <a:cxn ang="0">
                  <a:pos x="113" y="10"/>
                </a:cxn>
                <a:cxn ang="0">
                  <a:pos x="152" y="29"/>
                </a:cxn>
                <a:cxn ang="0">
                  <a:pos x="188" y="38"/>
                </a:cxn>
                <a:cxn ang="0">
                  <a:pos x="249" y="90"/>
                </a:cxn>
                <a:cxn ang="0">
                  <a:pos x="247" y="86"/>
                </a:cxn>
              </a:cxnLst>
              <a:rect l="0" t="0" r="r" b="b"/>
              <a:pathLst>
                <a:path w="504" h="338">
                  <a:moveTo>
                    <a:pt x="248" y="91"/>
                  </a:moveTo>
                  <a:cubicBezTo>
                    <a:pt x="249" y="94"/>
                    <a:pt x="250" y="96"/>
                    <a:pt x="250" y="98"/>
                  </a:cubicBezTo>
                  <a:cubicBezTo>
                    <a:pt x="250" y="106"/>
                    <a:pt x="247" y="109"/>
                    <a:pt x="246" y="116"/>
                  </a:cubicBezTo>
                  <a:cubicBezTo>
                    <a:pt x="246" y="141"/>
                    <a:pt x="246" y="141"/>
                    <a:pt x="246" y="141"/>
                  </a:cubicBezTo>
                  <a:cubicBezTo>
                    <a:pt x="245" y="144"/>
                    <a:pt x="248" y="148"/>
                    <a:pt x="249" y="150"/>
                  </a:cubicBezTo>
                  <a:cubicBezTo>
                    <a:pt x="251" y="154"/>
                    <a:pt x="249" y="156"/>
                    <a:pt x="251" y="160"/>
                  </a:cubicBezTo>
                  <a:cubicBezTo>
                    <a:pt x="252" y="164"/>
                    <a:pt x="258" y="170"/>
                    <a:pt x="261" y="173"/>
                  </a:cubicBezTo>
                  <a:cubicBezTo>
                    <a:pt x="269" y="181"/>
                    <a:pt x="269" y="188"/>
                    <a:pt x="281" y="192"/>
                  </a:cubicBezTo>
                  <a:cubicBezTo>
                    <a:pt x="285" y="193"/>
                    <a:pt x="285" y="197"/>
                    <a:pt x="288" y="197"/>
                  </a:cubicBezTo>
                  <a:cubicBezTo>
                    <a:pt x="297" y="197"/>
                    <a:pt x="304" y="191"/>
                    <a:pt x="312" y="191"/>
                  </a:cubicBezTo>
                  <a:cubicBezTo>
                    <a:pt x="317" y="191"/>
                    <a:pt x="319" y="194"/>
                    <a:pt x="321" y="194"/>
                  </a:cubicBezTo>
                  <a:cubicBezTo>
                    <a:pt x="324" y="194"/>
                    <a:pt x="327" y="188"/>
                    <a:pt x="327" y="187"/>
                  </a:cubicBezTo>
                  <a:cubicBezTo>
                    <a:pt x="329" y="181"/>
                    <a:pt x="336" y="176"/>
                    <a:pt x="336" y="169"/>
                  </a:cubicBezTo>
                  <a:cubicBezTo>
                    <a:pt x="336" y="156"/>
                    <a:pt x="351" y="152"/>
                    <a:pt x="363" y="152"/>
                  </a:cubicBezTo>
                  <a:cubicBezTo>
                    <a:pt x="367" y="152"/>
                    <a:pt x="370" y="152"/>
                    <a:pt x="372" y="153"/>
                  </a:cubicBezTo>
                  <a:cubicBezTo>
                    <a:pt x="373" y="154"/>
                    <a:pt x="379" y="154"/>
                    <a:pt x="382" y="154"/>
                  </a:cubicBezTo>
                  <a:cubicBezTo>
                    <a:pt x="382" y="155"/>
                    <a:pt x="382" y="157"/>
                    <a:pt x="382" y="158"/>
                  </a:cubicBezTo>
                  <a:cubicBezTo>
                    <a:pt x="382" y="164"/>
                    <a:pt x="374" y="172"/>
                    <a:pt x="374" y="180"/>
                  </a:cubicBezTo>
                  <a:cubicBezTo>
                    <a:pt x="374" y="188"/>
                    <a:pt x="372" y="191"/>
                    <a:pt x="369" y="195"/>
                  </a:cubicBezTo>
                  <a:cubicBezTo>
                    <a:pt x="369" y="194"/>
                    <a:pt x="369" y="193"/>
                    <a:pt x="369" y="192"/>
                  </a:cubicBezTo>
                  <a:cubicBezTo>
                    <a:pt x="368" y="192"/>
                    <a:pt x="367" y="192"/>
                    <a:pt x="365" y="192"/>
                  </a:cubicBezTo>
                  <a:cubicBezTo>
                    <a:pt x="365" y="197"/>
                    <a:pt x="365" y="207"/>
                    <a:pt x="365" y="213"/>
                  </a:cubicBezTo>
                  <a:cubicBezTo>
                    <a:pt x="365" y="217"/>
                    <a:pt x="360" y="219"/>
                    <a:pt x="357" y="222"/>
                  </a:cubicBezTo>
                  <a:cubicBezTo>
                    <a:pt x="357" y="223"/>
                    <a:pt x="357" y="223"/>
                    <a:pt x="357" y="224"/>
                  </a:cubicBezTo>
                  <a:cubicBezTo>
                    <a:pt x="357" y="227"/>
                    <a:pt x="360" y="229"/>
                    <a:pt x="363" y="229"/>
                  </a:cubicBezTo>
                  <a:cubicBezTo>
                    <a:pt x="377" y="229"/>
                    <a:pt x="389" y="226"/>
                    <a:pt x="405" y="226"/>
                  </a:cubicBezTo>
                  <a:cubicBezTo>
                    <a:pt x="415" y="226"/>
                    <a:pt x="418" y="234"/>
                    <a:pt x="426" y="236"/>
                  </a:cubicBezTo>
                  <a:cubicBezTo>
                    <a:pt x="426" y="238"/>
                    <a:pt x="426" y="240"/>
                    <a:pt x="426" y="242"/>
                  </a:cubicBezTo>
                  <a:cubicBezTo>
                    <a:pt x="426" y="246"/>
                    <a:pt x="425" y="257"/>
                    <a:pt x="423" y="262"/>
                  </a:cubicBezTo>
                  <a:cubicBezTo>
                    <a:pt x="423" y="272"/>
                    <a:pt x="423" y="281"/>
                    <a:pt x="423" y="289"/>
                  </a:cubicBezTo>
                  <a:cubicBezTo>
                    <a:pt x="423" y="298"/>
                    <a:pt x="432" y="302"/>
                    <a:pt x="439" y="306"/>
                  </a:cubicBezTo>
                  <a:cubicBezTo>
                    <a:pt x="444" y="308"/>
                    <a:pt x="444" y="316"/>
                    <a:pt x="451" y="316"/>
                  </a:cubicBezTo>
                  <a:cubicBezTo>
                    <a:pt x="463" y="316"/>
                    <a:pt x="469" y="307"/>
                    <a:pt x="479" y="307"/>
                  </a:cubicBezTo>
                  <a:cubicBezTo>
                    <a:pt x="491" y="307"/>
                    <a:pt x="497" y="316"/>
                    <a:pt x="504" y="322"/>
                  </a:cubicBezTo>
                  <a:cubicBezTo>
                    <a:pt x="503" y="323"/>
                    <a:pt x="494" y="333"/>
                    <a:pt x="493" y="332"/>
                  </a:cubicBezTo>
                  <a:cubicBezTo>
                    <a:pt x="492" y="331"/>
                    <a:pt x="488" y="330"/>
                    <a:pt x="488" y="329"/>
                  </a:cubicBezTo>
                  <a:cubicBezTo>
                    <a:pt x="488" y="327"/>
                    <a:pt x="490" y="326"/>
                    <a:pt x="491" y="324"/>
                  </a:cubicBezTo>
                  <a:cubicBezTo>
                    <a:pt x="486" y="322"/>
                    <a:pt x="484" y="316"/>
                    <a:pt x="480" y="316"/>
                  </a:cubicBezTo>
                  <a:cubicBezTo>
                    <a:pt x="476" y="316"/>
                    <a:pt x="464" y="325"/>
                    <a:pt x="464" y="328"/>
                  </a:cubicBezTo>
                  <a:cubicBezTo>
                    <a:pt x="464" y="330"/>
                    <a:pt x="467" y="331"/>
                    <a:pt x="468" y="332"/>
                  </a:cubicBezTo>
                  <a:cubicBezTo>
                    <a:pt x="467" y="336"/>
                    <a:pt x="465" y="338"/>
                    <a:pt x="461" y="338"/>
                  </a:cubicBezTo>
                  <a:cubicBezTo>
                    <a:pt x="454" y="338"/>
                    <a:pt x="450" y="330"/>
                    <a:pt x="446" y="326"/>
                  </a:cubicBezTo>
                  <a:cubicBezTo>
                    <a:pt x="443" y="323"/>
                    <a:pt x="436" y="326"/>
                    <a:pt x="433" y="326"/>
                  </a:cubicBezTo>
                  <a:cubicBezTo>
                    <a:pt x="432" y="326"/>
                    <a:pt x="431" y="324"/>
                    <a:pt x="431" y="323"/>
                  </a:cubicBezTo>
                  <a:cubicBezTo>
                    <a:pt x="424" y="322"/>
                    <a:pt x="424" y="318"/>
                    <a:pt x="423" y="314"/>
                  </a:cubicBezTo>
                  <a:cubicBezTo>
                    <a:pt x="421" y="311"/>
                    <a:pt x="406" y="302"/>
                    <a:pt x="406" y="302"/>
                  </a:cubicBezTo>
                  <a:cubicBezTo>
                    <a:pt x="405" y="304"/>
                    <a:pt x="405" y="305"/>
                    <a:pt x="406" y="306"/>
                  </a:cubicBezTo>
                  <a:cubicBezTo>
                    <a:pt x="402" y="306"/>
                    <a:pt x="402" y="306"/>
                    <a:pt x="402" y="306"/>
                  </a:cubicBezTo>
                  <a:cubicBezTo>
                    <a:pt x="395" y="302"/>
                    <a:pt x="399" y="296"/>
                    <a:pt x="397" y="289"/>
                  </a:cubicBezTo>
                  <a:cubicBezTo>
                    <a:pt x="396" y="285"/>
                    <a:pt x="394" y="284"/>
                    <a:pt x="391" y="281"/>
                  </a:cubicBezTo>
                  <a:cubicBezTo>
                    <a:pt x="384" y="274"/>
                    <a:pt x="377" y="270"/>
                    <a:pt x="374" y="260"/>
                  </a:cubicBezTo>
                  <a:cubicBezTo>
                    <a:pt x="373" y="260"/>
                    <a:pt x="372" y="260"/>
                    <a:pt x="372" y="260"/>
                  </a:cubicBezTo>
                  <a:cubicBezTo>
                    <a:pt x="368" y="260"/>
                    <a:pt x="366" y="262"/>
                    <a:pt x="363" y="262"/>
                  </a:cubicBezTo>
                  <a:cubicBezTo>
                    <a:pt x="355" y="262"/>
                    <a:pt x="350" y="257"/>
                    <a:pt x="345" y="255"/>
                  </a:cubicBezTo>
                  <a:cubicBezTo>
                    <a:pt x="336" y="251"/>
                    <a:pt x="330" y="253"/>
                    <a:pt x="321" y="248"/>
                  </a:cubicBezTo>
                  <a:cubicBezTo>
                    <a:pt x="308" y="242"/>
                    <a:pt x="306" y="232"/>
                    <a:pt x="294" y="226"/>
                  </a:cubicBezTo>
                  <a:cubicBezTo>
                    <a:pt x="291" y="226"/>
                    <a:pt x="291" y="226"/>
                    <a:pt x="291" y="226"/>
                  </a:cubicBezTo>
                  <a:cubicBezTo>
                    <a:pt x="288" y="224"/>
                    <a:pt x="285" y="222"/>
                    <a:pt x="282" y="222"/>
                  </a:cubicBezTo>
                  <a:cubicBezTo>
                    <a:pt x="274" y="222"/>
                    <a:pt x="272" y="231"/>
                    <a:pt x="265" y="231"/>
                  </a:cubicBezTo>
                  <a:cubicBezTo>
                    <a:pt x="261" y="231"/>
                    <a:pt x="258" y="228"/>
                    <a:pt x="256" y="227"/>
                  </a:cubicBezTo>
                  <a:cubicBezTo>
                    <a:pt x="252" y="225"/>
                    <a:pt x="249" y="226"/>
                    <a:pt x="246" y="226"/>
                  </a:cubicBezTo>
                  <a:cubicBezTo>
                    <a:pt x="241" y="226"/>
                    <a:pt x="226" y="216"/>
                    <a:pt x="221" y="214"/>
                  </a:cubicBezTo>
                  <a:cubicBezTo>
                    <a:pt x="216" y="211"/>
                    <a:pt x="213" y="214"/>
                    <a:pt x="208" y="213"/>
                  </a:cubicBezTo>
                  <a:cubicBezTo>
                    <a:pt x="202" y="211"/>
                    <a:pt x="201" y="206"/>
                    <a:pt x="195" y="203"/>
                  </a:cubicBezTo>
                  <a:cubicBezTo>
                    <a:pt x="189" y="200"/>
                    <a:pt x="186" y="201"/>
                    <a:pt x="180" y="198"/>
                  </a:cubicBezTo>
                  <a:cubicBezTo>
                    <a:pt x="177" y="197"/>
                    <a:pt x="177" y="196"/>
                    <a:pt x="175" y="195"/>
                  </a:cubicBezTo>
                  <a:cubicBezTo>
                    <a:pt x="170" y="190"/>
                    <a:pt x="156" y="187"/>
                    <a:pt x="155" y="181"/>
                  </a:cubicBezTo>
                  <a:cubicBezTo>
                    <a:pt x="151" y="181"/>
                    <a:pt x="148" y="176"/>
                    <a:pt x="148" y="172"/>
                  </a:cubicBezTo>
                  <a:cubicBezTo>
                    <a:pt x="148" y="167"/>
                    <a:pt x="153" y="165"/>
                    <a:pt x="153" y="160"/>
                  </a:cubicBezTo>
                  <a:cubicBezTo>
                    <a:pt x="153" y="154"/>
                    <a:pt x="149" y="153"/>
                    <a:pt x="148" y="150"/>
                  </a:cubicBezTo>
                  <a:cubicBezTo>
                    <a:pt x="143" y="134"/>
                    <a:pt x="128" y="121"/>
                    <a:pt x="118" y="111"/>
                  </a:cubicBezTo>
                  <a:cubicBezTo>
                    <a:pt x="114" y="107"/>
                    <a:pt x="107" y="105"/>
                    <a:pt x="102" y="101"/>
                  </a:cubicBezTo>
                  <a:cubicBezTo>
                    <a:pt x="99" y="97"/>
                    <a:pt x="102" y="93"/>
                    <a:pt x="100" y="88"/>
                  </a:cubicBezTo>
                  <a:cubicBezTo>
                    <a:pt x="96" y="80"/>
                    <a:pt x="82" y="79"/>
                    <a:pt x="82" y="68"/>
                  </a:cubicBezTo>
                  <a:cubicBezTo>
                    <a:pt x="78" y="68"/>
                    <a:pt x="79" y="67"/>
                    <a:pt x="77" y="68"/>
                  </a:cubicBezTo>
                  <a:cubicBezTo>
                    <a:pt x="72" y="63"/>
                    <a:pt x="67" y="58"/>
                    <a:pt x="62" y="53"/>
                  </a:cubicBezTo>
                  <a:cubicBezTo>
                    <a:pt x="58" y="49"/>
                    <a:pt x="60" y="42"/>
                    <a:pt x="56" y="38"/>
                  </a:cubicBezTo>
                  <a:cubicBezTo>
                    <a:pt x="52" y="34"/>
                    <a:pt x="53" y="24"/>
                    <a:pt x="49" y="22"/>
                  </a:cubicBezTo>
                  <a:cubicBezTo>
                    <a:pt x="42" y="19"/>
                    <a:pt x="35" y="19"/>
                    <a:pt x="29" y="13"/>
                  </a:cubicBezTo>
                  <a:cubicBezTo>
                    <a:pt x="27" y="15"/>
                    <a:pt x="28" y="18"/>
                    <a:pt x="28" y="19"/>
                  </a:cubicBezTo>
                  <a:cubicBezTo>
                    <a:pt x="28" y="28"/>
                    <a:pt x="32" y="34"/>
                    <a:pt x="36" y="41"/>
                  </a:cubicBezTo>
                  <a:cubicBezTo>
                    <a:pt x="39" y="48"/>
                    <a:pt x="45" y="48"/>
                    <a:pt x="49" y="53"/>
                  </a:cubicBezTo>
                  <a:cubicBezTo>
                    <a:pt x="55" y="59"/>
                    <a:pt x="56" y="63"/>
                    <a:pt x="58" y="71"/>
                  </a:cubicBezTo>
                  <a:cubicBezTo>
                    <a:pt x="61" y="81"/>
                    <a:pt x="70" y="86"/>
                    <a:pt x="73" y="95"/>
                  </a:cubicBezTo>
                  <a:cubicBezTo>
                    <a:pt x="77" y="106"/>
                    <a:pt x="80" y="117"/>
                    <a:pt x="87" y="122"/>
                  </a:cubicBezTo>
                  <a:cubicBezTo>
                    <a:pt x="91" y="119"/>
                    <a:pt x="96" y="126"/>
                    <a:pt x="96" y="130"/>
                  </a:cubicBezTo>
                  <a:cubicBezTo>
                    <a:pt x="96" y="132"/>
                    <a:pt x="95" y="136"/>
                    <a:pt x="93" y="136"/>
                  </a:cubicBezTo>
                  <a:cubicBezTo>
                    <a:pt x="92" y="136"/>
                    <a:pt x="86" y="129"/>
                    <a:pt x="86" y="127"/>
                  </a:cubicBezTo>
                  <a:cubicBezTo>
                    <a:pt x="78" y="127"/>
                    <a:pt x="74" y="117"/>
                    <a:pt x="69" y="113"/>
                  </a:cubicBezTo>
                  <a:cubicBezTo>
                    <a:pt x="66" y="112"/>
                    <a:pt x="66" y="112"/>
                    <a:pt x="65" y="109"/>
                  </a:cubicBezTo>
                  <a:cubicBezTo>
                    <a:pt x="65" y="98"/>
                    <a:pt x="65" y="98"/>
                    <a:pt x="65" y="98"/>
                  </a:cubicBezTo>
                  <a:cubicBezTo>
                    <a:pt x="60" y="93"/>
                    <a:pt x="56" y="88"/>
                    <a:pt x="52" y="84"/>
                  </a:cubicBezTo>
                  <a:cubicBezTo>
                    <a:pt x="46" y="78"/>
                    <a:pt x="36" y="79"/>
                    <a:pt x="31" y="72"/>
                  </a:cubicBezTo>
                  <a:cubicBezTo>
                    <a:pt x="34" y="72"/>
                    <a:pt x="44" y="74"/>
                    <a:pt x="40" y="69"/>
                  </a:cubicBezTo>
                  <a:cubicBezTo>
                    <a:pt x="34" y="59"/>
                    <a:pt x="26" y="50"/>
                    <a:pt x="19" y="45"/>
                  </a:cubicBezTo>
                  <a:cubicBezTo>
                    <a:pt x="14" y="41"/>
                    <a:pt x="14" y="29"/>
                    <a:pt x="11" y="24"/>
                  </a:cubicBezTo>
                  <a:cubicBezTo>
                    <a:pt x="7" y="16"/>
                    <a:pt x="3" y="13"/>
                    <a:pt x="0" y="3"/>
                  </a:cubicBezTo>
                  <a:cubicBezTo>
                    <a:pt x="0" y="0"/>
                    <a:pt x="0" y="0"/>
                    <a:pt x="0" y="0"/>
                  </a:cubicBezTo>
                  <a:cubicBezTo>
                    <a:pt x="29" y="0"/>
                    <a:pt x="29" y="0"/>
                    <a:pt x="29" y="0"/>
                  </a:cubicBezTo>
                  <a:cubicBezTo>
                    <a:pt x="76" y="16"/>
                    <a:pt x="76" y="16"/>
                    <a:pt x="76" y="16"/>
                  </a:cubicBezTo>
                  <a:cubicBezTo>
                    <a:pt x="113" y="16"/>
                    <a:pt x="113" y="16"/>
                    <a:pt x="113" y="16"/>
                  </a:cubicBezTo>
                  <a:cubicBezTo>
                    <a:pt x="113" y="10"/>
                    <a:pt x="113" y="10"/>
                    <a:pt x="113" y="10"/>
                  </a:cubicBezTo>
                  <a:cubicBezTo>
                    <a:pt x="121" y="10"/>
                    <a:pt x="121" y="10"/>
                    <a:pt x="121" y="10"/>
                  </a:cubicBezTo>
                  <a:cubicBezTo>
                    <a:pt x="136" y="14"/>
                    <a:pt x="145" y="16"/>
                    <a:pt x="152" y="29"/>
                  </a:cubicBezTo>
                  <a:cubicBezTo>
                    <a:pt x="156" y="35"/>
                    <a:pt x="163" y="50"/>
                    <a:pt x="172" y="50"/>
                  </a:cubicBezTo>
                  <a:cubicBezTo>
                    <a:pt x="181" y="50"/>
                    <a:pt x="178" y="38"/>
                    <a:pt x="188" y="38"/>
                  </a:cubicBezTo>
                  <a:cubicBezTo>
                    <a:pt x="214" y="38"/>
                    <a:pt x="213" y="70"/>
                    <a:pt x="227" y="84"/>
                  </a:cubicBezTo>
                  <a:cubicBezTo>
                    <a:pt x="231" y="87"/>
                    <a:pt x="242" y="90"/>
                    <a:pt x="249" y="90"/>
                  </a:cubicBezTo>
                  <a:cubicBezTo>
                    <a:pt x="249" y="89"/>
                    <a:pt x="247" y="87"/>
                    <a:pt x="247" y="86"/>
                  </a:cubicBezTo>
                  <a:cubicBezTo>
                    <a:pt x="247" y="86"/>
                    <a:pt x="247" y="86"/>
                    <a:pt x="247" y="86"/>
                  </a:cubicBezTo>
                  <a:lnTo>
                    <a:pt x="248" y="91"/>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4" name="Freeform 93"/>
            <p:cNvSpPr/>
            <p:nvPr/>
          </p:nvSpPr>
          <p:spPr bwMode="auto">
            <a:xfrm>
              <a:off x="3016250" y="1895475"/>
              <a:ext cx="20638" cy="9525"/>
            </a:xfrm>
            <a:custGeom>
              <a:avLst/>
              <a:gdLst/>
              <a:ahLst/>
              <a:cxnLst>
                <a:cxn ang="0">
                  <a:pos x="0" y="0"/>
                </a:cxn>
                <a:cxn ang="0">
                  <a:pos x="15" y="7"/>
                </a:cxn>
                <a:cxn ang="0">
                  <a:pos x="12" y="7"/>
                </a:cxn>
                <a:cxn ang="0">
                  <a:pos x="0" y="3"/>
                </a:cxn>
                <a:cxn ang="0">
                  <a:pos x="0" y="0"/>
                </a:cxn>
              </a:cxnLst>
              <a:rect l="0" t="0" r="r" b="b"/>
              <a:pathLst>
                <a:path w="15" h="8">
                  <a:moveTo>
                    <a:pt x="0" y="0"/>
                  </a:moveTo>
                  <a:cubicBezTo>
                    <a:pt x="7" y="0"/>
                    <a:pt x="15" y="1"/>
                    <a:pt x="15" y="7"/>
                  </a:cubicBezTo>
                  <a:cubicBezTo>
                    <a:pt x="15" y="8"/>
                    <a:pt x="13" y="7"/>
                    <a:pt x="12" y="7"/>
                  </a:cubicBezTo>
                  <a:cubicBezTo>
                    <a:pt x="8" y="7"/>
                    <a:pt x="2" y="5"/>
                    <a:pt x="0" y="3"/>
                  </a:cubicBezTo>
                  <a:cubicBezTo>
                    <a:pt x="0" y="2"/>
                    <a:pt x="0" y="1"/>
                    <a:pt x="0"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5" name="Freeform 94"/>
            <p:cNvSpPr/>
            <p:nvPr/>
          </p:nvSpPr>
          <p:spPr bwMode="auto">
            <a:xfrm>
              <a:off x="2239963" y="1951038"/>
              <a:ext cx="79375" cy="50800"/>
            </a:xfrm>
            <a:custGeom>
              <a:avLst/>
              <a:gdLst/>
              <a:ahLst/>
              <a:cxnLst>
                <a:cxn ang="0">
                  <a:pos x="0" y="2"/>
                </a:cxn>
                <a:cxn ang="0">
                  <a:pos x="6" y="0"/>
                </a:cxn>
                <a:cxn ang="0">
                  <a:pos x="18" y="6"/>
                </a:cxn>
                <a:cxn ang="0">
                  <a:pos x="59" y="34"/>
                </a:cxn>
                <a:cxn ang="0">
                  <a:pos x="59" y="38"/>
                </a:cxn>
                <a:cxn ang="0">
                  <a:pos x="55" y="38"/>
                </a:cxn>
                <a:cxn ang="0">
                  <a:pos x="22" y="22"/>
                </a:cxn>
                <a:cxn ang="0">
                  <a:pos x="27" y="17"/>
                </a:cxn>
                <a:cxn ang="0">
                  <a:pos x="4" y="8"/>
                </a:cxn>
                <a:cxn ang="0">
                  <a:pos x="8" y="4"/>
                </a:cxn>
                <a:cxn ang="0">
                  <a:pos x="2" y="2"/>
                </a:cxn>
                <a:cxn ang="0">
                  <a:pos x="0" y="2"/>
                </a:cxn>
              </a:cxnLst>
              <a:rect l="0" t="0" r="r" b="b"/>
              <a:pathLst>
                <a:path w="59" h="38">
                  <a:moveTo>
                    <a:pt x="0" y="2"/>
                  </a:moveTo>
                  <a:cubicBezTo>
                    <a:pt x="2" y="1"/>
                    <a:pt x="4" y="0"/>
                    <a:pt x="6" y="0"/>
                  </a:cubicBezTo>
                  <a:cubicBezTo>
                    <a:pt x="11" y="0"/>
                    <a:pt x="15" y="5"/>
                    <a:pt x="18" y="6"/>
                  </a:cubicBezTo>
                  <a:cubicBezTo>
                    <a:pt x="37" y="12"/>
                    <a:pt x="48" y="23"/>
                    <a:pt x="59" y="34"/>
                  </a:cubicBezTo>
                  <a:cubicBezTo>
                    <a:pt x="59" y="38"/>
                    <a:pt x="59" y="38"/>
                    <a:pt x="59" y="38"/>
                  </a:cubicBezTo>
                  <a:cubicBezTo>
                    <a:pt x="58" y="38"/>
                    <a:pt x="56" y="38"/>
                    <a:pt x="55" y="38"/>
                  </a:cubicBezTo>
                  <a:cubicBezTo>
                    <a:pt x="45" y="38"/>
                    <a:pt x="29" y="26"/>
                    <a:pt x="22" y="22"/>
                  </a:cubicBezTo>
                  <a:cubicBezTo>
                    <a:pt x="23" y="19"/>
                    <a:pt x="25" y="19"/>
                    <a:pt x="27" y="17"/>
                  </a:cubicBezTo>
                  <a:cubicBezTo>
                    <a:pt x="18" y="17"/>
                    <a:pt x="6" y="13"/>
                    <a:pt x="4" y="8"/>
                  </a:cubicBezTo>
                  <a:cubicBezTo>
                    <a:pt x="6" y="7"/>
                    <a:pt x="8" y="5"/>
                    <a:pt x="8" y="4"/>
                  </a:cubicBezTo>
                  <a:cubicBezTo>
                    <a:pt x="6" y="3"/>
                    <a:pt x="2" y="2"/>
                    <a:pt x="2" y="2"/>
                  </a:cubicBezTo>
                  <a:lnTo>
                    <a:pt x="0" y="2"/>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6" name="Freeform 95"/>
            <p:cNvSpPr/>
            <p:nvPr/>
          </p:nvSpPr>
          <p:spPr bwMode="auto">
            <a:xfrm>
              <a:off x="2162175" y="1876425"/>
              <a:ext cx="28575" cy="39688"/>
            </a:xfrm>
            <a:custGeom>
              <a:avLst/>
              <a:gdLst/>
              <a:ahLst/>
              <a:cxnLst>
                <a:cxn ang="0">
                  <a:pos x="5" y="12"/>
                </a:cxn>
                <a:cxn ang="0">
                  <a:pos x="0" y="4"/>
                </a:cxn>
                <a:cxn ang="0">
                  <a:pos x="0" y="0"/>
                </a:cxn>
                <a:cxn ang="0">
                  <a:pos x="10" y="3"/>
                </a:cxn>
                <a:cxn ang="0">
                  <a:pos x="7" y="8"/>
                </a:cxn>
                <a:cxn ang="0">
                  <a:pos x="13" y="3"/>
                </a:cxn>
                <a:cxn ang="0">
                  <a:pos x="13" y="12"/>
                </a:cxn>
                <a:cxn ang="0">
                  <a:pos x="15" y="18"/>
                </a:cxn>
                <a:cxn ang="0">
                  <a:pos x="13" y="22"/>
                </a:cxn>
                <a:cxn ang="0">
                  <a:pos x="17" y="30"/>
                </a:cxn>
                <a:cxn ang="0">
                  <a:pos x="10" y="22"/>
                </a:cxn>
                <a:cxn ang="0">
                  <a:pos x="12" y="17"/>
                </a:cxn>
                <a:cxn ang="0">
                  <a:pos x="5" y="12"/>
                </a:cxn>
              </a:cxnLst>
              <a:rect l="0" t="0" r="r" b="b"/>
              <a:pathLst>
                <a:path w="21" h="30">
                  <a:moveTo>
                    <a:pt x="5" y="12"/>
                  </a:moveTo>
                  <a:cubicBezTo>
                    <a:pt x="3" y="12"/>
                    <a:pt x="2" y="6"/>
                    <a:pt x="0" y="4"/>
                  </a:cubicBezTo>
                  <a:cubicBezTo>
                    <a:pt x="0" y="0"/>
                    <a:pt x="0" y="0"/>
                    <a:pt x="0" y="0"/>
                  </a:cubicBezTo>
                  <a:cubicBezTo>
                    <a:pt x="4" y="0"/>
                    <a:pt x="6" y="3"/>
                    <a:pt x="10" y="3"/>
                  </a:cubicBezTo>
                  <a:cubicBezTo>
                    <a:pt x="10" y="4"/>
                    <a:pt x="5" y="8"/>
                    <a:pt x="7" y="8"/>
                  </a:cubicBezTo>
                  <a:cubicBezTo>
                    <a:pt x="10" y="8"/>
                    <a:pt x="12" y="5"/>
                    <a:pt x="13" y="3"/>
                  </a:cubicBezTo>
                  <a:cubicBezTo>
                    <a:pt x="14" y="5"/>
                    <a:pt x="13" y="8"/>
                    <a:pt x="13" y="12"/>
                  </a:cubicBezTo>
                  <a:cubicBezTo>
                    <a:pt x="13" y="15"/>
                    <a:pt x="15" y="15"/>
                    <a:pt x="15" y="18"/>
                  </a:cubicBezTo>
                  <a:cubicBezTo>
                    <a:pt x="15" y="19"/>
                    <a:pt x="13" y="20"/>
                    <a:pt x="13" y="22"/>
                  </a:cubicBezTo>
                  <a:cubicBezTo>
                    <a:pt x="13" y="24"/>
                    <a:pt x="21" y="30"/>
                    <a:pt x="17" y="30"/>
                  </a:cubicBezTo>
                  <a:cubicBezTo>
                    <a:pt x="13" y="30"/>
                    <a:pt x="10" y="26"/>
                    <a:pt x="10" y="22"/>
                  </a:cubicBezTo>
                  <a:cubicBezTo>
                    <a:pt x="10" y="19"/>
                    <a:pt x="12" y="18"/>
                    <a:pt x="12" y="17"/>
                  </a:cubicBezTo>
                  <a:cubicBezTo>
                    <a:pt x="9" y="16"/>
                    <a:pt x="8" y="12"/>
                    <a:pt x="5" y="1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7" name="Freeform 96"/>
            <p:cNvSpPr/>
            <p:nvPr/>
          </p:nvSpPr>
          <p:spPr bwMode="auto">
            <a:xfrm>
              <a:off x="1803400" y="1787525"/>
              <a:ext cx="34925" cy="23813"/>
            </a:xfrm>
            <a:custGeom>
              <a:avLst/>
              <a:gdLst/>
              <a:ahLst/>
              <a:cxnLst>
                <a:cxn ang="0">
                  <a:pos x="21" y="0"/>
                </a:cxn>
                <a:cxn ang="0">
                  <a:pos x="27" y="0"/>
                </a:cxn>
                <a:cxn ang="0">
                  <a:pos x="27" y="6"/>
                </a:cxn>
                <a:cxn ang="0">
                  <a:pos x="10" y="18"/>
                </a:cxn>
                <a:cxn ang="0">
                  <a:pos x="0" y="12"/>
                </a:cxn>
                <a:cxn ang="0">
                  <a:pos x="0" y="7"/>
                </a:cxn>
                <a:cxn ang="0">
                  <a:pos x="21" y="0"/>
                </a:cxn>
              </a:cxnLst>
              <a:rect l="0" t="0" r="r" b="b"/>
              <a:pathLst>
                <a:path w="27" h="18">
                  <a:moveTo>
                    <a:pt x="21" y="0"/>
                  </a:moveTo>
                  <a:cubicBezTo>
                    <a:pt x="25" y="0"/>
                    <a:pt x="25" y="0"/>
                    <a:pt x="27" y="0"/>
                  </a:cubicBezTo>
                  <a:cubicBezTo>
                    <a:pt x="27" y="6"/>
                    <a:pt x="27" y="6"/>
                    <a:pt x="27" y="6"/>
                  </a:cubicBezTo>
                  <a:cubicBezTo>
                    <a:pt x="19" y="10"/>
                    <a:pt x="16" y="13"/>
                    <a:pt x="10" y="18"/>
                  </a:cubicBezTo>
                  <a:cubicBezTo>
                    <a:pt x="6" y="15"/>
                    <a:pt x="3" y="15"/>
                    <a:pt x="0" y="12"/>
                  </a:cubicBezTo>
                  <a:cubicBezTo>
                    <a:pt x="0" y="7"/>
                    <a:pt x="0" y="7"/>
                    <a:pt x="0" y="7"/>
                  </a:cubicBezTo>
                  <a:cubicBezTo>
                    <a:pt x="8" y="5"/>
                    <a:pt x="14" y="0"/>
                    <a:pt x="21"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8" name="Freeform 97"/>
            <p:cNvSpPr/>
            <p:nvPr/>
          </p:nvSpPr>
          <p:spPr bwMode="auto">
            <a:xfrm>
              <a:off x="3311525" y="1963738"/>
              <a:ext cx="42863" cy="22225"/>
            </a:xfrm>
            <a:custGeom>
              <a:avLst/>
              <a:gdLst/>
              <a:ahLst/>
              <a:cxnLst>
                <a:cxn ang="0">
                  <a:pos x="26" y="17"/>
                </a:cxn>
                <a:cxn ang="0">
                  <a:pos x="32" y="14"/>
                </a:cxn>
                <a:cxn ang="0">
                  <a:pos x="0" y="3"/>
                </a:cxn>
                <a:cxn ang="0">
                  <a:pos x="26" y="17"/>
                </a:cxn>
              </a:cxnLst>
              <a:rect l="0" t="0" r="r" b="b"/>
              <a:pathLst>
                <a:path w="32" h="17">
                  <a:moveTo>
                    <a:pt x="26" y="17"/>
                  </a:moveTo>
                  <a:cubicBezTo>
                    <a:pt x="29" y="17"/>
                    <a:pt x="30" y="16"/>
                    <a:pt x="32" y="14"/>
                  </a:cubicBezTo>
                  <a:cubicBezTo>
                    <a:pt x="22" y="9"/>
                    <a:pt x="14" y="0"/>
                    <a:pt x="0" y="3"/>
                  </a:cubicBezTo>
                  <a:cubicBezTo>
                    <a:pt x="6" y="7"/>
                    <a:pt x="18" y="17"/>
                    <a:pt x="26" y="17"/>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39" name="Freeform 98"/>
            <p:cNvSpPr/>
            <p:nvPr/>
          </p:nvSpPr>
          <p:spPr bwMode="auto">
            <a:xfrm>
              <a:off x="3314700" y="2030413"/>
              <a:ext cx="31750" cy="20638"/>
            </a:xfrm>
            <a:custGeom>
              <a:avLst/>
              <a:gdLst/>
              <a:ahLst/>
              <a:cxnLst>
                <a:cxn ang="0">
                  <a:pos x="1" y="0"/>
                </a:cxn>
                <a:cxn ang="0">
                  <a:pos x="11" y="7"/>
                </a:cxn>
                <a:cxn ang="0">
                  <a:pos x="24" y="7"/>
                </a:cxn>
                <a:cxn ang="0">
                  <a:pos x="24" y="10"/>
                </a:cxn>
                <a:cxn ang="0">
                  <a:pos x="19" y="15"/>
                </a:cxn>
                <a:cxn ang="0">
                  <a:pos x="0" y="3"/>
                </a:cxn>
                <a:cxn ang="0">
                  <a:pos x="1" y="0"/>
                </a:cxn>
              </a:cxnLst>
              <a:rect l="0" t="0" r="r" b="b"/>
              <a:pathLst>
                <a:path w="24" h="15">
                  <a:moveTo>
                    <a:pt x="1" y="0"/>
                  </a:moveTo>
                  <a:cubicBezTo>
                    <a:pt x="4" y="4"/>
                    <a:pt x="7" y="6"/>
                    <a:pt x="11" y="7"/>
                  </a:cubicBezTo>
                  <a:cubicBezTo>
                    <a:pt x="24" y="7"/>
                    <a:pt x="24" y="7"/>
                    <a:pt x="24" y="7"/>
                  </a:cubicBezTo>
                  <a:cubicBezTo>
                    <a:pt x="24" y="8"/>
                    <a:pt x="24" y="9"/>
                    <a:pt x="24" y="10"/>
                  </a:cubicBezTo>
                  <a:cubicBezTo>
                    <a:pt x="24" y="12"/>
                    <a:pt x="20" y="15"/>
                    <a:pt x="19" y="15"/>
                  </a:cubicBezTo>
                  <a:cubicBezTo>
                    <a:pt x="16" y="15"/>
                    <a:pt x="0" y="6"/>
                    <a:pt x="0" y="3"/>
                  </a:cubicBezTo>
                  <a:cubicBezTo>
                    <a:pt x="0" y="2"/>
                    <a:pt x="0" y="0"/>
                    <a:pt x="1"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40" name="Freeform 99"/>
            <p:cNvSpPr/>
            <p:nvPr/>
          </p:nvSpPr>
          <p:spPr bwMode="auto">
            <a:xfrm>
              <a:off x="3362325" y="2030413"/>
              <a:ext cx="22225" cy="26988"/>
            </a:xfrm>
            <a:custGeom>
              <a:avLst/>
              <a:gdLst/>
              <a:ahLst/>
              <a:cxnLst>
                <a:cxn ang="0">
                  <a:pos x="17" y="12"/>
                </a:cxn>
                <a:cxn ang="0">
                  <a:pos x="17" y="15"/>
                </a:cxn>
                <a:cxn ang="0">
                  <a:pos x="7" y="20"/>
                </a:cxn>
                <a:cxn ang="0">
                  <a:pos x="0" y="15"/>
                </a:cxn>
                <a:cxn ang="0">
                  <a:pos x="10" y="0"/>
                </a:cxn>
                <a:cxn ang="0">
                  <a:pos x="14" y="5"/>
                </a:cxn>
                <a:cxn ang="0">
                  <a:pos x="17" y="12"/>
                </a:cxn>
              </a:cxnLst>
              <a:rect l="0" t="0" r="r" b="b"/>
              <a:pathLst>
                <a:path w="17" h="20">
                  <a:moveTo>
                    <a:pt x="17" y="12"/>
                  </a:moveTo>
                  <a:cubicBezTo>
                    <a:pt x="17" y="12"/>
                    <a:pt x="17" y="14"/>
                    <a:pt x="17" y="15"/>
                  </a:cubicBezTo>
                  <a:cubicBezTo>
                    <a:pt x="17" y="18"/>
                    <a:pt x="12" y="20"/>
                    <a:pt x="7" y="20"/>
                  </a:cubicBezTo>
                  <a:cubicBezTo>
                    <a:pt x="3" y="20"/>
                    <a:pt x="0" y="18"/>
                    <a:pt x="0" y="15"/>
                  </a:cubicBezTo>
                  <a:cubicBezTo>
                    <a:pt x="0" y="13"/>
                    <a:pt x="6" y="2"/>
                    <a:pt x="10" y="0"/>
                  </a:cubicBezTo>
                  <a:cubicBezTo>
                    <a:pt x="11" y="2"/>
                    <a:pt x="14" y="3"/>
                    <a:pt x="14" y="5"/>
                  </a:cubicBezTo>
                  <a:cubicBezTo>
                    <a:pt x="14" y="9"/>
                    <a:pt x="7" y="12"/>
                    <a:pt x="17" y="1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41" name="Freeform 100"/>
            <p:cNvSpPr/>
            <p:nvPr/>
          </p:nvSpPr>
          <p:spPr bwMode="auto">
            <a:xfrm>
              <a:off x="1593850" y="1724025"/>
              <a:ext cx="26988" cy="12700"/>
            </a:xfrm>
            <a:custGeom>
              <a:avLst/>
              <a:gdLst/>
              <a:ahLst/>
              <a:cxnLst>
                <a:cxn ang="0">
                  <a:pos x="6" y="4"/>
                </a:cxn>
                <a:cxn ang="0">
                  <a:pos x="13" y="1"/>
                </a:cxn>
                <a:cxn ang="0">
                  <a:pos x="20" y="9"/>
                </a:cxn>
                <a:cxn ang="0">
                  <a:pos x="5" y="9"/>
                </a:cxn>
                <a:cxn ang="0">
                  <a:pos x="0" y="4"/>
                </a:cxn>
                <a:cxn ang="0">
                  <a:pos x="6" y="4"/>
                </a:cxn>
              </a:cxnLst>
              <a:rect l="0" t="0" r="r" b="b"/>
              <a:pathLst>
                <a:path w="20" h="9">
                  <a:moveTo>
                    <a:pt x="6" y="4"/>
                  </a:moveTo>
                  <a:cubicBezTo>
                    <a:pt x="8" y="0"/>
                    <a:pt x="10" y="1"/>
                    <a:pt x="13" y="1"/>
                  </a:cubicBezTo>
                  <a:cubicBezTo>
                    <a:pt x="18" y="1"/>
                    <a:pt x="19" y="4"/>
                    <a:pt x="20" y="9"/>
                  </a:cubicBezTo>
                  <a:cubicBezTo>
                    <a:pt x="5" y="9"/>
                    <a:pt x="5" y="9"/>
                    <a:pt x="5" y="9"/>
                  </a:cubicBezTo>
                  <a:cubicBezTo>
                    <a:pt x="3" y="7"/>
                    <a:pt x="1" y="6"/>
                    <a:pt x="0" y="4"/>
                  </a:cubicBezTo>
                  <a:lnTo>
                    <a:pt x="6" y="4"/>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grpSp>
        <p:nvGrpSpPr>
          <p:cNvPr id="6" name="Group 345"/>
          <p:cNvGrpSpPr/>
          <p:nvPr/>
        </p:nvGrpSpPr>
        <p:grpSpPr>
          <a:xfrm>
            <a:off x="4062486" y="1675732"/>
            <a:ext cx="892424" cy="1500623"/>
            <a:chOff x="4219575" y="1089025"/>
            <a:chExt cx="687388" cy="1155701"/>
          </a:xfrm>
          <a:solidFill>
            <a:schemeClr val="accent2"/>
          </a:solidFill>
        </p:grpSpPr>
        <p:sp>
          <p:nvSpPr>
            <p:cNvPr id="347" name="Freeform 36"/>
            <p:cNvSpPr/>
            <p:nvPr/>
          </p:nvSpPr>
          <p:spPr bwMode="auto">
            <a:xfrm>
              <a:off x="4568825" y="1816100"/>
              <a:ext cx="26988" cy="39688"/>
            </a:xfrm>
            <a:custGeom>
              <a:avLst/>
              <a:gdLst/>
              <a:ahLst/>
              <a:cxnLst>
                <a:cxn ang="0">
                  <a:pos x="3" y="27"/>
                </a:cxn>
                <a:cxn ang="0">
                  <a:pos x="9" y="21"/>
                </a:cxn>
                <a:cxn ang="0">
                  <a:pos x="0" y="14"/>
                </a:cxn>
                <a:cxn ang="0">
                  <a:pos x="9" y="0"/>
                </a:cxn>
                <a:cxn ang="0">
                  <a:pos x="20" y="12"/>
                </a:cxn>
                <a:cxn ang="0">
                  <a:pos x="6" y="30"/>
                </a:cxn>
                <a:cxn ang="0">
                  <a:pos x="0" y="27"/>
                </a:cxn>
                <a:cxn ang="0">
                  <a:pos x="2" y="25"/>
                </a:cxn>
                <a:cxn ang="0">
                  <a:pos x="3" y="27"/>
                </a:cxn>
              </a:cxnLst>
              <a:rect l="0" t="0" r="r" b="b"/>
              <a:pathLst>
                <a:path w="20" h="30">
                  <a:moveTo>
                    <a:pt x="3" y="27"/>
                  </a:moveTo>
                  <a:cubicBezTo>
                    <a:pt x="6" y="26"/>
                    <a:pt x="9" y="23"/>
                    <a:pt x="9" y="21"/>
                  </a:cubicBezTo>
                  <a:cubicBezTo>
                    <a:pt x="5" y="20"/>
                    <a:pt x="0" y="16"/>
                    <a:pt x="0" y="14"/>
                  </a:cubicBezTo>
                  <a:cubicBezTo>
                    <a:pt x="0" y="12"/>
                    <a:pt x="5" y="0"/>
                    <a:pt x="9" y="0"/>
                  </a:cubicBezTo>
                  <a:cubicBezTo>
                    <a:pt x="17" y="0"/>
                    <a:pt x="18" y="4"/>
                    <a:pt x="20" y="12"/>
                  </a:cubicBezTo>
                  <a:cubicBezTo>
                    <a:pt x="12" y="14"/>
                    <a:pt x="16" y="30"/>
                    <a:pt x="6" y="30"/>
                  </a:cubicBezTo>
                  <a:cubicBezTo>
                    <a:pt x="3" y="30"/>
                    <a:pt x="1" y="27"/>
                    <a:pt x="0" y="27"/>
                  </a:cubicBezTo>
                  <a:cubicBezTo>
                    <a:pt x="1" y="26"/>
                    <a:pt x="2" y="25"/>
                    <a:pt x="2" y="25"/>
                  </a:cubicBezTo>
                  <a:lnTo>
                    <a:pt x="3" y="27"/>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nvGrpSpPr>
            <p:cNvPr id="7" name="Group 343"/>
            <p:cNvGrpSpPr/>
            <p:nvPr/>
          </p:nvGrpSpPr>
          <p:grpSpPr>
            <a:xfrm>
              <a:off x="4219575" y="1089025"/>
              <a:ext cx="687388" cy="1155701"/>
              <a:chOff x="4219575" y="1089025"/>
              <a:chExt cx="687388" cy="1155701"/>
            </a:xfrm>
            <a:grpFill/>
          </p:grpSpPr>
          <p:sp>
            <p:nvSpPr>
              <p:cNvPr id="349" name="Freeform 24"/>
              <p:cNvSpPr/>
              <p:nvPr/>
            </p:nvSpPr>
            <p:spPr bwMode="auto">
              <a:xfrm>
                <a:off x="4230688" y="1782763"/>
                <a:ext cx="646113" cy="461963"/>
              </a:xfrm>
              <a:custGeom>
                <a:avLst/>
                <a:gdLst/>
                <a:ahLst/>
                <a:cxnLst>
                  <a:cxn ang="0">
                    <a:pos x="473" y="233"/>
                  </a:cxn>
                  <a:cxn ang="0">
                    <a:pos x="470" y="273"/>
                  </a:cxn>
                  <a:cxn ang="0">
                    <a:pos x="427" y="274"/>
                  </a:cxn>
                  <a:cxn ang="0">
                    <a:pos x="401" y="283"/>
                  </a:cxn>
                  <a:cxn ang="0">
                    <a:pos x="403" y="303"/>
                  </a:cxn>
                  <a:cxn ang="0">
                    <a:pos x="413" y="322"/>
                  </a:cxn>
                  <a:cxn ang="0">
                    <a:pos x="401" y="319"/>
                  </a:cxn>
                  <a:cxn ang="0">
                    <a:pos x="397" y="336"/>
                  </a:cxn>
                  <a:cxn ang="0">
                    <a:pos x="382" y="315"/>
                  </a:cxn>
                  <a:cxn ang="0">
                    <a:pos x="358" y="278"/>
                  </a:cxn>
                  <a:cxn ang="0">
                    <a:pos x="329" y="238"/>
                  </a:cxn>
                  <a:cxn ang="0">
                    <a:pos x="289" y="213"/>
                  </a:cxn>
                  <a:cxn ang="0">
                    <a:pos x="270" y="212"/>
                  </a:cxn>
                  <a:cxn ang="0">
                    <a:pos x="289" y="244"/>
                  </a:cxn>
                  <a:cxn ang="0">
                    <a:pos x="315" y="264"/>
                  </a:cxn>
                  <a:cxn ang="0">
                    <a:pos x="330" y="283"/>
                  </a:cxn>
                  <a:cxn ang="0">
                    <a:pos x="323" y="305"/>
                  </a:cxn>
                  <a:cxn ang="0">
                    <a:pos x="316" y="303"/>
                  </a:cxn>
                  <a:cxn ang="0">
                    <a:pos x="291" y="273"/>
                  </a:cxn>
                  <a:cxn ang="0">
                    <a:pos x="229" y="223"/>
                  </a:cxn>
                  <a:cxn ang="0">
                    <a:pos x="168" y="237"/>
                  </a:cxn>
                  <a:cxn ang="0">
                    <a:pos x="135" y="272"/>
                  </a:cxn>
                  <a:cxn ang="0">
                    <a:pos x="101" y="326"/>
                  </a:cxn>
                  <a:cxn ang="0">
                    <a:pos x="72" y="338"/>
                  </a:cxn>
                  <a:cxn ang="0">
                    <a:pos x="10" y="334"/>
                  </a:cxn>
                  <a:cxn ang="0">
                    <a:pos x="0" y="306"/>
                  </a:cxn>
                  <a:cxn ang="0">
                    <a:pos x="4" y="246"/>
                  </a:cxn>
                  <a:cxn ang="0">
                    <a:pos x="48" y="235"/>
                  </a:cxn>
                  <a:cxn ang="0">
                    <a:pos x="89" y="240"/>
                  </a:cxn>
                  <a:cxn ang="0">
                    <a:pos x="105" y="206"/>
                  </a:cxn>
                  <a:cxn ang="0">
                    <a:pos x="103" y="193"/>
                  </a:cxn>
                  <a:cxn ang="0">
                    <a:pos x="60" y="163"/>
                  </a:cxn>
                  <a:cxn ang="0">
                    <a:pos x="88" y="157"/>
                  </a:cxn>
                  <a:cxn ang="0">
                    <a:pos x="96" y="143"/>
                  </a:cxn>
                  <a:cxn ang="0">
                    <a:pos x="114" y="145"/>
                  </a:cxn>
                  <a:cxn ang="0">
                    <a:pos x="147" y="118"/>
                  </a:cxn>
                  <a:cxn ang="0">
                    <a:pos x="176" y="89"/>
                  </a:cxn>
                  <a:cxn ang="0">
                    <a:pos x="208" y="73"/>
                  </a:cxn>
                  <a:cxn ang="0">
                    <a:pos x="225" y="54"/>
                  </a:cxn>
                  <a:cxn ang="0">
                    <a:pos x="245" y="5"/>
                  </a:cxn>
                  <a:cxn ang="0">
                    <a:pos x="251" y="25"/>
                  </a:cxn>
                  <a:cxn ang="0">
                    <a:pos x="240" y="54"/>
                  </a:cxn>
                  <a:cxn ang="0">
                    <a:pos x="254" y="66"/>
                  </a:cxn>
                  <a:cxn ang="0">
                    <a:pos x="289" y="68"/>
                  </a:cxn>
                  <a:cxn ang="0">
                    <a:pos x="333" y="50"/>
                  </a:cxn>
                  <a:cxn ang="0">
                    <a:pos x="378" y="55"/>
                  </a:cxn>
                  <a:cxn ang="0">
                    <a:pos x="408" y="95"/>
                  </a:cxn>
                  <a:cxn ang="0">
                    <a:pos x="399" y="153"/>
                  </a:cxn>
                  <a:cxn ang="0">
                    <a:pos x="470" y="180"/>
                  </a:cxn>
                  <a:cxn ang="0">
                    <a:pos x="474" y="204"/>
                  </a:cxn>
                  <a:cxn ang="0">
                    <a:pos x="476" y="216"/>
                  </a:cxn>
                </a:cxnLst>
                <a:rect l="0" t="0" r="r" b="b"/>
                <a:pathLst>
                  <a:path w="485" h="347">
                    <a:moveTo>
                      <a:pt x="476" y="216"/>
                    </a:moveTo>
                    <a:cubicBezTo>
                      <a:pt x="474" y="223"/>
                      <a:pt x="475" y="219"/>
                      <a:pt x="473" y="222"/>
                    </a:cubicBezTo>
                    <a:cubicBezTo>
                      <a:pt x="473" y="233"/>
                      <a:pt x="473" y="233"/>
                      <a:pt x="473" y="233"/>
                    </a:cubicBezTo>
                    <a:cubicBezTo>
                      <a:pt x="469" y="238"/>
                      <a:pt x="461" y="246"/>
                      <a:pt x="461" y="253"/>
                    </a:cubicBezTo>
                    <a:cubicBezTo>
                      <a:pt x="461" y="261"/>
                      <a:pt x="473" y="268"/>
                      <a:pt x="476" y="272"/>
                    </a:cubicBezTo>
                    <a:cubicBezTo>
                      <a:pt x="474" y="273"/>
                      <a:pt x="472" y="273"/>
                      <a:pt x="470" y="273"/>
                    </a:cubicBezTo>
                    <a:cubicBezTo>
                      <a:pt x="466" y="275"/>
                      <a:pt x="463" y="273"/>
                      <a:pt x="459" y="275"/>
                    </a:cubicBezTo>
                    <a:cubicBezTo>
                      <a:pt x="453" y="277"/>
                      <a:pt x="452" y="283"/>
                      <a:pt x="446" y="283"/>
                    </a:cubicBezTo>
                    <a:cubicBezTo>
                      <a:pt x="439" y="283"/>
                      <a:pt x="435" y="274"/>
                      <a:pt x="427" y="274"/>
                    </a:cubicBezTo>
                    <a:cubicBezTo>
                      <a:pt x="420" y="274"/>
                      <a:pt x="419" y="278"/>
                      <a:pt x="413" y="280"/>
                    </a:cubicBezTo>
                    <a:cubicBezTo>
                      <a:pt x="414" y="284"/>
                      <a:pt x="414" y="286"/>
                      <a:pt x="413" y="290"/>
                    </a:cubicBezTo>
                    <a:cubicBezTo>
                      <a:pt x="406" y="290"/>
                      <a:pt x="405" y="283"/>
                      <a:pt x="401" y="283"/>
                    </a:cubicBezTo>
                    <a:cubicBezTo>
                      <a:pt x="399" y="283"/>
                      <a:pt x="397" y="286"/>
                      <a:pt x="397" y="288"/>
                    </a:cubicBezTo>
                    <a:cubicBezTo>
                      <a:pt x="405" y="298"/>
                      <a:pt x="405" y="298"/>
                      <a:pt x="405" y="298"/>
                    </a:cubicBezTo>
                    <a:cubicBezTo>
                      <a:pt x="405" y="300"/>
                      <a:pt x="403" y="302"/>
                      <a:pt x="403" y="303"/>
                    </a:cubicBezTo>
                    <a:cubicBezTo>
                      <a:pt x="403" y="304"/>
                      <a:pt x="415" y="315"/>
                      <a:pt x="419" y="315"/>
                    </a:cubicBezTo>
                    <a:cubicBezTo>
                      <a:pt x="419" y="317"/>
                      <a:pt x="420" y="318"/>
                      <a:pt x="420" y="319"/>
                    </a:cubicBezTo>
                    <a:cubicBezTo>
                      <a:pt x="418" y="321"/>
                      <a:pt x="414" y="319"/>
                      <a:pt x="413" y="322"/>
                    </a:cubicBezTo>
                    <a:cubicBezTo>
                      <a:pt x="412" y="322"/>
                      <a:pt x="412" y="322"/>
                      <a:pt x="412" y="322"/>
                    </a:cubicBezTo>
                    <a:cubicBezTo>
                      <a:pt x="407" y="321"/>
                      <a:pt x="403" y="317"/>
                      <a:pt x="401" y="315"/>
                    </a:cubicBezTo>
                    <a:cubicBezTo>
                      <a:pt x="401" y="319"/>
                      <a:pt x="401" y="319"/>
                      <a:pt x="401" y="319"/>
                    </a:cubicBezTo>
                    <a:cubicBezTo>
                      <a:pt x="402" y="321"/>
                      <a:pt x="403" y="323"/>
                      <a:pt x="403" y="326"/>
                    </a:cubicBezTo>
                    <a:cubicBezTo>
                      <a:pt x="403" y="329"/>
                      <a:pt x="399" y="334"/>
                      <a:pt x="403" y="336"/>
                    </a:cubicBezTo>
                    <a:cubicBezTo>
                      <a:pt x="401" y="336"/>
                      <a:pt x="397" y="336"/>
                      <a:pt x="397" y="336"/>
                    </a:cubicBezTo>
                    <a:cubicBezTo>
                      <a:pt x="390" y="336"/>
                      <a:pt x="384" y="329"/>
                      <a:pt x="384" y="322"/>
                    </a:cubicBezTo>
                    <a:cubicBezTo>
                      <a:pt x="384" y="319"/>
                      <a:pt x="388" y="317"/>
                      <a:pt x="390" y="315"/>
                    </a:cubicBezTo>
                    <a:cubicBezTo>
                      <a:pt x="387" y="315"/>
                      <a:pt x="385" y="315"/>
                      <a:pt x="382" y="315"/>
                    </a:cubicBezTo>
                    <a:cubicBezTo>
                      <a:pt x="380" y="315"/>
                      <a:pt x="379" y="311"/>
                      <a:pt x="379" y="310"/>
                    </a:cubicBezTo>
                    <a:cubicBezTo>
                      <a:pt x="378" y="304"/>
                      <a:pt x="374" y="300"/>
                      <a:pt x="370" y="296"/>
                    </a:cubicBezTo>
                    <a:cubicBezTo>
                      <a:pt x="365" y="291"/>
                      <a:pt x="358" y="287"/>
                      <a:pt x="358" y="278"/>
                    </a:cubicBezTo>
                    <a:cubicBezTo>
                      <a:pt x="358" y="272"/>
                      <a:pt x="358" y="270"/>
                      <a:pt x="358" y="266"/>
                    </a:cubicBezTo>
                    <a:cubicBezTo>
                      <a:pt x="358" y="260"/>
                      <a:pt x="348" y="251"/>
                      <a:pt x="342" y="248"/>
                    </a:cubicBezTo>
                    <a:cubicBezTo>
                      <a:pt x="336" y="245"/>
                      <a:pt x="329" y="244"/>
                      <a:pt x="329" y="238"/>
                    </a:cubicBezTo>
                    <a:cubicBezTo>
                      <a:pt x="326" y="238"/>
                      <a:pt x="325" y="238"/>
                      <a:pt x="323" y="238"/>
                    </a:cubicBezTo>
                    <a:cubicBezTo>
                      <a:pt x="313" y="238"/>
                      <a:pt x="302" y="223"/>
                      <a:pt x="302" y="213"/>
                    </a:cubicBezTo>
                    <a:cubicBezTo>
                      <a:pt x="297" y="213"/>
                      <a:pt x="293" y="213"/>
                      <a:pt x="289" y="213"/>
                    </a:cubicBezTo>
                    <a:cubicBezTo>
                      <a:pt x="283" y="213"/>
                      <a:pt x="285" y="204"/>
                      <a:pt x="283" y="201"/>
                    </a:cubicBezTo>
                    <a:cubicBezTo>
                      <a:pt x="278" y="204"/>
                      <a:pt x="268" y="204"/>
                      <a:pt x="268" y="209"/>
                    </a:cubicBezTo>
                    <a:cubicBezTo>
                      <a:pt x="268" y="210"/>
                      <a:pt x="270" y="212"/>
                      <a:pt x="270" y="212"/>
                    </a:cubicBezTo>
                    <a:cubicBezTo>
                      <a:pt x="270" y="214"/>
                      <a:pt x="269" y="217"/>
                      <a:pt x="269" y="220"/>
                    </a:cubicBezTo>
                    <a:cubicBezTo>
                      <a:pt x="269" y="226"/>
                      <a:pt x="273" y="229"/>
                      <a:pt x="278" y="231"/>
                    </a:cubicBezTo>
                    <a:cubicBezTo>
                      <a:pt x="285" y="233"/>
                      <a:pt x="288" y="240"/>
                      <a:pt x="289" y="244"/>
                    </a:cubicBezTo>
                    <a:cubicBezTo>
                      <a:pt x="291" y="250"/>
                      <a:pt x="294" y="257"/>
                      <a:pt x="298" y="259"/>
                    </a:cubicBezTo>
                    <a:cubicBezTo>
                      <a:pt x="304" y="262"/>
                      <a:pt x="309" y="260"/>
                      <a:pt x="315" y="260"/>
                    </a:cubicBezTo>
                    <a:cubicBezTo>
                      <a:pt x="315" y="261"/>
                      <a:pt x="315" y="263"/>
                      <a:pt x="315" y="264"/>
                    </a:cubicBezTo>
                    <a:cubicBezTo>
                      <a:pt x="313" y="269"/>
                      <a:pt x="323" y="271"/>
                      <a:pt x="326" y="272"/>
                    </a:cubicBezTo>
                    <a:cubicBezTo>
                      <a:pt x="335" y="277"/>
                      <a:pt x="345" y="280"/>
                      <a:pt x="344" y="290"/>
                    </a:cubicBezTo>
                    <a:cubicBezTo>
                      <a:pt x="340" y="289"/>
                      <a:pt x="337" y="283"/>
                      <a:pt x="330" y="283"/>
                    </a:cubicBezTo>
                    <a:cubicBezTo>
                      <a:pt x="325" y="283"/>
                      <a:pt x="320" y="286"/>
                      <a:pt x="320" y="290"/>
                    </a:cubicBezTo>
                    <a:cubicBezTo>
                      <a:pt x="320" y="296"/>
                      <a:pt x="328" y="297"/>
                      <a:pt x="328" y="303"/>
                    </a:cubicBezTo>
                    <a:cubicBezTo>
                      <a:pt x="328" y="305"/>
                      <a:pt x="323" y="305"/>
                      <a:pt x="323" y="305"/>
                    </a:cubicBezTo>
                    <a:cubicBezTo>
                      <a:pt x="319" y="309"/>
                      <a:pt x="319" y="318"/>
                      <a:pt x="313" y="318"/>
                    </a:cubicBezTo>
                    <a:cubicBezTo>
                      <a:pt x="310" y="318"/>
                      <a:pt x="308" y="317"/>
                      <a:pt x="308" y="315"/>
                    </a:cubicBezTo>
                    <a:cubicBezTo>
                      <a:pt x="314" y="315"/>
                      <a:pt x="316" y="309"/>
                      <a:pt x="316" y="303"/>
                    </a:cubicBezTo>
                    <a:cubicBezTo>
                      <a:pt x="316" y="297"/>
                      <a:pt x="312" y="295"/>
                      <a:pt x="311" y="291"/>
                    </a:cubicBezTo>
                    <a:cubicBezTo>
                      <a:pt x="310" y="291"/>
                      <a:pt x="300" y="281"/>
                      <a:pt x="299" y="278"/>
                    </a:cubicBezTo>
                    <a:cubicBezTo>
                      <a:pt x="297" y="278"/>
                      <a:pt x="291" y="276"/>
                      <a:pt x="291" y="273"/>
                    </a:cubicBezTo>
                    <a:cubicBezTo>
                      <a:pt x="277" y="270"/>
                      <a:pt x="274" y="266"/>
                      <a:pt x="266" y="259"/>
                    </a:cubicBezTo>
                    <a:cubicBezTo>
                      <a:pt x="263" y="256"/>
                      <a:pt x="257" y="254"/>
                      <a:pt x="256" y="251"/>
                    </a:cubicBezTo>
                    <a:cubicBezTo>
                      <a:pt x="248" y="241"/>
                      <a:pt x="245" y="223"/>
                      <a:pt x="229" y="223"/>
                    </a:cubicBezTo>
                    <a:cubicBezTo>
                      <a:pt x="221" y="223"/>
                      <a:pt x="220" y="228"/>
                      <a:pt x="216" y="230"/>
                    </a:cubicBezTo>
                    <a:cubicBezTo>
                      <a:pt x="208" y="234"/>
                      <a:pt x="202" y="242"/>
                      <a:pt x="192" y="242"/>
                    </a:cubicBezTo>
                    <a:cubicBezTo>
                      <a:pt x="183" y="242"/>
                      <a:pt x="177" y="237"/>
                      <a:pt x="168" y="237"/>
                    </a:cubicBezTo>
                    <a:cubicBezTo>
                      <a:pt x="161" y="237"/>
                      <a:pt x="154" y="242"/>
                      <a:pt x="154" y="248"/>
                    </a:cubicBezTo>
                    <a:cubicBezTo>
                      <a:pt x="157" y="258"/>
                      <a:pt x="157" y="258"/>
                      <a:pt x="157" y="258"/>
                    </a:cubicBezTo>
                    <a:cubicBezTo>
                      <a:pt x="154" y="267"/>
                      <a:pt x="144" y="270"/>
                      <a:pt x="135" y="272"/>
                    </a:cubicBezTo>
                    <a:cubicBezTo>
                      <a:pt x="127" y="274"/>
                      <a:pt x="114" y="292"/>
                      <a:pt x="114" y="302"/>
                    </a:cubicBezTo>
                    <a:cubicBezTo>
                      <a:pt x="114" y="305"/>
                      <a:pt x="117" y="306"/>
                      <a:pt x="119" y="307"/>
                    </a:cubicBezTo>
                    <a:cubicBezTo>
                      <a:pt x="113" y="316"/>
                      <a:pt x="110" y="321"/>
                      <a:pt x="101" y="326"/>
                    </a:cubicBezTo>
                    <a:cubicBezTo>
                      <a:pt x="96" y="328"/>
                      <a:pt x="95" y="340"/>
                      <a:pt x="86" y="337"/>
                    </a:cubicBezTo>
                    <a:cubicBezTo>
                      <a:pt x="86" y="337"/>
                      <a:pt x="86" y="337"/>
                      <a:pt x="86" y="337"/>
                    </a:cubicBezTo>
                    <a:cubicBezTo>
                      <a:pt x="82" y="336"/>
                      <a:pt x="75" y="338"/>
                      <a:pt x="72" y="338"/>
                    </a:cubicBezTo>
                    <a:cubicBezTo>
                      <a:pt x="62" y="338"/>
                      <a:pt x="56" y="347"/>
                      <a:pt x="46" y="347"/>
                    </a:cubicBezTo>
                    <a:cubicBezTo>
                      <a:pt x="40" y="347"/>
                      <a:pt x="39" y="331"/>
                      <a:pt x="29" y="331"/>
                    </a:cubicBezTo>
                    <a:cubicBezTo>
                      <a:pt x="22" y="331"/>
                      <a:pt x="17" y="334"/>
                      <a:pt x="10" y="334"/>
                    </a:cubicBezTo>
                    <a:cubicBezTo>
                      <a:pt x="8" y="334"/>
                      <a:pt x="7" y="332"/>
                      <a:pt x="7" y="330"/>
                    </a:cubicBezTo>
                    <a:cubicBezTo>
                      <a:pt x="7" y="321"/>
                      <a:pt x="7" y="318"/>
                      <a:pt x="7" y="313"/>
                    </a:cubicBezTo>
                    <a:cubicBezTo>
                      <a:pt x="3" y="313"/>
                      <a:pt x="0" y="310"/>
                      <a:pt x="0" y="306"/>
                    </a:cubicBezTo>
                    <a:cubicBezTo>
                      <a:pt x="0" y="301"/>
                      <a:pt x="4" y="299"/>
                      <a:pt x="4" y="296"/>
                    </a:cubicBezTo>
                    <a:cubicBezTo>
                      <a:pt x="4" y="285"/>
                      <a:pt x="8" y="274"/>
                      <a:pt x="8" y="262"/>
                    </a:cubicBezTo>
                    <a:cubicBezTo>
                      <a:pt x="8" y="256"/>
                      <a:pt x="4" y="250"/>
                      <a:pt x="4" y="246"/>
                    </a:cubicBezTo>
                    <a:cubicBezTo>
                      <a:pt x="4" y="243"/>
                      <a:pt x="19" y="234"/>
                      <a:pt x="21" y="234"/>
                    </a:cubicBezTo>
                    <a:cubicBezTo>
                      <a:pt x="23" y="234"/>
                      <a:pt x="25" y="236"/>
                      <a:pt x="28" y="235"/>
                    </a:cubicBezTo>
                    <a:cubicBezTo>
                      <a:pt x="48" y="235"/>
                      <a:pt x="48" y="235"/>
                      <a:pt x="48" y="235"/>
                    </a:cubicBezTo>
                    <a:cubicBezTo>
                      <a:pt x="49" y="237"/>
                      <a:pt x="53" y="238"/>
                      <a:pt x="55" y="238"/>
                    </a:cubicBezTo>
                    <a:cubicBezTo>
                      <a:pt x="76" y="238"/>
                      <a:pt x="76" y="238"/>
                      <a:pt x="76" y="238"/>
                    </a:cubicBezTo>
                    <a:cubicBezTo>
                      <a:pt x="82" y="237"/>
                      <a:pt x="84" y="240"/>
                      <a:pt x="89" y="240"/>
                    </a:cubicBezTo>
                    <a:cubicBezTo>
                      <a:pt x="92" y="240"/>
                      <a:pt x="98" y="238"/>
                      <a:pt x="100" y="238"/>
                    </a:cubicBezTo>
                    <a:cubicBezTo>
                      <a:pt x="100" y="229"/>
                      <a:pt x="105" y="226"/>
                      <a:pt x="105" y="218"/>
                    </a:cubicBezTo>
                    <a:cubicBezTo>
                      <a:pt x="105" y="216"/>
                      <a:pt x="105" y="208"/>
                      <a:pt x="105" y="206"/>
                    </a:cubicBezTo>
                    <a:cubicBezTo>
                      <a:pt x="104" y="206"/>
                      <a:pt x="104" y="206"/>
                      <a:pt x="104" y="206"/>
                    </a:cubicBezTo>
                    <a:cubicBezTo>
                      <a:pt x="105" y="205"/>
                      <a:pt x="106" y="201"/>
                      <a:pt x="106" y="200"/>
                    </a:cubicBezTo>
                    <a:cubicBezTo>
                      <a:pt x="106" y="196"/>
                      <a:pt x="103" y="197"/>
                      <a:pt x="103" y="193"/>
                    </a:cubicBezTo>
                    <a:cubicBezTo>
                      <a:pt x="94" y="193"/>
                      <a:pt x="92" y="185"/>
                      <a:pt x="92" y="178"/>
                    </a:cubicBezTo>
                    <a:cubicBezTo>
                      <a:pt x="89" y="178"/>
                      <a:pt x="89" y="175"/>
                      <a:pt x="87" y="175"/>
                    </a:cubicBezTo>
                    <a:cubicBezTo>
                      <a:pt x="79" y="173"/>
                      <a:pt x="60" y="169"/>
                      <a:pt x="60" y="163"/>
                    </a:cubicBezTo>
                    <a:cubicBezTo>
                      <a:pt x="60" y="163"/>
                      <a:pt x="60" y="161"/>
                      <a:pt x="60" y="161"/>
                    </a:cubicBezTo>
                    <a:cubicBezTo>
                      <a:pt x="60" y="157"/>
                      <a:pt x="72" y="154"/>
                      <a:pt x="76" y="153"/>
                    </a:cubicBezTo>
                    <a:cubicBezTo>
                      <a:pt x="78" y="156"/>
                      <a:pt x="85" y="157"/>
                      <a:pt x="88" y="157"/>
                    </a:cubicBezTo>
                    <a:cubicBezTo>
                      <a:pt x="92" y="157"/>
                      <a:pt x="97" y="156"/>
                      <a:pt x="98" y="155"/>
                    </a:cubicBezTo>
                    <a:cubicBezTo>
                      <a:pt x="98" y="152"/>
                      <a:pt x="98" y="152"/>
                      <a:pt x="98" y="152"/>
                    </a:cubicBezTo>
                    <a:cubicBezTo>
                      <a:pt x="95" y="151"/>
                      <a:pt x="97" y="145"/>
                      <a:pt x="96" y="143"/>
                    </a:cubicBezTo>
                    <a:cubicBezTo>
                      <a:pt x="96" y="140"/>
                      <a:pt x="96" y="140"/>
                      <a:pt x="96" y="140"/>
                    </a:cubicBezTo>
                    <a:cubicBezTo>
                      <a:pt x="101" y="140"/>
                      <a:pt x="101" y="140"/>
                      <a:pt x="101" y="140"/>
                    </a:cubicBezTo>
                    <a:cubicBezTo>
                      <a:pt x="104" y="143"/>
                      <a:pt x="109" y="145"/>
                      <a:pt x="114" y="145"/>
                    </a:cubicBezTo>
                    <a:cubicBezTo>
                      <a:pt x="117" y="145"/>
                      <a:pt x="120" y="142"/>
                      <a:pt x="121" y="139"/>
                    </a:cubicBezTo>
                    <a:cubicBezTo>
                      <a:pt x="135" y="139"/>
                      <a:pt x="138" y="129"/>
                      <a:pt x="141" y="119"/>
                    </a:cubicBezTo>
                    <a:cubicBezTo>
                      <a:pt x="143" y="119"/>
                      <a:pt x="145" y="118"/>
                      <a:pt x="147" y="118"/>
                    </a:cubicBezTo>
                    <a:cubicBezTo>
                      <a:pt x="150" y="117"/>
                      <a:pt x="167" y="110"/>
                      <a:pt x="169" y="108"/>
                    </a:cubicBezTo>
                    <a:cubicBezTo>
                      <a:pt x="173" y="104"/>
                      <a:pt x="171" y="99"/>
                      <a:pt x="171" y="94"/>
                    </a:cubicBezTo>
                    <a:cubicBezTo>
                      <a:pt x="171" y="92"/>
                      <a:pt x="175" y="89"/>
                      <a:pt x="176" y="89"/>
                    </a:cubicBezTo>
                    <a:cubicBezTo>
                      <a:pt x="182" y="83"/>
                      <a:pt x="188" y="76"/>
                      <a:pt x="198" y="76"/>
                    </a:cubicBezTo>
                    <a:cubicBezTo>
                      <a:pt x="204" y="76"/>
                      <a:pt x="201" y="77"/>
                      <a:pt x="204" y="76"/>
                    </a:cubicBezTo>
                    <a:cubicBezTo>
                      <a:pt x="206" y="77"/>
                      <a:pt x="207" y="74"/>
                      <a:pt x="208" y="73"/>
                    </a:cubicBezTo>
                    <a:cubicBezTo>
                      <a:pt x="211" y="70"/>
                      <a:pt x="215" y="72"/>
                      <a:pt x="219" y="72"/>
                    </a:cubicBezTo>
                    <a:cubicBezTo>
                      <a:pt x="221" y="72"/>
                      <a:pt x="229" y="68"/>
                      <a:pt x="229" y="65"/>
                    </a:cubicBezTo>
                    <a:cubicBezTo>
                      <a:pt x="229" y="63"/>
                      <a:pt x="225" y="54"/>
                      <a:pt x="225" y="54"/>
                    </a:cubicBezTo>
                    <a:cubicBezTo>
                      <a:pt x="224" y="42"/>
                      <a:pt x="217" y="38"/>
                      <a:pt x="217" y="28"/>
                    </a:cubicBezTo>
                    <a:cubicBezTo>
                      <a:pt x="217" y="9"/>
                      <a:pt x="234" y="8"/>
                      <a:pt x="245" y="0"/>
                    </a:cubicBezTo>
                    <a:cubicBezTo>
                      <a:pt x="245" y="5"/>
                      <a:pt x="245" y="5"/>
                      <a:pt x="245" y="5"/>
                    </a:cubicBezTo>
                    <a:cubicBezTo>
                      <a:pt x="243" y="10"/>
                      <a:pt x="242" y="12"/>
                      <a:pt x="242" y="17"/>
                    </a:cubicBezTo>
                    <a:cubicBezTo>
                      <a:pt x="242" y="21"/>
                      <a:pt x="247" y="22"/>
                      <a:pt x="251" y="22"/>
                    </a:cubicBezTo>
                    <a:cubicBezTo>
                      <a:pt x="251" y="23"/>
                      <a:pt x="251" y="24"/>
                      <a:pt x="251" y="25"/>
                    </a:cubicBezTo>
                    <a:cubicBezTo>
                      <a:pt x="251" y="27"/>
                      <a:pt x="247" y="28"/>
                      <a:pt x="245" y="29"/>
                    </a:cubicBezTo>
                    <a:cubicBezTo>
                      <a:pt x="241" y="34"/>
                      <a:pt x="236" y="38"/>
                      <a:pt x="236" y="46"/>
                    </a:cubicBezTo>
                    <a:cubicBezTo>
                      <a:pt x="236" y="50"/>
                      <a:pt x="238" y="53"/>
                      <a:pt x="240" y="54"/>
                    </a:cubicBezTo>
                    <a:cubicBezTo>
                      <a:pt x="240" y="56"/>
                      <a:pt x="241" y="57"/>
                      <a:pt x="240" y="59"/>
                    </a:cubicBezTo>
                    <a:cubicBezTo>
                      <a:pt x="245" y="59"/>
                      <a:pt x="247" y="60"/>
                      <a:pt x="251" y="60"/>
                    </a:cubicBezTo>
                    <a:cubicBezTo>
                      <a:pt x="252" y="63"/>
                      <a:pt x="253" y="66"/>
                      <a:pt x="254" y="66"/>
                    </a:cubicBezTo>
                    <a:cubicBezTo>
                      <a:pt x="266" y="66"/>
                      <a:pt x="274" y="56"/>
                      <a:pt x="285" y="57"/>
                    </a:cubicBezTo>
                    <a:cubicBezTo>
                      <a:pt x="284" y="59"/>
                      <a:pt x="282" y="60"/>
                      <a:pt x="282" y="62"/>
                    </a:cubicBezTo>
                    <a:cubicBezTo>
                      <a:pt x="282" y="63"/>
                      <a:pt x="289" y="68"/>
                      <a:pt x="289" y="68"/>
                    </a:cubicBezTo>
                    <a:cubicBezTo>
                      <a:pt x="294" y="68"/>
                      <a:pt x="295" y="65"/>
                      <a:pt x="297" y="64"/>
                    </a:cubicBezTo>
                    <a:cubicBezTo>
                      <a:pt x="304" y="60"/>
                      <a:pt x="310" y="62"/>
                      <a:pt x="317" y="59"/>
                    </a:cubicBezTo>
                    <a:cubicBezTo>
                      <a:pt x="321" y="57"/>
                      <a:pt x="328" y="50"/>
                      <a:pt x="333" y="50"/>
                    </a:cubicBezTo>
                    <a:cubicBezTo>
                      <a:pt x="339" y="50"/>
                      <a:pt x="345" y="51"/>
                      <a:pt x="348" y="52"/>
                    </a:cubicBezTo>
                    <a:cubicBezTo>
                      <a:pt x="347" y="54"/>
                      <a:pt x="346" y="56"/>
                      <a:pt x="346" y="57"/>
                    </a:cubicBezTo>
                    <a:cubicBezTo>
                      <a:pt x="358" y="57"/>
                      <a:pt x="370" y="55"/>
                      <a:pt x="378" y="55"/>
                    </a:cubicBezTo>
                    <a:cubicBezTo>
                      <a:pt x="386" y="55"/>
                      <a:pt x="392" y="54"/>
                      <a:pt x="401" y="54"/>
                    </a:cubicBezTo>
                    <a:cubicBezTo>
                      <a:pt x="410" y="54"/>
                      <a:pt x="414" y="70"/>
                      <a:pt x="414" y="80"/>
                    </a:cubicBezTo>
                    <a:cubicBezTo>
                      <a:pt x="414" y="86"/>
                      <a:pt x="408" y="89"/>
                      <a:pt x="408" y="95"/>
                    </a:cubicBezTo>
                    <a:cubicBezTo>
                      <a:pt x="408" y="104"/>
                      <a:pt x="416" y="110"/>
                      <a:pt x="416" y="118"/>
                    </a:cubicBezTo>
                    <a:cubicBezTo>
                      <a:pt x="416" y="123"/>
                      <a:pt x="408" y="125"/>
                      <a:pt x="406" y="128"/>
                    </a:cubicBezTo>
                    <a:cubicBezTo>
                      <a:pt x="401" y="136"/>
                      <a:pt x="399" y="143"/>
                      <a:pt x="399" y="153"/>
                    </a:cubicBezTo>
                    <a:cubicBezTo>
                      <a:pt x="399" y="166"/>
                      <a:pt x="408" y="163"/>
                      <a:pt x="418" y="163"/>
                    </a:cubicBezTo>
                    <a:cubicBezTo>
                      <a:pt x="432" y="163"/>
                      <a:pt x="439" y="157"/>
                      <a:pt x="450" y="157"/>
                    </a:cubicBezTo>
                    <a:cubicBezTo>
                      <a:pt x="461" y="157"/>
                      <a:pt x="459" y="180"/>
                      <a:pt x="470" y="180"/>
                    </a:cubicBezTo>
                    <a:cubicBezTo>
                      <a:pt x="470" y="198"/>
                      <a:pt x="470" y="198"/>
                      <a:pt x="470" y="198"/>
                    </a:cubicBezTo>
                    <a:cubicBezTo>
                      <a:pt x="470" y="200"/>
                      <a:pt x="471" y="201"/>
                      <a:pt x="472" y="201"/>
                    </a:cubicBezTo>
                    <a:cubicBezTo>
                      <a:pt x="474" y="204"/>
                      <a:pt x="474" y="204"/>
                      <a:pt x="474" y="204"/>
                    </a:cubicBezTo>
                    <a:cubicBezTo>
                      <a:pt x="476" y="204"/>
                      <a:pt x="482" y="202"/>
                      <a:pt x="485" y="201"/>
                    </a:cubicBezTo>
                    <a:cubicBezTo>
                      <a:pt x="485" y="204"/>
                      <a:pt x="485" y="206"/>
                      <a:pt x="485" y="208"/>
                    </a:cubicBezTo>
                    <a:cubicBezTo>
                      <a:pt x="481" y="209"/>
                      <a:pt x="476" y="211"/>
                      <a:pt x="476" y="21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0" name="Freeform 25"/>
              <p:cNvSpPr/>
              <p:nvPr/>
            </p:nvSpPr>
            <p:spPr bwMode="auto">
              <a:xfrm>
                <a:off x="4470400" y="1416050"/>
                <a:ext cx="436563" cy="423863"/>
              </a:xfrm>
              <a:custGeom>
                <a:avLst/>
                <a:gdLst/>
                <a:ahLst/>
                <a:cxnLst>
                  <a:cxn ang="0">
                    <a:pos x="66" y="236"/>
                  </a:cxn>
                  <a:cxn ang="0">
                    <a:pos x="4" y="254"/>
                  </a:cxn>
                  <a:cxn ang="0">
                    <a:pos x="12" y="241"/>
                  </a:cxn>
                  <a:cxn ang="0">
                    <a:pos x="8" y="231"/>
                  </a:cxn>
                  <a:cxn ang="0">
                    <a:pos x="10" y="190"/>
                  </a:cxn>
                  <a:cxn ang="0">
                    <a:pos x="55" y="163"/>
                  </a:cxn>
                  <a:cxn ang="0">
                    <a:pos x="85" y="129"/>
                  </a:cxn>
                  <a:cxn ang="0">
                    <a:pos x="97" y="102"/>
                  </a:cxn>
                  <a:cxn ang="0">
                    <a:pos x="142" y="55"/>
                  </a:cxn>
                  <a:cxn ang="0">
                    <a:pos x="124" y="57"/>
                  </a:cxn>
                  <a:cxn ang="0">
                    <a:pos x="124" y="49"/>
                  </a:cxn>
                  <a:cxn ang="0">
                    <a:pos x="132" y="44"/>
                  </a:cxn>
                  <a:cxn ang="0">
                    <a:pos x="148" y="57"/>
                  </a:cxn>
                  <a:cxn ang="0">
                    <a:pos x="149" y="45"/>
                  </a:cxn>
                  <a:cxn ang="0">
                    <a:pos x="168" y="37"/>
                  </a:cxn>
                  <a:cxn ang="0">
                    <a:pos x="183" y="28"/>
                  </a:cxn>
                  <a:cxn ang="0">
                    <a:pos x="199" y="21"/>
                  </a:cxn>
                  <a:cxn ang="0">
                    <a:pos x="221" y="17"/>
                  </a:cxn>
                  <a:cxn ang="0">
                    <a:pos x="223" y="5"/>
                  </a:cxn>
                  <a:cxn ang="0">
                    <a:pos x="256" y="6"/>
                  </a:cxn>
                  <a:cxn ang="0">
                    <a:pos x="266" y="7"/>
                  </a:cxn>
                  <a:cxn ang="0">
                    <a:pos x="285" y="2"/>
                  </a:cxn>
                  <a:cxn ang="0">
                    <a:pos x="296" y="6"/>
                  </a:cxn>
                  <a:cxn ang="0">
                    <a:pos x="293" y="24"/>
                  </a:cxn>
                  <a:cxn ang="0">
                    <a:pos x="315" y="32"/>
                  </a:cxn>
                  <a:cxn ang="0">
                    <a:pos x="309" y="72"/>
                  </a:cxn>
                  <a:cxn ang="0">
                    <a:pos x="310" y="113"/>
                  </a:cxn>
                  <a:cxn ang="0">
                    <a:pos x="318" y="148"/>
                  </a:cxn>
                  <a:cxn ang="0">
                    <a:pos x="327" y="172"/>
                  </a:cxn>
                  <a:cxn ang="0">
                    <a:pos x="255" y="224"/>
                  </a:cxn>
                  <a:cxn ang="0">
                    <a:pos x="218" y="225"/>
                  </a:cxn>
                  <a:cxn ang="0">
                    <a:pos x="206" y="200"/>
                  </a:cxn>
                  <a:cxn ang="0">
                    <a:pos x="197" y="174"/>
                  </a:cxn>
                  <a:cxn ang="0">
                    <a:pos x="254" y="130"/>
                  </a:cxn>
                  <a:cxn ang="0">
                    <a:pos x="202" y="135"/>
                  </a:cxn>
                  <a:cxn ang="0">
                    <a:pos x="172" y="169"/>
                  </a:cxn>
                  <a:cxn ang="0">
                    <a:pos x="146" y="201"/>
                  </a:cxn>
                  <a:cxn ang="0">
                    <a:pos x="150" y="218"/>
                  </a:cxn>
                  <a:cxn ang="0">
                    <a:pos x="152" y="253"/>
                  </a:cxn>
                  <a:cxn ang="0">
                    <a:pos x="146" y="283"/>
                  </a:cxn>
                  <a:cxn ang="0">
                    <a:pos x="121" y="304"/>
                  </a:cxn>
                  <a:cxn ang="0">
                    <a:pos x="90" y="297"/>
                  </a:cxn>
                  <a:cxn ang="0">
                    <a:pos x="82" y="269"/>
                  </a:cxn>
                  <a:cxn ang="0">
                    <a:pos x="76" y="245"/>
                  </a:cxn>
                </a:cxnLst>
                <a:rect l="0" t="0" r="r" b="b"/>
                <a:pathLst>
                  <a:path w="327" h="318">
                    <a:moveTo>
                      <a:pt x="76" y="247"/>
                    </a:moveTo>
                    <a:cubicBezTo>
                      <a:pt x="70" y="245"/>
                      <a:pt x="69" y="241"/>
                      <a:pt x="66" y="236"/>
                    </a:cubicBezTo>
                    <a:cubicBezTo>
                      <a:pt x="57" y="249"/>
                      <a:pt x="43" y="266"/>
                      <a:pt x="24" y="266"/>
                    </a:cubicBezTo>
                    <a:cubicBezTo>
                      <a:pt x="22" y="266"/>
                      <a:pt x="4" y="256"/>
                      <a:pt x="4" y="254"/>
                    </a:cubicBezTo>
                    <a:cubicBezTo>
                      <a:pt x="4" y="250"/>
                      <a:pt x="10" y="248"/>
                      <a:pt x="12" y="247"/>
                    </a:cubicBezTo>
                    <a:cubicBezTo>
                      <a:pt x="12" y="241"/>
                      <a:pt x="12" y="241"/>
                      <a:pt x="12" y="241"/>
                    </a:cubicBezTo>
                    <a:cubicBezTo>
                      <a:pt x="6" y="241"/>
                      <a:pt x="6" y="241"/>
                      <a:pt x="0" y="243"/>
                    </a:cubicBezTo>
                    <a:cubicBezTo>
                      <a:pt x="0" y="240"/>
                      <a:pt x="5" y="234"/>
                      <a:pt x="8" y="231"/>
                    </a:cubicBezTo>
                    <a:cubicBezTo>
                      <a:pt x="1" y="223"/>
                      <a:pt x="0" y="212"/>
                      <a:pt x="0" y="200"/>
                    </a:cubicBezTo>
                    <a:cubicBezTo>
                      <a:pt x="0" y="193"/>
                      <a:pt x="7" y="194"/>
                      <a:pt x="10" y="190"/>
                    </a:cubicBezTo>
                    <a:cubicBezTo>
                      <a:pt x="15" y="182"/>
                      <a:pt x="20" y="177"/>
                      <a:pt x="30" y="174"/>
                    </a:cubicBezTo>
                    <a:cubicBezTo>
                      <a:pt x="38" y="172"/>
                      <a:pt x="39" y="162"/>
                      <a:pt x="55" y="163"/>
                    </a:cubicBezTo>
                    <a:cubicBezTo>
                      <a:pt x="50" y="162"/>
                      <a:pt x="49" y="161"/>
                      <a:pt x="45" y="160"/>
                    </a:cubicBezTo>
                    <a:cubicBezTo>
                      <a:pt x="64" y="155"/>
                      <a:pt x="71" y="140"/>
                      <a:pt x="85" y="129"/>
                    </a:cubicBezTo>
                    <a:cubicBezTo>
                      <a:pt x="90" y="126"/>
                      <a:pt x="89" y="112"/>
                      <a:pt x="93" y="112"/>
                    </a:cubicBezTo>
                    <a:cubicBezTo>
                      <a:pt x="93" y="112"/>
                      <a:pt x="97" y="102"/>
                      <a:pt x="97" y="102"/>
                    </a:cubicBezTo>
                    <a:cubicBezTo>
                      <a:pt x="102" y="93"/>
                      <a:pt x="109" y="87"/>
                      <a:pt x="118" y="83"/>
                    </a:cubicBezTo>
                    <a:cubicBezTo>
                      <a:pt x="127" y="80"/>
                      <a:pt x="139" y="65"/>
                      <a:pt x="142" y="55"/>
                    </a:cubicBezTo>
                    <a:cubicBezTo>
                      <a:pt x="131" y="58"/>
                      <a:pt x="126" y="63"/>
                      <a:pt x="116" y="63"/>
                    </a:cubicBezTo>
                    <a:cubicBezTo>
                      <a:pt x="118" y="60"/>
                      <a:pt x="123" y="58"/>
                      <a:pt x="124" y="57"/>
                    </a:cubicBezTo>
                    <a:cubicBezTo>
                      <a:pt x="122" y="57"/>
                      <a:pt x="118" y="56"/>
                      <a:pt x="118" y="56"/>
                    </a:cubicBezTo>
                    <a:cubicBezTo>
                      <a:pt x="119" y="51"/>
                      <a:pt x="121" y="49"/>
                      <a:pt x="124" y="49"/>
                    </a:cubicBezTo>
                    <a:cubicBezTo>
                      <a:pt x="126" y="49"/>
                      <a:pt x="127" y="50"/>
                      <a:pt x="128" y="50"/>
                    </a:cubicBezTo>
                    <a:cubicBezTo>
                      <a:pt x="129" y="47"/>
                      <a:pt x="131" y="46"/>
                      <a:pt x="132" y="44"/>
                    </a:cubicBezTo>
                    <a:cubicBezTo>
                      <a:pt x="134" y="47"/>
                      <a:pt x="135" y="49"/>
                      <a:pt x="133" y="52"/>
                    </a:cubicBezTo>
                    <a:cubicBezTo>
                      <a:pt x="140" y="52"/>
                      <a:pt x="142" y="57"/>
                      <a:pt x="148" y="57"/>
                    </a:cubicBezTo>
                    <a:cubicBezTo>
                      <a:pt x="150" y="57"/>
                      <a:pt x="155" y="46"/>
                      <a:pt x="156" y="46"/>
                    </a:cubicBezTo>
                    <a:cubicBezTo>
                      <a:pt x="153" y="45"/>
                      <a:pt x="153" y="44"/>
                      <a:pt x="149" y="45"/>
                    </a:cubicBezTo>
                    <a:cubicBezTo>
                      <a:pt x="151" y="41"/>
                      <a:pt x="154" y="38"/>
                      <a:pt x="159" y="38"/>
                    </a:cubicBezTo>
                    <a:cubicBezTo>
                      <a:pt x="162" y="38"/>
                      <a:pt x="165" y="39"/>
                      <a:pt x="168" y="37"/>
                    </a:cubicBezTo>
                    <a:cubicBezTo>
                      <a:pt x="165" y="35"/>
                      <a:pt x="166" y="35"/>
                      <a:pt x="164" y="33"/>
                    </a:cubicBezTo>
                    <a:cubicBezTo>
                      <a:pt x="169" y="29"/>
                      <a:pt x="176" y="29"/>
                      <a:pt x="183" y="28"/>
                    </a:cubicBezTo>
                    <a:cubicBezTo>
                      <a:pt x="183" y="33"/>
                      <a:pt x="183" y="33"/>
                      <a:pt x="183" y="33"/>
                    </a:cubicBezTo>
                    <a:cubicBezTo>
                      <a:pt x="189" y="32"/>
                      <a:pt x="190" y="22"/>
                      <a:pt x="199" y="21"/>
                    </a:cubicBezTo>
                    <a:cubicBezTo>
                      <a:pt x="199" y="29"/>
                      <a:pt x="199" y="29"/>
                      <a:pt x="199" y="29"/>
                    </a:cubicBezTo>
                    <a:cubicBezTo>
                      <a:pt x="205" y="18"/>
                      <a:pt x="213" y="21"/>
                      <a:pt x="221" y="17"/>
                    </a:cubicBezTo>
                    <a:cubicBezTo>
                      <a:pt x="217" y="15"/>
                      <a:pt x="214" y="14"/>
                      <a:pt x="214" y="11"/>
                    </a:cubicBezTo>
                    <a:cubicBezTo>
                      <a:pt x="214" y="9"/>
                      <a:pt x="222" y="7"/>
                      <a:pt x="223" y="5"/>
                    </a:cubicBezTo>
                    <a:cubicBezTo>
                      <a:pt x="226" y="8"/>
                      <a:pt x="228" y="11"/>
                      <a:pt x="232" y="11"/>
                    </a:cubicBezTo>
                    <a:cubicBezTo>
                      <a:pt x="239" y="11"/>
                      <a:pt x="256" y="0"/>
                      <a:pt x="256" y="6"/>
                    </a:cubicBezTo>
                    <a:cubicBezTo>
                      <a:pt x="256" y="12"/>
                      <a:pt x="248" y="14"/>
                      <a:pt x="247" y="20"/>
                    </a:cubicBezTo>
                    <a:cubicBezTo>
                      <a:pt x="255" y="21"/>
                      <a:pt x="258" y="11"/>
                      <a:pt x="266" y="7"/>
                    </a:cubicBezTo>
                    <a:cubicBezTo>
                      <a:pt x="267" y="10"/>
                      <a:pt x="267" y="12"/>
                      <a:pt x="268" y="15"/>
                    </a:cubicBezTo>
                    <a:cubicBezTo>
                      <a:pt x="274" y="9"/>
                      <a:pt x="277" y="7"/>
                      <a:pt x="285" y="2"/>
                    </a:cubicBezTo>
                    <a:cubicBezTo>
                      <a:pt x="285" y="8"/>
                      <a:pt x="284" y="12"/>
                      <a:pt x="289" y="13"/>
                    </a:cubicBezTo>
                    <a:cubicBezTo>
                      <a:pt x="290" y="9"/>
                      <a:pt x="292" y="6"/>
                      <a:pt x="296" y="6"/>
                    </a:cubicBezTo>
                    <a:cubicBezTo>
                      <a:pt x="298" y="6"/>
                      <a:pt x="307" y="11"/>
                      <a:pt x="311" y="13"/>
                    </a:cubicBezTo>
                    <a:cubicBezTo>
                      <a:pt x="307" y="24"/>
                      <a:pt x="303" y="20"/>
                      <a:pt x="293" y="24"/>
                    </a:cubicBezTo>
                    <a:cubicBezTo>
                      <a:pt x="298" y="27"/>
                      <a:pt x="301" y="28"/>
                      <a:pt x="301" y="30"/>
                    </a:cubicBezTo>
                    <a:cubicBezTo>
                      <a:pt x="305" y="31"/>
                      <a:pt x="314" y="32"/>
                      <a:pt x="315" y="32"/>
                    </a:cubicBezTo>
                    <a:cubicBezTo>
                      <a:pt x="309" y="36"/>
                      <a:pt x="293" y="44"/>
                      <a:pt x="293" y="55"/>
                    </a:cubicBezTo>
                    <a:cubicBezTo>
                      <a:pt x="293" y="63"/>
                      <a:pt x="309" y="62"/>
                      <a:pt x="309" y="72"/>
                    </a:cubicBezTo>
                    <a:cubicBezTo>
                      <a:pt x="309" y="80"/>
                      <a:pt x="301" y="83"/>
                      <a:pt x="301" y="91"/>
                    </a:cubicBezTo>
                    <a:cubicBezTo>
                      <a:pt x="301" y="99"/>
                      <a:pt x="310" y="104"/>
                      <a:pt x="310" y="113"/>
                    </a:cubicBezTo>
                    <a:cubicBezTo>
                      <a:pt x="310" y="118"/>
                      <a:pt x="305" y="121"/>
                      <a:pt x="305" y="126"/>
                    </a:cubicBezTo>
                    <a:cubicBezTo>
                      <a:pt x="305" y="136"/>
                      <a:pt x="318" y="138"/>
                      <a:pt x="318" y="148"/>
                    </a:cubicBezTo>
                    <a:cubicBezTo>
                      <a:pt x="318" y="151"/>
                      <a:pt x="314" y="153"/>
                      <a:pt x="313" y="154"/>
                    </a:cubicBezTo>
                    <a:cubicBezTo>
                      <a:pt x="317" y="161"/>
                      <a:pt x="327" y="163"/>
                      <a:pt x="327" y="172"/>
                    </a:cubicBezTo>
                    <a:cubicBezTo>
                      <a:pt x="327" y="187"/>
                      <a:pt x="297" y="203"/>
                      <a:pt x="288" y="215"/>
                    </a:cubicBezTo>
                    <a:cubicBezTo>
                      <a:pt x="283" y="224"/>
                      <a:pt x="263" y="226"/>
                      <a:pt x="255" y="224"/>
                    </a:cubicBezTo>
                    <a:cubicBezTo>
                      <a:pt x="246" y="227"/>
                      <a:pt x="236" y="231"/>
                      <a:pt x="228" y="231"/>
                    </a:cubicBezTo>
                    <a:cubicBezTo>
                      <a:pt x="222" y="231"/>
                      <a:pt x="218" y="230"/>
                      <a:pt x="218" y="225"/>
                    </a:cubicBezTo>
                    <a:cubicBezTo>
                      <a:pt x="209" y="225"/>
                      <a:pt x="199" y="219"/>
                      <a:pt x="199" y="210"/>
                    </a:cubicBezTo>
                    <a:cubicBezTo>
                      <a:pt x="199" y="205"/>
                      <a:pt x="204" y="202"/>
                      <a:pt x="206" y="200"/>
                    </a:cubicBezTo>
                    <a:cubicBezTo>
                      <a:pt x="201" y="198"/>
                      <a:pt x="197" y="188"/>
                      <a:pt x="197" y="183"/>
                    </a:cubicBezTo>
                    <a:cubicBezTo>
                      <a:pt x="197" y="180"/>
                      <a:pt x="198" y="178"/>
                      <a:pt x="197" y="174"/>
                    </a:cubicBezTo>
                    <a:cubicBezTo>
                      <a:pt x="216" y="174"/>
                      <a:pt x="225" y="150"/>
                      <a:pt x="237" y="144"/>
                    </a:cubicBezTo>
                    <a:cubicBezTo>
                      <a:pt x="243" y="140"/>
                      <a:pt x="254" y="138"/>
                      <a:pt x="254" y="130"/>
                    </a:cubicBezTo>
                    <a:cubicBezTo>
                      <a:pt x="254" y="119"/>
                      <a:pt x="239" y="117"/>
                      <a:pt x="228" y="117"/>
                    </a:cubicBezTo>
                    <a:cubicBezTo>
                      <a:pt x="213" y="117"/>
                      <a:pt x="202" y="122"/>
                      <a:pt x="202" y="135"/>
                    </a:cubicBezTo>
                    <a:cubicBezTo>
                      <a:pt x="202" y="140"/>
                      <a:pt x="203" y="142"/>
                      <a:pt x="202" y="145"/>
                    </a:cubicBezTo>
                    <a:cubicBezTo>
                      <a:pt x="202" y="155"/>
                      <a:pt x="181" y="164"/>
                      <a:pt x="172" y="169"/>
                    </a:cubicBezTo>
                    <a:cubicBezTo>
                      <a:pt x="165" y="174"/>
                      <a:pt x="157" y="175"/>
                      <a:pt x="152" y="183"/>
                    </a:cubicBezTo>
                    <a:cubicBezTo>
                      <a:pt x="149" y="189"/>
                      <a:pt x="153" y="198"/>
                      <a:pt x="146" y="201"/>
                    </a:cubicBezTo>
                    <a:cubicBezTo>
                      <a:pt x="146" y="210"/>
                      <a:pt x="146" y="210"/>
                      <a:pt x="146" y="210"/>
                    </a:cubicBezTo>
                    <a:cubicBezTo>
                      <a:pt x="149" y="212"/>
                      <a:pt x="150" y="215"/>
                      <a:pt x="150" y="218"/>
                    </a:cubicBezTo>
                    <a:cubicBezTo>
                      <a:pt x="158" y="219"/>
                      <a:pt x="170" y="227"/>
                      <a:pt x="170" y="235"/>
                    </a:cubicBezTo>
                    <a:cubicBezTo>
                      <a:pt x="170" y="242"/>
                      <a:pt x="157" y="253"/>
                      <a:pt x="152" y="253"/>
                    </a:cubicBezTo>
                    <a:cubicBezTo>
                      <a:pt x="143" y="253"/>
                      <a:pt x="140" y="266"/>
                      <a:pt x="140" y="275"/>
                    </a:cubicBezTo>
                    <a:cubicBezTo>
                      <a:pt x="140" y="280"/>
                      <a:pt x="144" y="282"/>
                      <a:pt x="146" y="283"/>
                    </a:cubicBezTo>
                    <a:cubicBezTo>
                      <a:pt x="145" y="294"/>
                      <a:pt x="135" y="295"/>
                      <a:pt x="133" y="304"/>
                    </a:cubicBezTo>
                    <a:cubicBezTo>
                      <a:pt x="127" y="304"/>
                      <a:pt x="125" y="304"/>
                      <a:pt x="121" y="304"/>
                    </a:cubicBezTo>
                    <a:cubicBezTo>
                      <a:pt x="114" y="304"/>
                      <a:pt x="111" y="318"/>
                      <a:pt x="100" y="318"/>
                    </a:cubicBezTo>
                    <a:cubicBezTo>
                      <a:pt x="97" y="318"/>
                      <a:pt x="90" y="299"/>
                      <a:pt x="90" y="297"/>
                    </a:cubicBezTo>
                    <a:cubicBezTo>
                      <a:pt x="90" y="296"/>
                      <a:pt x="91" y="294"/>
                      <a:pt x="91" y="293"/>
                    </a:cubicBezTo>
                    <a:cubicBezTo>
                      <a:pt x="84" y="285"/>
                      <a:pt x="85" y="279"/>
                      <a:pt x="82" y="269"/>
                    </a:cubicBezTo>
                    <a:cubicBezTo>
                      <a:pt x="79" y="263"/>
                      <a:pt x="73" y="261"/>
                      <a:pt x="73" y="253"/>
                    </a:cubicBezTo>
                    <a:cubicBezTo>
                      <a:pt x="73" y="250"/>
                      <a:pt x="75" y="246"/>
                      <a:pt x="76" y="245"/>
                    </a:cubicBezTo>
                    <a:lnTo>
                      <a:pt x="76" y="247"/>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1" name="Freeform 26"/>
              <p:cNvSpPr/>
              <p:nvPr/>
            </p:nvSpPr>
            <p:spPr bwMode="auto">
              <a:xfrm>
                <a:off x="4559300" y="1109663"/>
                <a:ext cx="234950" cy="128588"/>
              </a:xfrm>
              <a:custGeom>
                <a:avLst/>
                <a:gdLst/>
                <a:ahLst/>
                <a:cxnLst>
                  <a:cxn ang="0">
                    <a:pos x="148" y="79"/>
                  </a:cxn>
                  <a:cxn ang="0">
                    <a:pos x="148" y="71"/>
                  </a:cxn>
                  <a:cxn ang="0">
                    <a:pos x="128" y="71"/>
                  </a:cxn>
                  <a:cxn ang="0">
                    <a:pos x="135" y="58"/>
                  </a:cxn>
                  <a:cxn ang="0">
                    <a:pos x="126" y="46"/>
                  </a:cxn>
                  <a:cxn ang="0">
                    <a:pos x="132" y="45"/>
                  </a:cxn>
                  <a:cxn ang="0">
                    <a:pos x="121" y="38"/>
                  </a:cxn>
                  <a:cxn ang="0">
                    <a:pos x="97" y="69"/>
                  </a:cxn>
                  <a:cxn ang="0">
                    <a:pos x="90" y="73"/>
                  </a:cxn>
                  <a:cxn ang="0">
                    <a:pos x="78" y="97"/>
                  </a:cxn>
                  <a:cxn ang="0">
                    <a:pos x="43" y="69"/>
                  </a:cxn>
                  <a:cxn ang="0">
                    <a:pos x="60" y="70"/>
                  </a:cxn>
                  <a:cxn ang="0">
                    <a:pos x="74" y="66"/>
                  </a:cxn>
                  <a:cxn ang="0">
                    <a:pos x="54" y="64"/>
                  </a:cxn>
                  <a:cxn ang="0">
                    <a:pos x="38" y="58"/>
                  </a:cxn>
                  <a:cxn ang="0">
                    <a:pos x="50" y="54"/>
                  </a:cxn>
                  <a:cxn ang="0">
                    <a:pos x="72" y="43"/>
                  </a:cxn>
                  <a:cxn ang="0">
                    <a:pos x="61" y="43"/>
                  </a:cxn>
                  <a:cxn ang="0">
                    <a:pos x="54" y="39"/>
                  </a:cxn>
                  <a:cxn ang="0">
                    <a:pos x="51" y="39"/>
                  </a:cxn>
                  <a:cxn ang="0">
                    <a:pos x="38" y="51"/>
                  </a:cxn>
                  <a:cxn ang="0">
                    <a:pos x="23" y="44"/>
                  </a:cxn>
                  <a:cxn ang="0">
                    <a:pos x="27" y="43"/>
                  </a:cxn>
                  <a:cxn ang="0">
                    <a:pos x="15" y="28"/>
                  </a:cxn>
                  <a:cxn ang="0">
                    <a:pos x="11" y="26"/>
                  </a:cxn>
                  <a:cxn ang="0">
                    <a:pos x="0" y="16"/>
                  </a:cxn>
                  <a:cxn ang="0">
                    <a:pos x="16" y="5"/>
                  </a:cxn>
                  <a:cxn ang="0">
                    <a:pos x="38" y="7"/>
                  </a:cxn>
                  <a:cxn ang="0">
                    <a:pos x="32" y="13"/>
                  </a:cxn>
                  <a:cxn ang="0">
                    <a:pos x="44" y="20"/>
                  </a:cxn>
                  <a:cxn ang="0">
                    <a:pos x="41" y="14"/>
                  </a:cxn>
                  <a:cxn ang="0">
                    <a:pos x="49" y="7"/>
                  </a:cxn>
                  <a:cxn ang="0">
                    <a:pos x="68" y="26"/>
                  </a:cxn>
                  <a:cxn ang="0">
                    <a:pos x="63" y="7"/>
                  </a:cxn>
                  <a:cxn ang="0">
                    <a:pos x="72" y="0"/>
                  </a:cxn>
                  <a:cxn ang="0">
                    <a:pos x="90" y="9"/>
                  </a:cxn>
                  <a:cxn ang="0">
                    <a:pos x="88" y="18"/>
                  </a:cxn>
                  <a:cxn ang="0">
                    <a:pos x="96" y="12"/>
                  </a:cxn>
                  <a:cxn ang="0">
                    <a:pos x="102" y="23"/>
                  </a:cxn>
                  <a:cxn ang="0">
                    <a:pos x="106" y="23"/>
                  </a:cxn>
                  <a:cxn ang="0">
                    <a:pos x="141" y="41"/>
                  </a:cxn>
                  <a:cxn ang="0">
                    <a:pos x="137" y="42"/>
                  </a:cxn>
                  <a:cxn ang="0">
                    <a:pos x="145" y="42"/>
                  </a:cxn>
                  <a:cxn ang="0">
                    <a:pos x="145" y="49"/>
                  </a:cxn>
                  <a:cxn ang="0">
                    <a:pos x="159" y="49"/>
                  </a:cxn>
                  <a:cxn ang="0">
                    <a:pos x="176" y="64"/>
                  </a:cxn>
                  <a:cxn ang="0">
                    <a:pos x="148" y="79"/>
                  </a:cxn>
                </a:cxnLst>
                <a:rect l="0" t="0" r="r" b="b"/>
                <a:pathLst>
                  <a:path w="176" h="97">
                    <a:moveTo>
                      <a:pt x="148" y="79"/>
                    </a:moveTo>
                    <a:cubicBezTo>
                      <a:pt x="147" y="76"/>
                      <a:pt x="147" y="74"/>
                      <a:pt x="148" y="71"/>
                    </a:cubicBezTo>
                    <a:cubicBezTo>
                      <a:pt x="143" y="71"/>
                      <a:pt x="134" y="71"/>
                      <a:pt x="128" y="71"/>
                    </a:cubicBezTo>
                    <a:cubicBezTo>
                      <a:pt x="129" y="63"/>
                      <a:pt x="134" y="65"/>
                      <a:pt x="135" y="58"/>
                    </a:cubicBezTo>
                    <a:cubicBezTo>
                      <a:pt x="132" y="57"/>
                      <a:pt x="128" y="49"/>
                      <a:pt x="126" y="46"/>
                    </a:cubicBezTo>
                    <a:cubicBezTo>
                      <a:pt x="128" y="45"/>
                      <a:pt x="130" y="45"/>
                      <a:pt x="132" y="45"/>
                    </a:cubicBezTo>
                    <a:cubicBezTo>
                      <a:pt x="125" y="44"/>
                      <a:pt x="121" y="38"/>
                      <a:pt x="121" y="38"/>
                    </a:cubicBezTo>
                    <a:cubicBezTo>
                      <a:pt x="106" y="38"/>
                      <a:pt x="102" y="58"/>
                      <a:pt x="97" y="69"/>
                    </a:cubicBezTo>
                    <a:cubicBezTo>
                      <a:pt x="96" y="72"/>
                      <a:pt x="93" y="71"/>
                      <a:pt x="90" y="73"/>
                    </a:cubicBezTo>
                    <a:cubicBezTo>
                      <a:pt x="83" y="79"/>
                      <a:pt x="84" y="91"/>
                      <a:pt x="78" y="97"/>
                    </a:cubicBezTo>
                    <a:cubicBezTo>
                      <a:pt x="67" y="90"/>
                      <a:pt x="43" y="84"/>
                      <a:pt x="43" y="69"/>
                    </a:cubicBezTo>
                    <a:cubicBezTo>
                      <a:pt x="49" y="68"/>
                      <a:pt x="60" y="70"/>
                      <a:pt x="60" y="70"/>
                    </a:cubicBezTo>
                    <a:cubicBezTo>
                      <a:pt x="64" y="66"/>
                      <a:pt x="69" y="67"/>
                      <a:pt x="74" y="66"/>
                    </a:cubicBezTo>
                    <a:cubicBezTo>
                      <a:pt x="72" y="64"/>
                      <a:pt x="57" y="64"/>
                      <a:pt x="54" y="64"/>
                    </a:cubicBezTo>
                    <a:cubicBezTo>
                      <a:pt x="49" y="64"/>
                      <a:pt x="38" y="69"/>
                      <a:pt x="38" y="58"/>
                    </a:cubicBezTo>
                    <a:cubicBezTo>
                      <a:pt x="38" y="54"/>
                      <a:pt x="48" y="54"/>
                      <a:pt x="50" y="54"/>
                    </a:cubicBezTo>
                    <a:cubicBezTo>
                      <a:pt x="56" y="52"/>
                      <a:pt x="68" y="47"/>
                      <a:pt x="72" y="43"/>
                    </a:cubicBezTo>
                    <a:cubicBezTo>
                      <a:pt x="66" y="43"/>
                      <a:pt x="63" y="43"/>
                      <a:pt x="61" y="43"/>
                    </a:cubicBezTo>
                    <a:cubicBezTo>
                      <a:pt x="60" y="43"/>
                      <a:pt x="56" y="40"/>
                      <a:pt x="54" y="39"/>
                    </a:cubicBezTo>
                    <a:cubicBezTo>
                      <a:pt x="53" y="39"/>
                      <a:pt x="52" y="39"/>
                      <a:pt x="51" y="39"/>
                    </a:cubicBezTo>
                    <a:cubicBezTo>
                      <a:pt x="47" y="41"/>
                      <a:pt x="47" y="51"/>
                      <a:pt x="38" y="51"/>
                    </a:cubicBezTo>
                    <a:cubicBezTo>
                      <a:pt x="31" y="51"/>
                      <a:pt x="26" y="48"/>
                      <a:pt x="23" y="44"/>
                    </a:cubicBezTo>
                    <a:cubicBezTo>
                      <a:pt x="25" y="43"/>
                      <a:pt x="26" y="43"/>
                      <a:pt x="27" y="43"/>
                    </a:cubicBezTo>
                    <a:cubicBezTo>
                      <a:pt x="19" y="39"/>
                      <a:pt x="13" y="35"/>
                      <a:pt x="15" y="28"/>
                    </a:cubicBezTo>
                    <a:cubicBezTo>
                      <a:pt x="13" y="28"/>
                      <a:pt x="12" y="26"/>
                      <a:pt x="11" y="26"/>
                    </a:cubicBezTo>
                    <a:cubicBezTo>
                      <a:pt x="8" y="26"/>
                      <a:pt x="3" y="19"/>
                      <a:pt x="0" y="16"/>
                    </a:cubicBezTo>
                    <a:cubicBezTo>
                      <a:pt x="2" y="14"/>
                      <a:pt x="11" y="5"/>
                      <a:pt x="16" y="5"/>
                    </a:cubicBezTo>
                    <a:cubicBezTo>
                      <a:pt x="23" y="5"/>
                      <a:pt x="27" y="5"/>
                      <a:pt x="38" y="7"/>
                    </a:cubicBezTo>
                    <a:cubicBezTo>
                      <a:pt x="35" y="10"/>
                      <a:pt x="34" y="11"/>
                      <a:pt x="32" y="13"/>
                    </a:cubicBezTo>
                    <a:cubicBezTo>
                      <a:pt x="37" y="17"/>
                      <a:pt x="41" y="17"/>
                      <a:pt x="44" y="20"/>
                    </a:cubicBezTo>
                    <a:cubicBezTo>
                      <a:pt x="42" y="19"/>
                      <a:pt x="41" y="17"/>
                      <a:pt x="41" y="14"/>
                    </a:cubicBezTo>
                    <a:cubicBezTo>
                      <a:pt x="41" y="10"/>
                      <a:pt x="45" y="7"/>
                      <a:pt x="49" y="7"/>
                    </a:cubicBezTo>
                    <a:cubicBezTo>
                      <a:pt x="60" y="7"/>
                      <a:pt x="57" y="22"/>
                      <a:pt x="68" y="26"/>
                    </a:cubicBezTo>
                    <a:cubicBezTo>
                      <a:pt x="66" y="19"/>
                      <a:pt x="63" y="15"/>
                      <a:pt x="63" y="7"/>
                    </a:cubicBezTo>
                    <a:cubicBezTo>
                      <a:pt x="63" y="0"/>
                      <a:pt x="66" y="0"/>
                      <a:pt x="72" y="0"/>
                    </a:cubicBezTo>
                    <a:cubicBezTo>
                      <a:pt x="78" y="0"/>
                      <a:pt x="90" y="4"/>
                      <a:pt x="90" y="9"/>
                    </a:cubicBezTo>
                    <a:cubicBezTo>
                      <a:pt x="90" y="12"/>
                      <a:pt x="88" y="15"/>
                      <a:pt x="88" y="18"/>
                    </a:cubicBezTo>
                    <a:cubicBezTo>
                      <a:pt x="92" y="16"/>
                      <a:pt x="93" y="12"/>
                      <a:pt x="96" y="12"/>
                    </a:cubicBezTo>
                    <a:cubicBezTo>
                      <a:pt x="103" y="12"/>
                      <a:pt x="102" y="19"/>
                      <a:pt x="102" y="23"/>
                    </a:cubicBezTo>
                    <a:cubicBezTo>
                      <a:pt x="103" y="23"/>
                      <a:pt x="105" y="23"/>
                      <a:pt x="106" y="23"/>
                    </a:cubicBezTo>
                    <a:cubicBezTo>
                      <a:pt x="113" y="23"/>
                      <a:pt x="137" y="36"/>
                      <a:pt x="141" y="41"/>
                    </a:cubicBezTo>
                    <a:cubicBezTo>
                      <a:pt x="140" y="42"/>
                      <a:pt x="138" y="42"/>
                      <a:pt x="137" y="42"/>
                    </a:cubicBezTo>
                    <a:cubicBezTo>
                      <a:pt x="140" y="43"/>
                      <a:pt x="142" y="42"/>
                      <a:pt x="145" y="42"/>
                    </a:cubicBezTo>
                    <a:cubicBezTo>
                      <a:pt x="146" y="44"/>
                      <a:pt x="146" y="47"/>
                      <a:pt x="145" y="49"/>
                    </a:cubicBezTo>
                    <a:cubicBezTo>
                      <a:pt x="151" y="49"/>
                      <a:pt x="154" y="49"/>
                      <a:pt x="159" y="49"/>
                    </a:cubicBezTo>
                    <a:cubicBezTo>
                      <a:pt x="159" y="62"/>
                      <a:pt x="172" y="59"/>
                      <a:pt x="176" y="64"/>
                    </a:cubicBezTo>
                    <a:cubicBezTo>
                      <a:pt x="164" y="68"/>
                      <a:pt x="159" y="76"/>
                      <a:pt x="148" y="7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2" name="Freeform 27"/>
              <p:cNvSpPr/>
              <p:nvPr/>
            </p:nvSpPr>
            <p:spPr bwMode="auto">
              <a:xfrm>
                <a:off x="4683125" y="1089025"/>
                <a:ext cx="150813" cy="55563"/>
              </a:xfrm>
              <a:custGeom>
                <a:avLst/>
                <a:gdLst/>
                <a:ahLst/>
                <a:cxnLst>
                  <a:cxn ang="0">
                    <a:pos x="114" y="19"/>
                  </a:cxn>
                  <a:cxn ang="0">
                    <a:pos x="69" y="41"/>
                  </a:cxn>
                  <a:cxn ang="0">
                    <a:pos x="54" y="34"/>
                  </a:cxn>
                  <a:cxn ang="0">
                    <a:pos x="28" y="34"/>
                  </a:cxn>
                  <a:cxn ang="0">
                    <a:pos x="23" y="26"/>
                  </a:cxn>
                  <a:cxn ang="0">
                    <a:pos x="32" y="26"/>
                  </a:cxn>
                  <a:cxn ang="0">
                    <a:pos x="43" y="24"/>
                  </a:cxn>
                  <a:cxn ang="0">
                    <a:pos x="22" y="23"/>
                  </a:cxn>
                  <a:cxn ang="0">
                    <a:pos x="6" y="18"/>
                  </a:cxn>
                  <a:cxn ang="0">
                    <a:pos x="0" y="7"/>
                  </a:cxn>
                  <a:cxn ang="0">
                    <a:pos x="6" y="7"/>
                  </a:cxn>
                  <a:cxn ang="0">
                    <a:pos x="15" y="8"/>
                  </a:cxn>
                  <a:cxn ang="0">
                    <a:pos x="15" y="6"/>
                  </a:cxn>
                  <a:cxn ang="0">
                    <a:pos x="23" y="6"/>
                  </a:cxn>
                  <a:cxn ang="0">
                    <a:pos x="21" y="2"/>
                  </a:cxn>
                  <a:cxn ang="0">
                    <a:pos x="33" y="2"/>
                  </a:cxn>
                  <a:cxn ang="0">
                    <a:pos x="51" y="11"/>
                  </a:cxn>
                  <a:cxn ang="0">
                    <a:pos x="62" y="0"/>
                  </a:cxn>
                  <a:cxn ang="0">
                    <a:pos x="67" y="0"/>
                  </a:cxn>
                  <a:cxn ang="0">
                    <a:pos x="67" y="12"/>
                  </a:cxn>
                  <a:cxn ang="0">
                    <a:pos x="80" y="7"/>
                  </a:cxn>
                  <a:cxn ang="0">
                    <a:pos x="95" y="7"/>
                  </a:cxn>
                  <a:cxn ang="0">
                    <a:pos x="114" y="19"/>
                  </a:cxn>
                </a:cxnLst>
                <a:rect l="0" t="0" r="r" b="b"/>
                <a:pathLst>
                  <a:path w="114" h="41">
                    <a:moveTo>
                      <a:pt x="114" y="19"/>
                    </a:moveTo>
                    <a:cubicBezTo>
                      <a:pt x="104" y="26"/>
                      <a:pt x="82" y="41"/>
                      <a:pt x="69" y="41"/>
                    </a:cubicBezTo>
                    <a:cubicBezTo>
                      <a:pt x="61" y="41"/>
                      <a:pt x="57" y="39"/>
                      <a:pt x="54" y="34"/>
                    </a:cubicBezTo>
                    <a:cubicBezTo>
                      <a:pt x="28" y="34"/>
                      <a:pt x="28" y="34"/>
                      <a:pt x="28" y="34"/>
                    </a:cubicBezTo>
                    <a:cubicBezTo>
                      <a:pt x="25" y="32"/>
                      <a:pt x="23" y="30"/>
                      <a:pt x="23" y="26"/>
                    </a:cubicBezTo>
                    <a:cubicBezTo>
                      <a:pt x="26" y="26"/>
                      <a:pt x="31" y="26"/>
                      <a:pt x="32" y="26"/>
                    </a:cubicBezTo>
                    <a:cubicBezTo>
                      <a:pt x="36" y="25"/>
                      <a:pt x="40" y="25"/>
                      <a:pt x="43" y="24"/>
                    </a:cubicBezTo>
                    <a:cubicBezTo>
                      <a:pt x="41" y="24"/>
                      <a:pt x="23" y="23"/>
                      <a:pt x="22" y="23"/>
                    </a:cubicBezTo>
                    <a:cubicBezTo>
                      <a:pt x="14" y="23"/>
                      <a:pt x="6" y="28"/>
                      <a:pt x="6" y="18"/>
                    </a:cubicBezTo>
                    <a:cubicBezTo>
                      <a:pt x="3" y="15"/>
                      <a:pt x="0" y="12"/>
                      <a:pt x="0" y="7"/>
                    </a:cubicBezTo>
                    <a:cubicBezTo>
                      <a:pt x="6" y="7"/>
                      <a:pt x="6" y="7"/>
                      <a:pt x="6" y="7"/>
                    </a:cubicBezTo>
                    <a:cubicBezTo>
                      <a:pt x="9" y="9"/>
                      <a:pt x="13" y="10"/>
                      <a:pt x="15" y="8"/>
                    </a:cubicBezTo>
                    <a:cubicBezTo>
                      <a:pt x="15" y="6"/>
                      <a:pt x="15" y="6"/>
                      <a:pt x="15" y="6"/>
                    </a:cubicBezTo>
                    <a:cubicBezTo>
                      <a:pt x="23" y="6"/>
                      <a:pt x="23" y="6"/>
                      <a:pt x="23" y="6"/>
                    </a:cubicBezTo>
                    <a:cubicBezTo>
                      <a:pt x="21" y="2"/>
                      <a:pt x="21" y="2"/>
                      <a:pt x="21" y="2"/>
                    </a:cubicBezTo>
                    <a:cubicBezTo>
                      <a:pt x="33" y="2"/>
                      <a:pt x="33" y="2"/>
                      <a:pt x="33" y="2"/>
                    </a:cubicBezTo>
                    <a:cubicBezTo>
                      <a:pt x="36" y="4"/>
                      <a:pt x="48" y="11"/>
                      <a:pt x="51" y="11"/>
                    </a:cubicBezTo>
                    <a:cubicBezTo>
                      <a:pt x="56" y="11"/>
                      <a:pt x="59" y="2"/>
                      <a:pt x="62" y="0"/>
                    </a:cubicBezTo>
                    <a:cubicBezTo>
                      <a:pt x="67" y="0"/>
                      <a:pt x="67" y="0"/>
                      <a:pt x="67" y="0"/>
                    </a:cubicBezTo>
                    <a:cubicBezTo>
                      <a:pt x="67" y="6"/>
                      <a:pt x="66" y="8"/>
                      <a:pt x="67" y="12"/>
                    </a:cubicBezTo>
                    <a:cubicBezTo>
                      <a:pt x="71" y="12"/>
                      <a:pt x="73" y="7"/>
                      <a:pt x="80" y="7"/>
                    </a:cubicBezTo>
                    <a:cubicBezTo>
                      <a:pt x="91" y="7"/>
                      <a:pt x="88" y="7"/>
                      <a:pt x="95" y="7"/>
                    </a:cubicBezTo>
                    <a:cubicBezTo>
                      <a:pt x="103" y="7"/>
                      <a:pt x="112" y="14"/>
                      <a:pt x="114" y="1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3" name="Freeform 28"/>
              <p:cNvSpPr/>
              <p:nvPr/>
            </p:nvSpPr>
            <p:spPr bwMode="auto">
              <a:xfrm>
                <a:off x="4219575" y="1841500"/>
                <a:ext cx="73025" cy="87313"/>
              </a:xfrm>
              <a:custGeom>
                <a:avLst/>
                <a:gdLst/>
                <a:ahLst/>
                <a:cxnLst>
                  <a:cxn ang="0">
                    <a:pos x="9" y="19"/>
                  </a:cxn>
                  <a:cxn ang="0">
                    <a:pos x="22" y="14"/>
                  </a:cxn>
                  <a:cxn ang="0">
                    <a:pos x="19" y="8"/>
                  </a:cxn>
                  <a:cxn ang="0">
                    <a:pos x="32" y="0"/>
                  </a:cxn>
                  <a:cxn ang="0">
                    <a:pos x="40" y="0"/>
                  </a:cxn>
                  <a:cxn ang="0">
                    <a:pos x="55" y="18"/>
                  </a:cxn>
                  <a:cxn ang="0">
                    <a:pos x="47" y="24"/>
                  </a:cxn>
                  <a:cxn ang="0">
                    <a:pos x="47" y="39"/>
                  </a:cxn>
                  <a:cxn ang="0">
                    <a:pos x="47" y="52"/>
                  </a:cxn>
                  <a:cxn ang="0">
                    <a:pos x="35" y="54"/>
                  </a:cxn>
                  <a:cxn ang="0">
                    <a:pos x="19" y="64"/>
                  </a:cxn>
                  <a:cxn ang="0">
                    <a:pos x="11" y="65"/>
                  </a:cxn>
                  <a:cxn ang="0">
                    <a:pos x="0" y="55"/>
                  </a:cxn>
                  <a:cxn ang="0">
                    <a:pos x="13" y="33"/>
                  </a:cxn>
                  <a:cxn ang="0">
                    <a:pos x="4" y="23"/>
                  </a:cxn>
                  <a:cxn ang="0">
                    <a:pos x="9" y="19"/>
                  </a:cxn>
                </a:cxnLst>
                <a:rect l="0" t="0" r="r" b="b"/>
                <a:pathLst>
                  <a:path w="55" h="65">
                    <a:moveTo>
                      <a:pt x="9" y="19"/>
                    </a:moveTo>
                    <a:cubicBezTo>
                      <a:pt x="12" y="19"/>
                      <a:pt x="19" y="16"/>
                      <a:pt x="22" y="14"/>
                    </a:cubicBezTo>
                    <a:cubicBezTo>
                      <a:pt x="20" y="11"/>
                      <a:pt x="19" y="10"/>
                      <a:pt x="19" y="8"/>
                    </a:cubicBezTo>
                    <a:cubicBezTo>
                      <a:pt x="19" y="5"/>
                      <a:pt x="28" y="0"/>
                      <a:pt x="32" y="0"/>
                    </a:cubicBezTo>
                    <a:cubicBezTo>
                      <a:pt x="35" y="0"/>
                      <a:pt x="37" y="0"/>
                      <a:pt x="40" y="0"/>
                    </a:cubicBezTo>
                    <a:cubicBezTo>
                      <a:pt x="50" y="0"/>
                      <a:pt x="55" y="10"/>
                      <a:pt x="55" y="18"/>
                    </a:cubicBezTo>
                    <a:cubicBezTo>
                      <a:pt x="55" y="21"/>
                      <a:pt x="47" y="21"/>
                      <a:pt x="47" y="24"/>
                    </a:cubicBezTo>
                    <a:cubicBezTo>
                      <a:pt x="47" y="27"/>
                      <a:pt x="47" y="39"/>
                      <a:pt x="47" y="39"/>
                    </a:cubicBezTo>
                    <a:cubicBezTo>
                      <a:pt x="47" y="43"/>
                      <a:pt x="50" y="48"/>
                      <a:pt x="47" y="52"/>
                    </a:cubicBezTo>
                    <a:cubicBezTo>
                      <a:pt x="44" y="54"/>
                      <a:pt x="40" y="54"/>
                      <a:pt x="35" y="54"/>
                    </a:cubicBezTo>
                    <a:cubicBezTo>
                      <a:pt x="28" y="54"/>
                      <a:pt x="23" y="61"/>
                      <a:pt x="19" y="64"/>
                    </a:cubicBezTo>
                    <a:cubicBezTo>
                      <a:pt x="17" y="65"/>
                      <a:pt x="13" y="65"/>
                      <a:pt x="11" y="65"/>
                    </a:cubicBezTo>
                    <a:cubicBezTo>
                      <a:pt x="6" y="65"/>
                      <a:pt x="0" y="60"/>
                      <a:pt x="0" y="55"/>
                    </a:cubicBezTo>
                    <a:cubicBezTo>
                      <a:pt x="0" y="44"/>
                      <a:pt x="11" y="43"/>
                      <a:pt x="13" y="33"/>
                    </a:cubicBezTo>
                    <a:cubicBezTo>
                      <a:pt x="8" y="30"/>
                      <a:pt x="4" y="28"/>
                      <a:pt x="4" y="23"/>
                    </a:cubicBezTo>
                    <a:cubicBezTo>
                      <a:pt x="4" y="18"/>
                      <a:pt x="8" y="19"/>
                      <a:pt x="9" y="1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4" name="Freeform 29"/>
              <p:cNvSpPr/>
              <p:nvPr/>
            </p:nvSpPr>
            <p:spPr bwMode="auto">
              <a:xfrm>
                <a:off x="4276725" y="1758950"/>
                <a:ext cx="139700" cy="203200"/>
              </a:xfrm>
              <a:custGeom>
                <a:avLst/>
                <a:gdLst/>
                <a:ahLst/>
                <a:cxnLst>
                  <a:cxn ang="0">
                    <a:pos x="96" y="102"/>
                  </a:cxn>
                  <a:cxn ang="0">
                    <a:pos x="91" y="128"/>
                  </a:cxn>
                  <a:cxn ang="0">
                    <a:pos x="100" y="133"/>
                  </a:cxn>
                  <a:cxn ang="0">
                    <a:pos x="70" y="139"/>
                  </a:cxn>
                  <a:cxn ang="0">
                    <a:pos x="39" y="141"/>
                  </a:cxn>
                  <a:cxn ang="0">
                    <a:pos x="26" y="148"/>
                  </a:cxn>
                  <a:cxn ang="0">
                    <a:pos x="16" y="152"/>
                  </a:cxn>
                  <a:cxn ang="0">
                    <a:pos x="32" y="133"/>
                  </a:cxn>
                  <a:cxn ang="0">
                    <a:pos x="46" y="124"/>
                  </a:cxn>
                  <a:cxn ang="0">
                    <a:pos x="26" y="123"/>
                  </a:cxn>
                  <a:cxn ang="0">
                    <a:pos x="19" y="123"/>
                  </a:cxn>
                  <a:cxn ang="0">
                    <a:pos x="28" y="96"/>
                  </a:cxn>
                  <a:cxn ang="0">
                    <a:pos x="48" y="81"/>
                  </a:cxn>
                  <a:cxn ang="0">
                    <a:pos x="40" y="70"/>
                  </a:cxn>
                  <a:cxn ang="0">
                    <a:pos x="26" y="72"/>
                  </a:cxn>
                  <a:cxn ang="0">
                    <a:pos x="23" y="59"/>
                  </a:cxn>
                  <a:cxn ang="0">
                    <a:pos x="16" y="49"/>
                  </a:cxn>
                  <a:cxn ang="0">
                    <a:pos x="12" y="55"/>
                  </a:cxn>
                  <a:cxn ang="0">
                    <a:pos x="14" y="45"/>
                  </a:cxn>
                  <a:cxn ang="0">
                    <a:pos x="8" y="38"/>
                  </a:cxn>
                  <a:cxn ang="0">
                    <a:pos x="11" y="29"/>
                  </a:cxn>
                  <a:cxn ang="0">
                    <a:pos x="8" y="20"/>
                  </a:cxn>
                  <a:cxn ang="0">
                    <a:pos x="12" y="21"/>
                  </a:cxn>
                  <a:cxn ang="0">
                    <a:pos x="16" y="14"/>
                  </a:cxn>
                  <a:cxn ang="0">
                    <a:pos x="25" y="0"/>
                  </a:cxn>
                  <a:cxn ang="0">
                    <a:pos x="42" y="4"/>
                  </a:cxn>
                  <a:cxn ang="0">
                    <a:pos x="33" y="19"/>
                  </a:cxn>
                  <a:cxn ang="0">
                    <a:pos x="47" y="46"/>
                  </a:cxn>
                  <a:cxn ang="0">
                    <a:pos x="53" y="50"/>
                  </a:cxn>
                  <a:cxn ang="0">
                    <a:pos x="84" y="89"/>
                  </a:cxn>
                  <a:cxn ang="0">
                    <a:pos x="87" y="102"/>
                  </a:cxn>
                  <a:cxn ang="0">
                    <a:pos x="92" y="102"/>
                  </a:cxn>
                </a:cxnLst>
                <a:rect l="0" t="0" r="r" b="b"/>
                <a:pathLst>
                  <a:path w="105" h="152">
                    <a:moveTo>
                      <a:pt x="90" y="103"/>
                    </a:moveTo>
                    <a:cubicBezTo>
                      <a:pt x="93" y="101"/>
                      <a:pt x="92" y="102"/>
                      <a:pt x="96" y="102"/>
                    </a:cubicBezTo>
                    <a:cubicBezTo>
                      <a:pt x="101" y="102"/>
                      <a:pt x="105" y="106"/>
                      <a:pt x="105" y="110"/>
                    </a:cubicBezTo>
                    <a:cubicBezTo>
                      <a:pt x="105" y="118"/>
                      <a:pt x="94" y="122"/>
                      <a:pt x="91" y="128"/>
                    </a:cubicBezTo>
                    <a:cubicBezTo>
                      <a:pt x="95" y="129"/>
                      <a:pt x="97" y="130"/>
                      <a:pt x="100" y="130"/>
                    </a:cubicBezTo>
                    <a:cubicBezTo>
                      <a:pt x="100" y="133"/>
                      <a:pt x="100" y="133"/>
                      <a:pt x="100" y="133"/>
                    </a:cubicBezTo>
                    <a:cubicBezTo>
                      <a:pt x="96" y="137"/>
                      <a:pt x="93" y="139"/>
                      <a:pt x="87" y="139"/>
                    </a:cubicBezTo>
                    <a:cubicBezTo>
                      <a:pt x="82" y="139"/>
                      <a:pt x="72" y="139"/>
                      <a:pt x="70" y="139"/>
                    </a:cubicBezTo>
                    <a:cubicBezTo>
                      <a:pt x="65" y="139"/>
                      <a:pt x="53" y="143"/>
                      <a:pt x="47" y="143"/>
                    </a:cubicBezTo>
                    <a:cubicBezTo>
                      <a:pt x="44" y="143"/>
                      <a:pt x="42" y="141"/>
                      <a:pt x="39" y="141"/>
                    </a:cubicBezTo>
                    <a:cubicBezTo>
                      <a:pt x="34" y="141"/>
                      <a:pt x="32" y="144"/>
                      <a:pt x="32" y="148"/>
                    </a:cubicBezTo>
                    <a:cubicBezTo>
                      <a:pt x="26" y="148"/>
                      <a:pt x="26" y="148"/>
                      <a:pt x="26" y="148"/>
                    </a:cubicBezTo>
                    <a:cubicBezTo>
                      <a:pt x="23" y="148"/>
                      <a:pt x="21" y="150"/>
                      <a:pt x="19" y="152"/>
                    </a:cubicBezTo>
                    <a:cubicBezTo>
                      <a:pt x="16" y="152"/>
                      <a:pt x="16" y="152"/>
                      <a:pt x="16" y="152"/>
                    </a:cubicBezTo>
                    <a:cubicBezTo>
                      <a:pt x="16" y="149"/>
                      <a:pt x="16" y="149"/>
                      <a:pt x="16" y="149"/>
                    </a:cubicBezTo>
                    <a:cubicBezTo>
                      <a:pt x="17" y="147"/>
                      <a:pt x="30" y="133"/>
                      <a:pt x="32" y="133"/>
                    </a:cubicBezTo>
                    <a:cubicBezTo>
                      <a:pt x="38" y="131"/>
                      <a:pt x="47" y="133"/>
                      <a:pt x="47" y="127"/>
                    </a:cubicBezTo>
                    <a:cubicBezTo>
                      <a:pt x="47" y="126"/>
                      <a:pt x="46" y="125"/>
                      <a:pt x="46" y="124"/>
                    </a:cubicBezTo>
                    <a:cubicBezTo>
                      <a:pt x="44" y="126"/>
                      <a:pt x="41" y="128"/>
                      <a:pt x="38" y="128"/>
                    </a:cubicBezTo>
                    <a:cubicBezTo>
                      <a:pt x="32" y="128"/>
                      <a:pt x="30" y="123"/>
                      <a:pt x="26" y="123"/>
                    </a:cubicBezTo>
                    <a:cubicBezTo>
                      <a:pt x="23" y="123"/>
                      <a:pt x="23" y="125"/>
                      <a:pt x="21" y="125"/>
                    </a:cubicBezTo>
                    <a:cubicBezTo>
                      <a:pt x="20" y="125"/>
                      <a:pt x="19" y="124"/>
                      <a:pt x="19" y="123"/>
                    </a:cubicBezTo>
                    <a:cubicBezTo>
                      <a:pt x="19" y="116"/>
                      <a:pt x="31" y="116"/>
                      <a:pt x="31" y="109"/>
                    </a:cubicBezTo>
                    <a:cubicBezTo>
                      <a:pt x="31" y="103"/>
                      <a:pt x="28" y="101"/>
                      <a:pt x="28" y="96"/>
                    </a:cubicBezTo>
                    <a:cubicBezTo>
                      <a:pt x="36" y="96"/>
                      <a:pt x="45" y="92"/>
                      <a:pt x="48" y="88"/>
                    </a:cubicBezTo>
                    <a:cubicBezTo>
                      <a:pt x="48" y="81"/>
                      <a:pt x="48" y="81"/>
                      <a:pt x="48" y="81"/>
                    </a:cubicBezTo>
                    <a:cubicBezTo>
                      <a:pt x="43" y="82"/>
                      <a:pt x="37" y="81"/>
                      <a:pt x="37" y="77"/>
                    </a:cubicBezTo>
                    <a:cubicBezTo>
                      <a:pt x="37" y="73"/>
                      <a:pt x="39" y="72"/>
                      <a:pt x="40" y="70"/>
                    </a:cubicBezTo>
                    <a:cubicBezTo>
                      <a:pt x="39" y="70"/>
                      <a:pt x="38" y="70"/>
                      <a:pt x="36" y="70"/>
                    </a:cubicBezTo>
                    <a:cubicBezTo>
                      <a:pt x="32" y="70"/>
                      <a:pt x="30" y="72"/>
                      <a:pt x="26" y="72"/>
                    </a:cubicBezTo>
                    <a:cubicBezTo>
                      <a:pt x="22" y="72"/>
                      <a:pt x="19" y="72"/>
                      <a:pt x="19" y="69"/>
                    </a:cubicBezTo>
                    <a:cubicBezTo>
                      <a:pt x="19" y="65"/>
                      <a:pt x="23" y="63"/>
                      <a:pt x="23" y="59"/>
                    </a:cubicBezTo>
                    <a:cubicBezTo>
                      <a:pt x="23" y="55"/>
                      <a:pt x="22" y="55"/>
                      <a:pt x="23" y="51"/>
                    </a:cubicBezTo>
                    <a:cubicBezTo>
                      <a:pt x="20" y="51"/>
                      <a:pt x="17" y="50"/>
                      <a:pt x="16" y="49"/>
                    </a:cubicBezTo>
                    <a:cubicBezTo>
                      <a:pt x="14" y="52"/>
                      <a:pt x="15" y="54"/>
                      <a:pt x="16" y="55"/>
                    </a:cubicBezTo>
                    <a:cubicBezTo>
                      <a:pt x="12" y="55"/>
                      <a:pt x="12" y="55"/>
                      <a:pt x="12" y="55"/>
                    </a:cubicBezTo>
                    <a:cubicBezTo>
                      <a:pt x="12" y="52"/>
                      <a:pt x="12" y="51"/>
                      <a:pt x="12" y="48"/>
                    </a:cubicBezTo>
                    <a:cubicBezTo>
                      <a:pt x="12" y="47"/>
                      <a:pt x="13" y="46"/>
                      <a:pt x="14" y="45"/>
                    </a:cubicBezTo>
                    <a:cubicBezTo>
                      <a:pt x="14" y="41"/>
                      <a:pt x="14" y="41"/>
                      <a:pt x="14" y="41"/>
                    </a:cubicBezTo>
                    <a:cubicBezTo>
                      <a:pt x="12" y="41"/>
                      <a:pt x="8" y="40"/>
                      <a:pt x="8" y="38"/>
                    </a:cubicBezTo>
                    <a:cubicBezTo>
                      <a:pt x="8" y="36"/>
                      <a:pt x="11" y="32"/>
                      <a:pt x="11" y="32"/>
                    </a:cubicBezTo>
                    <a:cubicBezTo>
                      <a:pt x="11" y="29"/>
                      <a:pt x="11" y="29"/>
                      <a:pt x="11" y="29"/>
                    </a:cubicBezTo>
                    <a:cubicBezTo>
                      <a:pt x="4" y="27"/>
                      <a:pt x="0" y="26"/>
                      <a:pt x="0" y="20"/>
                    </a:cubicBezTo>
                    <a:cubicBezTo>
                      <a:pt x="8" y="20"/>
                      <a:pt x="8" y="20"/>
                      <a:pt x="8" y="20"/>
                    </a:cubicBezTo>
                    <a:cubicBezTo>
                      <a:pt x="8" y="23"/>
                      <a:pt x="10" y="24"/>
                      <a:pt x="11" y="24"/>
                    </a:cubicBezTo>
                    <a:cubicBezTo>
                      <a:pt x="12" y="24"/>
                      <a:pt x="12" y="22"/>
                      <a:pt x="12" y="21"/>
                    </a:cubicBezTo>
                    <a:cubicBezTo>
                      <a:pt x="12" y="21"/>
                      <a:pt x="10" y="20"/>
                      <a:pt x="10" y="19"/>
                    </a:cubicBezTo>
                    <a:cubicBezTo>
                      <a:pt x="10" y="15"/>
                      <a:pt x="13" y="14"/>
                      <a:pt x="16" y="14"/>
                    </a:cubicBezTo>
                    <a:cubicBezTo>
                      <a:pt x="16" y="10"/>
                      <a:pt x="18" y="8"/>
                      <a:pt x="18" y="6"/>
                    </a:cubicBezTo>
                    <a:cubicBezTo>
                      <a:pt x="18" y="4"/>
                      <a:pt x="23" y="0"/>
                      <a:pt x="25" y="0"/>
                    </a:cubicBezTo>
                    <a:cubicBezTo>
                      <a:pt x="30" y="0"/>
                      <a:pt x="35" y="0"/>
                      <a:pt x="38" y="0"/>
                    </a:cubicBezTo>
                    <a:cubicBezTo>
                      <a:pt x="40" y="0"/>
                      <a:pt x="42" y="3"/>
                      <a:pt x="42" y="4"/>
                    </a:cubicBezTo>
                    <a:cubicBezTo>
                      <a:pt x="42" y="10"/>
                      <a:pt x="33" y="10"/>
                      <a:pt x="31" y="16"/>
                    </a:cubicBezTo>
                    <a:cubicBezTo>
                      <a:pt x="31" y="17"/>
                      <a:pt x="32" y="18"/>
                      <a:pt x="33" y="19"/>
                    </a:cubicBezTo>
                    <a:cubicBezTo>
                      <a:pt x="59" y="19"/>
                      <a:pt x="59" y="19"/>
                      <a:pt x="59" y="19"/>
                    </a:cubicBezTo>
                    <a:cubicBezTo>
                      <a:pt x="60" y="32"/>
                      <a:pt x="47" y="37"/>
                      <a:pt x="47" y="46"/>
                    </a:cubicBezTo>
                    <a:cubicBezTo>
                      <a:pt x="45" y="47"/>
                      <a:pt x="44" y="48"/>
                      <a:pt x="43" y="50"/>
                    </a:cubicBezTo>
                    <a:cubicBezTo>
                      <a:pt x="48" y="51"/>
                      <a:pt x="50" y="49"/>
                      <a:pt x="53" y="50"/>
                    </a:cubicBezTo>
                    <a:cubicBezTo>
                      <a:pt x="62" y="53"/>
                      <a:pt x="60" y="63"/>
                      <a:pt x="66" y="69"/>
                    </a:cubicBezTo>
                    <a:cubicBezTo>
                      <a:pt x="73" y="76"/>
                      <a:pt x="84" y="79"/>
                      <a:pt x="84" y="89"/>
                    </a:cubicBezTo>
                    <a:cubicBezTo>
                      <a:pt x="84" y="93"/>
                      <a:pt x="89" y="95"/>
                      <a:pt x="89" y="99"/>
                    </a:cubicBezTo>
                    <a:cubicBezTo>
                      <a:pt x="89" y="100"/>
                      <a:pt x="88" y="101"/>
                      <a:pt x="87" y="102"/>
                    </a:cubicBezTo>
                    <a:cubicBezTo>
                      <a:pt x="87" y="105"/>
                      <a:pt x="87" y="105"/>
                      <a:pt x="87" y="105"/>
                    </a:cubicBezTo>
                    <a:cubicBezTo>
                      <a:pt x="90" y="104"/>
                      <a:pt x="90" y="103"/>
                      <a:pt x="92" y="102"/>
                    </a:cubicBezTo>
                    <a:lnTo>
                      <a:pt x="90" y="103"/>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5" name="Freeform 31"/>
              <p:cNvSpPr/>
              <p:nvPr/>
            </p:nvSpPr>
            <p:spPr bwMode="auto">
              <a:xfrm>
                <a:off x="4592638" y="2203450"/>
                <a:ext cx="46038" cy="30163"/>
              </a:xfrm>
              <a:custGeom>
                <a:avLst/>
                <a:gdLst/>
                <a:ahLst/>
                <a:cxnLst>
                  <a:cxn ang="0">
                    <a:pos x="0" y="5"/>
                  </a:cxn>
                  <a:cxn ang="0">
                    <a:pos x="0" y="8"/>
                  </a:cxn>
                  <a:cxn ang="0">
                    <a:pos x="7" y="10"/>
                  </a:cxn>
                  <a:cxn ang="0">
                    <a:pos x="27" y="21"/>
                  </a:cxn>
                  <a:cxn ang="0">
                    <a:pos x="30" y="23"/>
                  </a:cxn>
                  <a:cxn ang="0">
                    <a:pos x="33" y="20"/>
                  </a:cxn>
                  <a:cxn ang="0">
                    <a:pos x="31" y="13"/>
                  </a:cxn>
                  <a:cxn ang="0">
                    <a:pos x="33" y="8"/>
                  </a:cxn>
                  <a:cxn ang="0">
                    <a:pos x="35" y="3"/>
                  </a:cxn>
                  <a:cxn ang="0">
                    <a:pos x="20" y="6"/>
                  </a:cxn>
                  <a:cxn ang="0">
                    <a:pos x="0" y="5"/>
                  </a:cxn>
                </a:cxnLst>
                <a:rect l="0" t="0" r="r" b="b"/>
                <a:pathLst>
                  <a:path w="35" h="23">
                    <a:moveTo>
                      <a:pt x="0" y="5"/>
                    </a:moveTo>
                    <a:cubicBezTo>
                      <a:pt x="0" y="8"/>
                      <a:pt x="0" y="8"/>
                      <a:pt x="0" y="8"/>
                    </a:cubicBezTo>
                    <a:cubicBezTo>
                      <a:pt x="2" y="10"/>
                      <a:pt x="5" y="10"/>
                      <a:pt x="7" y="10"/>
                    </a:cubicBezTo>
                    <a:cubicBezTo>
                      <a:pt x="14" y="12"/>
                      <a:pt x="19" y="20"/>
                      <a:pt x="27" y="21"/>
                    </a:cubicBezTo>
                    <a:cubicBezTo>
                      <a:pt x="27" y="23"/>
                      <a:pt x="29" y="23"/>
                      <a:pt x="30" y="23"/>
                    </a:cubicBezTo>
                    <a:cubicBezTo>
                      <a:pt x="32" y="23"/>
                      <a:pt x="33" y="21"/>
                      <a:pt x="33" y="20"/>
                    </a:cubicBezTo>
                    <a:cubicBezTo>
                      <a:pt x="33" y="17"/>
                      <a:pt x="31" y="16"/>
                      <a:pt x="31" y="13"/>
                    </a:cubicBezTo>
                    <a:cubicBezTo>
                      <a:pt x="31" y="11"/>
                      <a:pt x="33" y="8"/>
                      <a:pt x="33" y="8"/>
                    </a:cubicBezTo>
                    <a:cubicBezTo>
                      <a:pt x="35" y="3"/>
                      <a:pt x="35" y="3"/>
                      <a:pt x="35" y="3"/>
                    </a:cubicBezTo>
                    <a:cubicBezTo>
                      <a:pt x="28" y="2"/>
                      <a:pt x="25" y="6"/>
                      <a:pt x="20" y="6"/>
                    </a:cubicBezTo>
                    <a:cubicBezTo>
                      <a:pt x="14" y="6"/>
                      <a:pt x="10" y="0"/>
                      <a:pt x="0" y="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6" name="Freeform 32"/>
              <p:cNvSpPr/>
              <p:nvPr/>
            </p:nvSpPr>
            <p:spPr bwMode="auto">
              <a:xfrm>
                <a:off x="4527550" y="2111375"/>
                <a:ext cx="15875" cy="30163"/>
              </a:xfrm>
              <a:custGeom>
                <a:avLst/>
                <a:gdLst/>
                <a:ahLst/>
                <a:cxnLst>
                  <a:cxn ang="0">
                    <a:pos x="3" y="5"/>
                  </a:cxn>
                  <a:cxn ang="0">
                    <a:pos x="10" y="0"/>
                  </a:cxn>
                  <a:cxn ang="0">
                    <a:pos x="12" y="5"/>
                  </a:cxn>
                  <a:cxn ang="0">
                    <a:pos x="8" y="23"/>
                  </a:cxn>
                  <a:cxn ang="0">
                    <a:pos x="0" y="6"/>
                  </a:cxn>
                  <a:cxn ang="0">
                    <a:pos x="3" y="5"/>
                  </a:cxn>
                </a:cxnLst>
                <a:rect l="0" t="0" r="r" b="b"/>
                <a:pathLst>
                  <a:path w="12" h="23">
                    <a:moveTo>
                      <a:pt x="3" y="5"/>
                    </a:moveTo>
                    <a:cubicBezTo>
                      <a:pt x="6" y="5"/>
                      <a:pt x="8" y="1"/>
                      <a:pt x="10" y="0"/>
                    </a:cubicBezTo>
                    <a:cubicBezTo>
                      <a:pt x="10" y="3"/>
                      <a:pt x="11" y="5"/>
                      <a:pt x="12" y="5"/>
                    </a:cubicBezTo>
                    <a:cubicBezTo>
                      <a:pt x="11" y="11"/>
                      <a:pt x="10" y="20"/>
                      <a:pt x="8" y="23"/>
                    </a:cubicBezTo>
                    <a:cubicBezTo>
                      <a:pt x="4" y="22"/>
                      <a:pt x="2" y="9"/>
                      <a:pt x="0" y="6"/>
                    </a:cubicBezTo>
                    <a:cubicBezTo>
                      <a:pt x="1" y="6"/>
                      <a:pt x="2" y="5"/>
                      <a:pt x="3" y="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7" name="Freeform 33"/>
              <p:cNvSpPr/>
              <p:nvPr/>
            </p:nvSpPr>
            <p:spPr bwMode="auto">
              <a:xfrm>
                <a:off x="4524375" y="2144713"/>
                <a:ext cx="25400" cy="44450"/>
              </a:xfrm>
              <a:custGeom>
                <a:avLst/>
                <a:gdLst/>
                <a:ahLst/>
                <a:cxnLst>
                  <a:cxn ang="0">
                    <a:pos x="5" y="15"/>
                  </a:cxn>
                  <a:cxn ang="0">
                    <a:pos x="0" y="6"/>
                  </a:cxn>
                  <a:cxn ang="0">
                    <a:pos x="9" y="0"/>
                  </a:cxn>
                  <a:cxn ang="0">
                    <a:pos x="15" y="3"/>
                  </a:cxn>
                  <a:cxn ang="0">
                    <a:pos x="18" y="21"/>
                  </a:cxn>
                  <a:cxn ang="0">
                    <a:pos x="6" y="33"/>
                  </a:cxn>
                  <a:cxn ang="0">
                    <a:pos x="2" y="24"/>
                  </a:cxn>
                  <a:cxn ang="0">
                    <a:pos x="5" y="15"/>
                  </a:cxn>
                </a:cxnLst>
                <a:rect l="0" t="0" r="r" b="b"/>
                <a:pathLst>
                  <a:path w="19" h="33">
                    <a:moveTo>
                      <a:pt x="5" y="15"/>
                    </a:moveTo>
                    <a:cubicBezTo>
                      <a:pt x="5" y="12"/>
                      <a:pt x="1" y="9"/>
                      <a:pt x="0" y="6"/>
                    </a:cubicBezTo>
                    <a:cubicBezTo>
                      <a:pt x="5" y="4"/>
                      <a:pt x="5" y="0"/>
                      <a:pt x="9" y="0"/>
                    </a:cubicBezTo>
                    <a:cubicBezTo>
                      <a:pt x="13" y="0"/>
                      <a:pt x="14" y="3"/>
                      <a:pt x="15" y="3"/>
                    </a:cubicBezTo>
                    <a:cubicBezTo>
                      <a:pt x="19" y="10"/>
                      <a:pt x="18" y="14"/>
                      <a:pt x="18" y="21"/>
                    </a:cubicBezTo>
                    <a:cubicBezTo>
                      <a:pt x="18" y="27"/>
                      <a:pt x="10" y="33"/>
                      <a:pt x="6" y="33"/>
                    </a:cubicBezTo>
                    <a:cubicBezTo>
                      <a:pt x="2" y="33"/>
                      <a:pt x="2" y="27"/>
                      <a:pt x="2" y="24"/>
                    </a:cubicBezTo>
                    <a:cubicBezTo>
                      <a:pt x="2" y="20"/>
                      <a:pt x="5" y="18"/>
                      <a:pt x="5" y="1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8" name="Freeform 34"/>
              <p:cNvSpPr/>
              <p:nvPr/>
            </p:nvSpPr>
            <p:spPr bwMode="auto">
              <a:xfrm>
                <a:off x="4429125" y="2171700"/>
                <a:ext cx="12700" cy="9525"/>
              </a:xfrm>
              <a:custGeom>
                <a:avLst/>
                <a:gdLst/>
                <a:ahLst/>
                <a:cxnLst>
                  <a:cxn ang="0">
                    <a:pos x="9" y="5"/>
                  </a:cxn>
                  <a:cxn ang="0">
                    <a:pos x="6" y="7"/>
                  </a:cxn>
                  <a:cxn ang="0">
                    <a:pos x="0" y="3"/>
                  </a:cxn>
                  <a:cxn ang="0">
                    <a:pos x="7" y="0"/>
                  </a:cxn>
                  <a:cxn ang="0">
                    <a:pos x="9" y="5"/>
                  </a:cxn>
                </a:cxnLst>
                <a:rect l="0" t="0" r="r" b="b"/>
                <a:pathLst>
                  <a:path w="9" h="7">
                    <a:moveTo>
                      <a:pt x="9" y="5"/>
                    </a:moveTo>
                    <a:cubicBezTo>
                      <a:pt x="9" y="6"/>
                      <a:pt x="7" y="7"/>
                      <a:pt x="6" y="7"/>
                    </a:cubicBezTo>
                    <a:cubicBezTo>
                      <a:pt x="4" y="7"/>
                      <a:pt x="1" y="3"/>
                      <a:pt x="0" y="3"/>
                    </a:cubicBezTo>
                    <a:cubicBezTo>
                      <a:pt x="3" y="2"/>
                      <a:pt x="5" y="0"/>
                      <a:pt x="7" y="0"/>
                    </a:cubicBezTo>
                    <a:cubicBezTo>
                      <a:pt x="7" y="1"/>
                      <a:pt x="9" y="3"/>
                      <a:pt x="9" y="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59" name="Freeform 35"/>
              <p:cNvSpPr/>
              <p:nvPr/>
            </p:nvSpPr>
            <p:spPr bwMode="auto">
              <a:xfrm>
                <a:off x="4551363" y="1833563"/>
                <a:ext cx="15875" cy="19050"/>
              </a:xfrm>
              <a:custGeom>
                <a:avLst/>
                <a:gdLst/>
                <a:ahLst/>
                <a:cxnLst>
                  <a:cxn ang="0">
                    <a:pos x="11" y="10"/>
                  </a:cxn>
                  <a:cxn ang="0">
                    <a:pos x="0" y="5"/>
                  </a:cxn>
                  <a:cxn ang="0">
                    <a:pos x="0" y="0"/>
                  </a:cxn>
                  <a:cxn ang="0">
                    <a:pos x="9" y="0"/>
                  </a:cxn>
                  <a:cxn ang="0">
                    <a:pos x="12" y="9"/>
                  </a:cxn>
                  <a:cxn ang="0">
                    <a:pos x="11" y="14"/>
                  </a:cxn>
                  <a:cxn ang="0">
                    <a:pos x="11" y="10"/>
                  </a:cxn>
                </a:cxnLst>
                <a:rect l="0" t="0" r="r" b="b"/>
                <a:pathLst>
                  <a:path w="12" h="14">
                    <a:moveTo>
                      <a:pt x="11" y="10"/>
                    </a:moveTo>
                    <a:cubicBezTo>
                      <a:pt x="5" y="10"/>
                      <a:pt x="0" y="9"/>
                      <a:pt x="0" y="5"/>
                    </a:cubicBezTo>
                    <a:cubicBezTo>
                      <a:pt x="0" y="3"/>
                      <a:pt x="0" y="2"/>
                      <a:pt x="0" y="0"/>
                    </a:cubicBezTo>
                    <a:cubicBezTo>
                      <a:pt x="9" y="0"/>
                      <a:pt x="9" y="0"/>
                      <a:pt x="9" y="0"/>
                    </a:cubicBezTo>
                    <a:cubicBezTo>
                      <a:pt x="9" y="6"/>
                      <a:pt x="12" y="5"/>
                      <a:pt x="12" y="9"/>
                    </a:cubicBezTo>
                    <a:cubicBezTo>
                      <a:pt x="12" y="13"/>
                      <a:pt x="11" y="12"/>
                      <a:pt x="11" y="14"/>
                    </a:cubicBezTo>
                    <a:cubicBezTo>
                      <a:pt x="11" y="13"/>
                      <a:pt x="11" y="12"/>
                      <a:pt x="11" y="1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60" name="Freeform 37"/>
              <p:cNvSpPr/>
              <p:nvPr/>
            </p:nvSpPr>
            <p:spPr bwMode="auto">
              <a:xfrm>
                <a:off x="4684713" y="1773238"/>
                <a:ext cx="15875" cy="23813"/>
              </a:xfrm>
              <a:custGeom>
                <a:avLst/>
                <a:gdLst/>
                <a:ahLst/>
                <a:cxnLst>
                  <a:cxn ang="0">
                    <a:pos x="8" y="6"/>
                  </a:cxn>
                  <a:cxn ang="0">
                    <a:pos x="1" y="17"/>
                  </a:cxn>
                  <a:cxn ang="0">
                    <a:pos x="1" y="11"/>
                  </a:cxn>
                  <a:cxn ang="0">
                    <a:pos x="11" y="0"/>
                  </a:cxn>
                  <a:cxn ang="0">
                    <a:pos x="8" y="6"/>
                  </a:cxn>
                </a:cxnLst>
                <a:rect l="0" t="0" r="r" b="b"/>
                <a:pathLst>
                  <a:path w="11" h="17">
                    <a:moveTo>
                      <a:pt x="8" y="6"/>
                    </a:moveTo>
                    <a:cubicBezTo>
                      <a:pt x="8" y="11"/>
                      <a:pt x="4" y="13"/>
                      <a:pt x="1" y="17"/>
                    </a:cubicBezTo>
                    <a:cubicBezTo>
                      <a:pt x="0" y="15"/>
                      <a:pt x="1" y="14"/>
                      <a:pt x="1" y="11"/>
                    </a:cubicBezTo>
                    <a:cubicBezTo>
                      <a:pt x="1" y="9"/>
                      <a:pt x="3" y="1"/>
                      <a:pt x="11" y="0"/>
                    </a:cubicBezTo>
                    <a:cubicBezTo>
                      <a:pt x="10" y="2"/>
                      <a:pt x="8" y="4"/>
                      <a:pt x="8" y="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61" name="Freeform 38"/>
              <p:cNvSpPr/>
              <p:nvPr/>
            </p:nvSpPr>
            <p:spPr bwMode="auto">
              <a:xfrm>
                <a:off x="4746625" y="1744663"/>
                <a:ext cx="20638" cy="26988"/>
              </a:xfrm>
              <a:custGeom>
                <a:avLst/>
                <a:gdLst/>
                <a:ahLst/>
                <a:cxnLst>
                  <a:cxn ang="0">
                    <a:pos x="12" y="10"/>
                  </a:cxn>
                  <a:cxn ang="0">
                    <a:pos x="12" y="16"/>
                  </a:cxn>
                  <a:cxn ang="0">
                    <a:pos x="5" y="20"/>
                  </a:cxn>
                  <a:cxn ang="0">
                    <a:pos x="0" y="13"/>
                  </a:cxn>
                  <a:cxn ang="0">
                    <a:pos x="10" y="10"/>
                  </a:cxn>
                  <a:cxn ang="0">
                    <a:pos x="7" y="5"/>
                  </a:cxn>
                  <a:cxn ang="0">
                    <a:pos x="11" y="0"/>
                  </a:cxn>
                  <a:cxn ang="0">
                    <a:pos x="16" y="5"/>
                  </a:cxn>
                  <a:cxn ang="0">
                    <a:pos x="12" y="10"/>
                  </a:cxn>
                </a:cxnLst>
                <a:rect l="0" t="0" r="r" b="b"/>
                <a:pathLst>
                  <a:path w="16" h="20">
                    <a:moveTo>
                      <a:pt x="12" y="10"/>
                    </a:moveTo>
                    <a:cubicBezTo>
                      <a:pt x="12" y="12"/>
                      <a:pt x="12" y="14"/>
                      <a:pt x="12" y="16"/>
                    </a:cubicBezTo>
                    <a:cubicBezTo>
                      <a:pt x="12" y="17"/>
                      <a:pt x="6" y="20"/>
                      <a:pt x="5" y="20"/>
                    </a:cubicBezTo>
                    <a:cubicBezTo>
                      <a:pt x="1" y="20"/>
                      <a:pt x="0" y="16"/>
                      <a:pt x="0" y="13"/>
                    </a:cubicBezTo>
                    <a:cubicBezTo>
                      <a:pt x="4" y="13"/>
                      <a:pt x="6" y="10"/>
                      <a:pt x="10" y="10"/>
                    </a:cubicBezTo>
                    <a:cubicBezTo>
                      <a:pt x="9" y="8"/>
                      <a:pt x="7" y="7"/>
                      <a:pt x="7" y="5"/>
                    </a:cubicBezTo>
                    <a:cubicBezTo>
                      <a:pt x="7" y="2"/>
                      <a:pt x="11" y="0"/>
                      <a:pt x="11" y="0"/>
                    </a:cubicBezTo>
                    <a:cubicBezTo>
                      <a:pt x="13" y="3"/>
                      <a:pt x="14" y="4"/>
                      <a:pt x="16" y="5"/>
                    </a:cubicBezTo>
                    <a:cubicBezTo>
                      <a:pt x="15" y="7"/>
                      <a:pt x="13" y="10"/>
                      <a:pt x="12" y="1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grpSp>
      <p:grpSp>
        <p:nvGrpSpPr>
          <p:cNvPr id="8" name="Group 363"/>
          <p:cNvGrpSpPr/>
          <p:nvPr/>
        </p:nvGrpSpPr>
        <p:grpSpPr>
          <a:xfrm>
            <a:off x="6731513" y="4000870"/>
            <a:ext cx="1255165" cy="1096609"/>
            <a:chOff x="6275388" y="2879725"/>
            <a:chExt cx="966788" cy="844551"/>
          </a:xfrm>
          <a:solidFill>
            <a:schemeClr val="accent1">
              <a:lumMod val="75000"/>
            </a:schemeClr>
          </a:solidFill>
        </p:grpSpPr>
        <p:sp>
          <p:nvSpPr>
            <p:cNvPr id="365" name="Freeform 9"/>
            <p:cNvSpPr/>
            <p:nvPr/>
          </p:nvSpPr>
          <p:spPr bwMode="auto">
            <a:xfrm>
              <a:off x="6567488" y="2879725"/>
              <a:ext cx="339725" cy="176213"/>
            </a:xfrm>
            <a:custGeom>
              <a:avLst/>
              <a:gdLst/>
              <a:ahLst/>
              <a:cxnLst>
                <a:cxn ang="0">
                  <a:pos x="128" y="28"/>
                </a:cxn>
                <a:cxn ang="0">
                  <a:pos x="160" y="39"/>
                </a:cxn>
                <a:cxn ang="0">
                  <a:pos x="173" y="45"/>
                </a:cxn>
                <a:cxn ang="0">
                  <a:pos x="179" y="49"/>
                </a:cxn>
                <a:cxn ang="0">
                  <a:pos x="203" y="71"/>
                </a:cxn>
                <a:cxn ang="0">
                  <a:pos x="217" y="78"/>
                </a:cxn>
                <a:cxn ang="0">
                  <a:pos x="208" y="85"/>
                </a:cxn>
                <a:cxn ang="0">
                  <a:pos x="217" y="96"/>
                </a:cxn>
                <a:cxn ang="0">
                  <a:pos x="224" y="108"/>
                </a:cxn>
                <a:cxn ang="0">
                  <a:pos x="233" y="113"/>
                </a:cxn>
                <a:cxn ang="0">
                  <a:pos x="237" y="118"/>
                </a:cxn>
                <a:cxn ang="0">
                  <a:pos x="242" y="119"/>
                </a:cxn>
                <a:cxn ang="0">
                  <a:pos x="247" y="124"/>
                </a:cxn>
                <a:cxn ang="0">
                  <a:pos x="255" y="126"/>
                </a:cxn>
                <a:cxn ang="0">
                  <a:pos x="250" y="133"/>
                </a:cxn>
                <a:cxn ang="0">
                  <a:pos x="247" y="133"/>
                </a:cxn>
                <a:cxn ang="0">
                  <a:pos x="239" y="127"/>
                </a:cxn>
                <a:cxn ang="0">
                  <a:pos x="227" y="127"/>
                </a:cxn>
                <a:cxn ang="0">
                  <a:pos x="210" y="116"/>
                </a:cxn>
                <a:cxn ang="0">
                  <a:pos x="206" y="113"/>
                </a:cxn>
                <a:cxn ang="0">
                  <a:pos x="175" y="92"/>
                </a:cxn>
                <a:cxn ang="0">
                  <a:pos x="158" y="103"/>
                </a:cxn>
                <a:cxn ang="0">
                  <a:pos x="156" y="113"/>
                </a:cxn>
                <a:cxn ang="0">
                  <a:pos x="139" y="113"/>
                </a:cxn>
                <a:cxn ang="0">
                  <a:pos x="113" y="100"/>
                </a:cxn>
                <a:cxn ang="0">
                  <a:pos x="107" y="102"/>
                </a:cxn>
                <a:cxn ang="0">
                  <a:pos x="98" y="102"/>
                </a:cxn>
                <a:cxn ang="0">
                  <a:pos x="90" y="99"/>
                </a:cxn>
                <a:cxn ang="0">
                  <a:pos x="101" y="90"/>
                </a:cxn>
                <a:cxn ang="0">
                  <a:pos x="96" y="71"/>
                </a:cxn>
                <a:cxn ang="0">
                  <a:pos x="77" y="59"/>
                </a:cxn>
                <a:cxn ang="0">
                  <a:pos x="53" y="54"/>
                </a:cxn>
                <a:cxn ang="0">
                  <a:pos x="37" y="45"/>
                </a:cxn>
                <a:cxn ang="0">
                  <a:pos x="37" y="41"/>
                </a:cxn>
                <a:cxn ang="0">
                  <a:pos x="30" y="49"/>
                </a:cxn>
                <a:cxn ang="0">
                  <a:pos x="26" y="48"/>
                </a:cxn>
                <a:cxn ang="0">
                  <a:pos x="24" y="38"/>
                </a:cxn>
                <a:cxn ang="0">
                  <a:pos x="16" y="33"/>
                </a:cxn>
                <a:cxn ang="0">
                  <a:pos x="38" y="25"/>
                </a:cxn>
                <a:cxn ang="0">
                  <a:pos x="35" y="25"/>
                </a:cxn>
                <a:cxn ang="0">
                  <a:pos x="23" y="27"/>
                </a:cxn>
                <a:cxn ang="0">
                  <a:pos x="16" y="26"/>
                </a:cxn>
                <a:cxn ang="0">
                  <a:pos x="14" y="22"/>
                </a:cxn>
                <a:cxn ang="0">
                  <a:pos x="0" y="12"/>
                </a:cxn>
                <a:cxn ang="0">
                  <a:pos x="6" y="8"/>
                </a:cxn>
                <a:cxn ang="0">
                  <a:pos x="23" y="0"/>
                </a:cxn>
                <a:cxn ang="0">
                  <a:pos x="44" y="9"/>
                </a:cxn>
                <a:cxn ang="0">
                  <a:pos x="44" y="25"/>
                </a:cxn>
                <a:cxn ang="0">
                  <a:pos x="50" y="29"/>
                </a:cxn>
                <a:cxn ang="0">
                  <a:pos x="59" y="38"/>
                </a:cxn>
                <a:cxn ang="0">
                  <a:pos x="67" y="30"/>
                </a:cxn>
                <a:cxn ang="0">
                  <a:pos x="78" y="25"/>
                </a:cxn>
                <a:cxn ang="0">
                  <a:pos x="92" y="14"/>
                </a:cxn>
                <a:cxn ang="0">
                  <a:pos x="98" y="17"/>
                </a:cxn>
                <a:cxn ang="0">
                  <a:pos x="109" y="25"/>
                </a:cxn>
                <a:cxn ang="0">
                  <a:pos x="121" y="25"/>
                </a:cxn>
                <a:cxn ang="0">
                  <a:pos x="130" y="29"/>
                </a:cxn>
                <a:cxn ang="0">
                  <a:pos x="130" y="30"/>
                </a:cxn>
                <a:cxn ang="0">
                  <a:pos x="128" y="28"/>
                </a:cxn>
              </a:cxnLst>
              <a:rect l="0" t="0" r="r" b="b"/>
              <a:pathLst>
                <a:path w="255" h="133">
                  <a:moveTo>
                    <a:pt x="128" y="28"/>
                  </a:moveTo>
                  <a:cubicBezTo>
                    <a:pt x="133" y="33"/>
                    <a:pt x="149" y="39"/>
                    <a:pt x="160" y="39"/>
                  </a:cubicBezTo>
                  <a:cubicBezTo>
                    <a:pt x="165" y="39"/>
                    <a:pt x="168" y="45"/>
                    <a:pt x="173" y="45"/>
                  </a:cubicBezTo>
                  <a:cubicBezTo>
                    <a:pt x="173" y="48"/>
                    <a:pt x="176" y="49"/>
                    <a:pt x="179" y="49"/>
                  </a:cubicBezTo>
                  <a:cubicBezTo>
                    <a:pt x="193" y="54"/>
                    <a:pt x="192" y="66"/>
                    <a:pt x="203" y="71"/>
                  </a:cubicBezTo>
                  <a:cubicBezTo>
                    <a:pt x="207" y="73"/>
                    <a:pt x="217" y="68"/>
                    <a:pt x="217" y="78"/>
                  </a:cubicBezTo>
                  <a:cubicBezTo>
                    <a:pt x="217" y="83"/>
                    <a:pt x="208" y="81"/>
                    <a:pt x="208" y="85"/>
                  </a:cubicBezTo>
                  <a:cubicBezTo>
                    <a:pt x="208" y="87"/>
                    <a:pt x="216" y="95"/>
                    <a:pt x="217" y="96"/>
                  </a:cubicBezTo>
                  <a:cubicBezTo>
                    <a:pt x="221" y="100"/>
                    <a:pt x="220" y="103"/>
                    <a:pt x="224" y="108"/>
                  </a:cubicBezTo>
                  <a:cubicBezTo>
                    <a:pt x="225" y="111"/>
                    <a:pt x="230" y="113"/>
                    <a:pt x="233" y="113"/>
                  </a:cubicBezTo>
                  <a:cubicBezTo>
                    <a:pt x="235" y="113"/>
                    <a:pt x="236" y="116"/>
                    <a:pt x="237" y="118"/>
                  </a:cubicBezTo>
                  <a:cubicBezTo>
                    <a:pt x="238" y="120"/>
                    <a:pt x="240" y="118"/>
                    <a:pt x="242" y="119"/>
                  </a:cubicBezTo>
                  <a:cubicBezTo>
                    <a:pt x="245" y="119"/>
                    <a:pt x="246" y="122"/>
                    <a:pt x="247" y="124"/>
                  </a:cubicBezTo>
                  <a:cubicBezTo>
                    <a:pt x="247" y="126"/>
                    <a:pt x="254" y="125"/>
                    <a:pt x="255" y="126"/>
                  </a:cubicBezTo>
                  <a:cubicBezTo>
                    <a:pt x="253" y="127"/>
                    <a:pt x="250" y="130"/>
                    <a:pt x="250" y="133"/>
                  </a:cubicBezTo>
                  <a:cubicBezTo>
                    <a:pt x="249" y="133"/>
                    <a:pt x="248" y="133"/>
                    <a:pt x="247" y="133"/>
                  </a:cubicBezTo>
                  <a:cubicBezTo>
                    <a:pt x="246" y="133"/>
                    <a:pt x="240" y="128"/>
                    <a:pt x="239" y="127"/>
                  </a:cubicBezTo>
                  <a:cubicBezTo>
                    <a:pt x="227" y="127"/>
                    <a:pt x="227" y="127"/>
                    <a:pt x="227" y="127"/>
                  </a:cubicBezTo>
                  <a:cubicBezTo>
                    <a:pt x="221" y="126"/>
                    <a:pt x="210" y="121"/>
                    <a:pt x="210" y="116"/>
                  </a:cubicBezTo>
                  <a:cubicBezTo>
                    <a:pt x="210" y="115"/>
                    <a:pt x="207" y="114"/>
                    <a:pt x="206" y="113"/>
                  </a:cubicBezTo>
                  <a:cubicBezTo>
                    <a:pt x="197" y="104"/>
                    <a:pt x="189" y="92"/>
                    <a:pt x="175" y="92"/>
                  </a:cubicBezTo>
                  <a:cubicBezTo>
                    <a:pt x="164" y="92"/>
                    <a:pt x="165" y="100"/>
                    <a:pt x="158" y="103"/>
                  </a:cubicBezTo>
                  <a:cubicBezTo>
                    <a:pt x="160" y="108"/>
                    <a:pt x="156" y="110"/>
                    <a:pt x="156" y="113"/>
                  </a:cubicBezTo>
                  <a:cubicBezTo>
                    <a:pt x="146" y="113"/>
                    <a:pt x="144" y="113"/>
                    <a:pt x="139" y="113"/>
                  </a:cubicBezTo>
                  <a:cubicBezTo>
                    <a:pt x="128" y="113"/>
                    <a:pt x="125" y="100"/>
                    <a:pt x="113" y="100"/>
                  </a:cubicBezTo>
                  <a:cubicBezTo>
                    <a:pt x="112" y="100"/>
                    <a:pt x="107" y="100"/>
                    <a:pt x="107" y="102"/>
                  </a:cubicBezTo>
                  <a:cubicBezTo>
                    <a:pt x="98" y="102"/>
                    <a:pt x="98" y="102"/>
                    <a:pt x="98" y="102"/>
                  </a:cubicBezTo>
                  <a:cubicBezTo>
                    <a:pt x="94" y="102"/>
                    <a:pt x="90" y="102"/>
                    <a:pt x="90" y="99"/>
                  </a:cubicBezTo>
                  <a:cubicBezTo>
                    <a:pt x="90" y="93"/>
                    <a:pt x="99" y="91"/>
                    <a:pt x="101" y="90"/>
                  </a:cubicBezTo>
                  <a:cubicBezTo>
                    <a:pt x="95" y="84"/>
                    <a:pt x="98" y="78"/>
                    <a:pt x="96" y="71"/>
                  </a:cubicBezTo>
                  <a:cubicBezTo>
                    <a:pt x="94" y="66"/>
                    <a:pt x="82" y="61"/>
                    <a:pt x="77" y="59"/>
                  </a:cubicBezTo>
                  <a:cubicBezTo>
                    <a:pt x="72" y="56"/>
                    <a:pt x="60" y="54"/>
                    <a:pt x="53" y="54"/>
                  </a:cubicBezTo>
                  <a:cubicBezTo>
                    <a:pt x="47" y="54"/>
                    <a:pt x="44" y="43"/>
                    <a:pt x="37" y="45"/>
                  </a:cubicBezTo>
                  <a:cubicBezTo>
                    <a:pt x="37" y="41"/>
                    <a:pt x="37" y="41"/>
                    <a:pt x="37" y="41"/>
                  </a:cubicBezTo>
                  <a:cubicBezTo>
                    <a:pt x="36" y="44"/>
                    <a:pt x="34" y="49"/>
                    <a:pt x="30" y="49"/>
                  </a:cubicBezTo>
                  <a:cubicBezTo>
                    <a:pt x="29" y="49"/>
                    <a:pt x="26" y="49"/>
                    <a:pt x="26" y="48"/>
                  </a:cubicBezTo>
                  <a:cubicBezTo>
                    <a:pt x="24" y="43"/>
                    <a:pt x="26" y="41"/>
                    <a:pt x="24" y="38"/>
                  </a:cubicBezTo>
                  <a:cubicBezTo>
                    <a:pt x="22" y="34"/>
                    <a:pt x="17" y="36"/>
                    <a:pt x="16" y="33"/>
                  </a:cubicBezTo>
                  <a:cubicBezTo>
                    <a:pt x="22" y="29"/>
                    <a:pt x="35" y="30"/>
                    <a:pt x="38" y="25"/>
                  </a:cubicBezTo>
                  <a:cubicBezTo>
                    <a:pt x="35" y="25"/>
                    <a:pt x="35" y="25"/>
                    <a:pt x="35" y="25"/>
                  </a:cubicBezTo>
                  <a:cubicBezTo>
                    <a:pt x="30" y="26"/>
                    <a:pt x="27" y="27"/>
                    <a:pt x="23" y="27"/>
                  </a:cubicBezTo>
                  <a:cubicBezTo>
                    <a:pt x="20" y="27"/>
                    <a:pt x="19" y="26"/>
                    <a:pt x="16" y="26"/>
                  </a:cubicBezTo>
                  <a:cubicBezTo>
                    <a:pt x="15" y="25"/>
                    <a:pt x="14" y="23"/>
                    <a:pt x="14" y="22"/>
                  </a:cubicBezTo>
                  <a:cubicBezTo>
                    <a:pt x="11" y="15"/>
                    <a:pt x="0" y="18"/>
                    <a:pt x="0" y="12"/>
                  </a:cubicBezTo>
                  <a:cubicBezTo>
                    <a:pt x="0" y="9"/>
                    <a:pt x="4" y="8"/>
                    <a:pt x="6" y="8"/>
                  </a:cubicBezTo>
                  <a:cubicBezTo>
                    <a:pt x="12" y="8"/>
                    <a:pt x="15" y="0"/>
                    <a:pt x="23" y="0"/>
                  </a:cubicBezTo>
                  <a:cubicBezTo>
                    <a:pt x="30" y="0"/>
                    <a:pt x="36" y="7"/>
                    <a:pt x="44" y="9"/>
                  </a:cubicBezTo>
                  <a:cubicBezTo>
                    <a:pt x="44" y="15"/>
                    <a:pt x="44" y="22"/>
                    <a:pt x="44" y="25"/>
                  </a:cubicBezTo>
                  <a:cubicBezTo>
                    <a:pt x="44" y="27"/>
                    <a:pt x="46" y="29"/>
                    <a:pt x="50" y="29"/>
                  </a:cubicBezTo>
                  <a:cubicBezTo>
                    <a:pt x="50" y="31"/>
                    <a:pt x="56" y="38"/>
                    <a:pt x="59" y="38"/>
                  </a:cubicBezTo>
                  <a:cubicBezTo>
                    <a:pt x="62" y="38"/>
                    <a:pt x="66" y="31"/>
                    <a:pt x="67" y="30"/>
                  </a:cubicBezTo>
                  <a:cubicBezTo>
                    <a:pt x="71" y="27"/>
                    <a:pt x="71" y="26"/>
                    <a:pt x="78" y="25"/>
                  </a:cubicBezTo>
                  <a:cubicBezTo>
                    <a:pt x="82" y="23"/>
                    <a:pt x="87" y="15"/>
                    <a:pt x="92" y="14"/>
                  </a:cubicBezTo>
                  <a:cubicBezTo>
                    <a:pt x="93" y="17"/>
                    <a:pt x="96" y="16"/>
                    <a:pt x="98" y="17"/>
                  </a:cubicBezTo>
                  <a:cubicBezTo>
                    <a:pt x="103" y="18"/>
                    <a:pt x="106" y="24"/>
                    <a:pt x="109" y="25"/>
                  </a:cubicBezTo>
                  <a:cubicBezTo>
                    <a:pt x="121" y="25"/>
                    <a:pt x="121" y="25"/>
                    <a:pt x="121" y="25"/>
                  </a:cubicBezTo>
                  <a:cubicBezTo>
                    <a:pt x="123" y="27"/>
                    <a:pt x="128" y="29"/>
                    <a:pt x="130" y="29"/>
                  </a:cubicBezTo>
                  <a:cubicBezTo>
                    <a:pt x="130" y="30"/>
                    <a:pt x="130" y="30"/>
                    <a:pt x="130" y="30"/>
                  </a:cubicBezTo>
                  <a:lnTo>
                    <a:pt x="128" y="28"/>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nvGrpSpPr>
            <p:cNvPr id="9" name="Group 361"/>
            <p:cNvGrpSpPr/>
            <p:nvPr/>
          </p:nvGrpSpPr>
          <p:grpSpPr>
            <a:xfrm>
              <a:off x="6275388" y="2917825"/>
              <a:ext cx="966788" cy="806451"/>
              <a:chOff x="6275388" y="2917825"/>
              <a:chExt cx="966788" cy="806451"/>
            </a:xfrm>
            <a:grpFill/>
          </p:grpSpPr>
          <p:sp>
            <p:nvSpPr>
              <p:cNvPr id="367" name="Freeform 7"/>
              <p:cNvSpPr/>
              <p:nvPr/>
            </p:nvSpPr>
            <p:spPr bwMode="auto">
              <a:xfrm>
                <a:off x="6623050" y="2968625"/>
                <a:ext cx="11113" cy="25400"/>
              </a:xfrm>
              <a:custGeom>
                <a:avLst/>
                <a:gdLst/>
                <a:ahLst/>
                <a:cxnLst>
                  <a:cxn ang="0">
                    <a:pos x="7" y="0"/>
                  </a:cxn>
                  <a:cxn ang="0">
                    <a:pos x="8" y="5"/>
                  </a:cxn>
                  <a:cxn ang="0">
                    <a:pos x="5" y="9"/>
                  </a:cxn>
                  <a:cxn ang="0">
                    <a:pos x="2" y="19"/>
                  </a:cxn>
                  <a:cxn ang="0">
                    <a:pos x="0" y="15"/>
                  </a:cxn>
                  <a:cxn ang="0">
                    <a:pos x="4" y="8"/>
                  </a:cxn>
                  <a:cxn ang="0">
                    <a:pos x="7" y="0"/>
                  </a:cxn>
                </a:cxnLst>
                <a:rect l="0" t="0" r="r" b="b"/>
                <a:pathLst>
                  <a:path w="8" h="19">
                    <a:moveTo>
                      <a:pt x="7" y="0"/>
                    </a:moveTo>
                    <a:cubicBezTo>
                      <a:pt x="7" y="4"/>
                      <a:pt x="8" y="2"/>
                      <a:pt x="8" y="5"/>
                    </a:cubicBezTo>
                    <a:cubicBezTo>
                      <a:pt x="8" y="8"/>
                      <a:pt x="7" y="9"/>
                      <a:pt x="5" y="9"/>
                    </a:cubicBezTo>
                    <a:cubicBezTo>
                      <a:pt x="5" y="14"/>
                      <a:pt x="6" y="19"/>
                      <a:pt x="2" y="19"/>
                    </a:cubicBezTo>
                    <a:cubicBezTo>
                      <a:pt x="1" y="19"/>
                      <a:pt x="0" y="16"/>
                      <a:pt x="0" y="15"/>
                    </a:cubicBezTo>
                    <a:cubicBezTo>
                      <a:pt x="0" y="11"/>
                      <a:pt x="4" y="10"/>
                      <a:pt x="4" y="8"/>
                    </a:cubicBezTo>
                    <a:cubicBezTo>
                      <a:pt x="4" y="4"/>
                      <a:pt x="3" y="0"/>
                      <a:pt x="7"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68" name="Freeform 8"/>
              <p:cNvSpPr/>
              <p:nvPr/>
            </p:nvSpPr>
            <p:spPr bwMode="auto">
              <a:xfrm>
                <a:off x="6867525" y="2944813"/>
                <a:ext cx="65088" cy="38100"/>
              </a:xfrm>
              <a:custGeom>
                <a:avLst/>
                <a:gdLst/>
                <a:ahLst/>
                <a:cxnLst>
                  <a:cxn ang="0">
                    <a:pos x="13" y="27"/>
                  </a:cxn>
                  <a:cxn ang="0">
                    <a:pos x="0" y="18"/>
                  </a:cxn>
                  <a:cxn ang="0">
                    <a:pos x="13" y="18"/>
                  </a:cxn>
                  <a:cxn ang="0">
                    <a:pos x="18" y="17"/>
                  </a:cxn>
                  <a:cxn ang="0">
                    <a:pos x="35" y="13"/>
                  </a:cxn>
                  <a:cxn ang="0">
                    <a:pos x="45" y="0"/>
                  </a:cxn>
                  <a:cxn ang="0">
                    <a:pos x="49" y="7"/>
                  </a:cxn>
                  <a:cxn ang="0">
                    <a:pos x="40" y="22"/>
                  </a:cxn>
                  <a:cxn ang="0">
                    <a:pos x="19" y="29"/>
                  </a:cxn>
                  <a:cxn ang="0">
                    <a:pos x="11" y="25"/>
                  </a:cxn>
                  <a:cxn ang="0">
                    <a:pos x="13" y="27"/>
                  </a:cxn>
                </a:cxnLst>
                <a:rect l="0" t="0" r="r" b="b"/>
                <a:pathLst>
                  <a:path w="49" h="29">
                    <a:moveTo>
                      <a:pt x="13" y="27"/>
                    </a:moveTo>
                    <a:cubicBezTo>
                      <a:pt x="9" y="22"/>
                      <a:pt x="1" y="24"/>
                      <a:pt x="0" y="18"/>
                    </a:cubicBezTo>
                    <a:cubicBezTo>
                      <a:pt x="13" y="18"/>
                      <a:pt x="13" y="18"/>
                      <a:pt x="13" y="18"/>
                    </a:cubicBezTo>
                    <a:cubicBezTo>
                      <a:pt x="14" y="18"/>
                      <a:pt x="18" y="17"/>
                      <a:pt x="18" y="17"/>
                    </a:cubicBezTo>
                    <a:cubicBezTo>
                      <a:pt x="25" y="14"/>
                      <a:pt x="31" y="15"/>
                      <a:pt x="35" y="13"/>
                    </a:cubicBezTo>
                    <a:cubicBezTo>
                      <a:pt x="41" y="10"/>
                      <a:pt x="39" y="0"/>
                      <a:pt x="45" y="0"/>
                    </a:cubicBezTo>
                    <a:cubicBezTo>
                      <a:pt x="48" y="0"/>
                      <a:pt x="49" y="4"/>
                      <a:pt x="49" y="7"/>
                    </a:cubicBezTo>
                    <a:cubicBezTo>
                      <a:pt x="49" y="16"/>
                      <a:pt x="40" y="14"/>
                      <a:pt x="40" y="22"/>
                    </a:cubicBezTo>
                    <a:cubicBezTo>
                      <a:pt x="32" y="24"/>
                      <a:pt x="28" y="29"/>
                      <a:pt x="19" y="29"/>
                    </a:cubicBezTo>
                    <a:cubicBezTo>
                      <a:pt x="17" y="29"/>
                      <a:pt x="11" y="26"/>
                      <a:pt x="11" y="25"/>
                    </a:cubicBezTo>
                    <a:lnTo>
                      <a:pt x="13" y="27"/>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69" name="Freeform 10"/>
              <p:cNvSpPr/>
              <p:nvPr/>
            </p:nvSpPr>
            <p:spPr bwMode="auto">
              <a:xfrm>
                <a:off x="6911975" y="2917825"/>
                <a:ext cx="34925" cy="34925"/>
              </a:xfrm>
              <a:custGeom>
                <a:avLst/>
                <a:gdLst/>
                <a:ahLst/>
                <a:cxnLst>
                  <a:cxn ang="0">
                    <a:pos x="23" y="25"/>
                  </a:cxn>
                  <a:cxn ang="0">
                    <a:pos x="19" y="17"/>
                  </a:cxn>
                  <a:cxn ang="0">
                    <a:pos x="8" y="6"/>
                  </a:cxn>
                  <a:cxn ang="0">
                    <a:pos x="0" y="0"/>
                  </a:cxn>
                  <a:cxn ang="0">
                    <a:pos x="18" y="13"/>
                  </a:cxn>
                  <a:cxn ang="0">
                    <a:pos x="26" y="22"/>
                  </a:cxn>
                  <a:cxn ang="0">
                    <a:pos x="26" y="25"/>
                  </a:cxn>
                  <a:cxn ang="0">
                    <a:pos x="23" y="25"/>
                  </a:cxn>
                </a:cxnLst>
                <a:rect l="0" t="0" r="r" b="b"/>
                <a:pathLst>
                  <a:path w="26" h="26">
                    <a:moveTo>
                      <a:pt x="23" y="25"/>
                    </a:moveTo>
                    <a:cubicBezTo>
                      <a:pt x="18" y="24"/>
                      <a:pt x="18" y="21"/>
                      <a:pt x="19" y="17"/>
                    </a:cubicBezTo>
                    <a:cubicBezTo>
                      <a:pt x="13" y="14"/>
                      <a:pt x="14" y="9"/>
                      <a:pt x="8" y="6"/>
                    </a:cubicBezTo>
                    <a:cubicBezTo>
                      <a:pt x="5" y="4"/>
                      <a:pt x="2" y="4"/>
                      <a:pt x="0" y="0"/>
                    </a:cubicBezTo>
                    <a:cubicBezTo>
                      <a:pt x="9" y="3"/>
                      <a:pt x="13" y="8"/>
                      <a:pt x="18" y="13"/>
                    </a:cubicBezTo>
                    <a:cubicBezTo>
                      <a:pt x="21" y="17"/>
                      <a:pt x="26" y="16"/>
                      <a:pt x="26" y="22"/>
                    </a:cubicBezTo>
                    <a:cubicBezTo>
                      <a:pt x="26" y="23"/>
                      <a:pt x="26" y="24"/>
                      <a:pt x="26" y="25"/>
                    </a:cubicBezTo>
                    <a:cubicBezTo>
                      <a:pt x="25" y="25"/>
                      <a:pt x="24" y="26"/>
                      <a:pt x="23" y="2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0" name="Freeform 11"/>
              <p:cNvSpPr/>
              <p:nvPr/>
            </p:nvSpPr>
            <p:spPr bwMode="auto">
              <a:xfrm>
                <a:off x="6972300" y="2967038"/>
                <a:ext cx="17463" cy="20638"/>
              </a:xfrm>
              <a:custGeom>
                <a:avLst/>
                <a:gdLst/>
                <a:ahLst/>
                <a:cxnLst>
                  <a:cxn ang="0">
                    <a:pos x="7" y="9"/>
                  </a:cxn>
                  <a:cxn ang="0">
                    <a:pos x="1" y="0"/>
                  </a:cxn>
                  <a:cxn ang="0">
                    <a:pos x="13" y="12"/>
                  </a:cxn>
                  <a:cxn ang="0">
                    <a:pos x="10" y="16"/>
                  </a:cxn>
                  <a:cxn ang="0">
                    <a:pos x="7" y="13"/>
                  </a:cxn>
                  <a:cxn ang="0">
                    <a:pos x="7" y="9"/>
                  </a:cxn>
                </a:cxnLst>
                <a:rect l="0" t="0" r="r" b="b"/>
                <a:pathLst>
                  <a:path w="13" h="16">
                    <a:moveTo>
                      <a:pt x="7" y="9"/>
                    </a:moveTo>
                    <a:cubicBezTo>
                      <a:pt x="2" y="9"/>
                      <a:pt x="0" y="4"/>
                      <a:pt x="1" y="0"/>
                    </a:cubicBezTo>
                    <a:cubicBezTo>
                      <a:pt x="4" y="1"/>
                      <a:pt x="13" y="11"/>
                      <a:pt x="13" y="12"/>
                    </a:cubicBezTo>
                    <a:cubicBezTo>
                      <a:pt x="13" y="14"/>
                      <a:pt x="11" y="16"/>
                      <a:pt x="10" y="16"/>
                    </a:cubicBezTo>
                    <a:cubicBezTo>
                      <a:pt x="9" y="16"/>
                      <a:pt x="7" y="14"/>
                      <a:pt x="7" y="13"/>
                    </a:cubicBezTo>
                    <a:cubicBezTo>
                      <a:pt x="7" y="12"/>
                      <a:pt x="7" y="11"/>
                      <a:pt x="7" y="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1" name="Freeform 12"/>
              <p:cNvSpPr/>
              <p:nvPr/>
            </p:nvSpPr>
            <p:spPr bwMode="auto">
              <a:xfrm>
                <a:off x="7086600" y="3046413"/>
                <a:ext cx="9525" cy="11113"/>
              </a:xfrm>
              <a:custGeom>
                <a:avLst/>
                <a:gdLst/>
                <a:ahLst/>
                <a:cxnLst>
                  <a:cxn ang="0">
                    <a:pos x="7" y="6"/>
                  </a:cxn>
                  <a:cxn ang="0">
                    <a:pos x="7" y="9"/>
                  </a:cxn>
                  <a:cxn ang="0">
                    <a:pos x="0" y="0"/>
                  </a:cxn>
                  <a:cxn ang="0">
                    <a:pos x="7" y="6"/>
                  </a:cxn>
                </a:cxnLst>
                <a:rect l="0" t="0" r="r" b="b"/>
                <a:pathLst>
                  <a:path w="7" h="9">
                    <a:moveTo>
                      <a:pt x="7" y="6"/>
                    </a:moveTo>
                    <a:cubicBezTo>
                      <a:pt x="7" y="7"/>
                      <a:pt x="7" y="8"/>
                      <a:pt x="7" y="9"/>
                    </a:cubicBezTo>
                    <a:cubicBezTo>
                      <a:pt x="3" y="9"/>
                      <a:pt x="0" y="2"/>
                      <a:pt x="0" y="0"/>
                    </a:cubicBezTo>
                    <a:cubicBezTo>
                      <a:pt x="4" y="2"/>
                      <a:pt x="7" y="3"/>
                      <a:pt x="7" y="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2" name="Freeform 13"/>
              <p:cNvSpPr/>
              <p:nvPr/>
            </p:nvSpPr>
            <p:spPr bwMode="auto">
              <a:xfrm>
                <a:off x="7061200" y="3036888"/>
                <a:ext cx="20638" cy="9525"/>
              </a:xfrm>
              <a:custGeom>
                <a:avLst/>
                <a:gdLst/>
                <a:ahLst/>
                <a:cxnLst>
                  <a:cxn ang="0">
                    <a:pos x="15" y="6"/>
                  </a:cxn>
                  <a:cxn ang="0">
                    <a:pos x="12" y="7"/>
                  </a:cxn>
                  <a:cxn ang="0">
                    <a:pos x="0" y="0"/>
                  </a:cxn>
                  <a:cxn ang="0">
                    <a:pos x="15" y="6"/>
                  </a:cxn>
                </a:cxnLst>
                <a:rect l="0" t="0" r="r" b="b"/>
                <a:pathLst>
                  <a:path w="15" h="7">
                    <a:moveTo>
                      <a:pt x="15" y="6"/>
                    </a:moveTo>
                    <a:cubicBezTo>
                      <a:pt x="14" y="6"/>
                      <a:pt x="13" y="7"/>
                      <a:pt x="12" y="7"/>
                    </a:cubicBezTo>
                    <a:cubicBezTo>
                      <a:pt x="7" y="7"/>
                      <a:pt x="0" y="5"/>
                      <a:pt x="0" y="0"/>
                    </a:cubicBezTo>
                    <a:cubicBezTo>
                      <a:pt x="7" y="0"/>
                      <a:pt x="11" y="1"/>
                      <a:pt x="15" y="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3" name="Freeform 14"/>
              <p:cNvSpPr/>
              <p:nvPr/>
            </p:nvSpPr>
            <p:spPr bwMode="auto">
              <a:xfrm>
                <a:off x="7064375" y="3013075"/>
                <a:ext cx="17463" cy="19050"/>
              </a:xfrm>
              <a:custGeom>
                <a:avLst/>
                <a:gdLst/>
                <a:ahLst/>
                <a:cxnLst>
                  <a:cxn ang="0">
                    <a:pos x="13" y="14"/>
                  </a:cxn>
                  <a:cxn ang="0">
                    <a:pos x="0" y="0"/>
                  </a:cxn>
                  <a:cxn ang="0">
                    <a:pos x="13" y="14"/>
                  </a:cxn>
                </a:cxnLst>
                <a:rect l="0" t="0" r="r" b="b"/>
                <a:pathLst>
                  <a:path w="13" h="14">
                    <a:moveTo>
                      <a:pt x="13" y="14"/>
                    </a:moveTo>
                    <a:cubicBezTo>
                      <a:pt x="9" y="14"/>
                      <a:pt x="1" y="3"/>
                      <a:pt x="0" y="0"/>
                    </a:cubicBezTo>
                    <a:cubicBezTo>
                      <a:pt x="6" y="3"/>
                      <a:pt x="11" y="7"/>
                      <a:pt x="13" y="1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4" name="Freeform 15"/>
              <p:cNvSpPr/>
              <p:nvPr/>
            </p:nvSpPr>
            <p:spPr bwMode="auto">
              <a:xfrm>
                <a:off x="7027863" y="2998788"/>
                <a:ext cx="23813" cy="14288"/>
              </a:xfrm>
              <a:custGeom>
                <a:avLst/>
                <a:gdLst/>
                <a:ahLst/>
                <a:cxnLst>
                  <a:cxn ang="0">
                    <a:pos x="2" y="0"/>
                  </a:cxn>
                  <a:cxn ang="0">
                    <a:pos x="17" y="9"/>
                  </a:cxn>
                  <a:cxn ang="0">
                    <a:pos x="14" y="10"/>
                  </a:cxn>
                  <a:cxn ang="0">
                    <a:pos x="0" y="1"/>
                  </a:cxn>
                  <a:cxn ang="0">
                    <a:pos x="1" y="1"/>
                  </a:cxn>
                  <a:cxn ang="0">
                    <a:pos x="2" y="0"/>
                  </a:cxn>
                </a:cxnLst>
                <a:rect l="0" t="0" r="r" b="b"/>
                <a:pathLst>
                  <a:path w="17" h="10">
                    <a:moveTo>
                      <a:pt x="2" y="0"/>
                    </a:moveTo>
                    <a:cubicBezTo>
                      <a:pt x="6" y="2"/>
                      <a:pt x="15" y="5"/>
                      <a:pt x="17" y="9"/>
                    </a:cubicBezTo>
                    <a:cubicBezTo>
                      <a:pt x="17" y="9"/>
                      <a:pt x="15" y="10"/>
                      <a:pt x="14" y="10"/>
                    </a:cubicBezTo>
                    <a:cubicBezTo>
                      <a:pt x="10" y="10"/>
                      <a:pt x="0" y="6"/>
                      <a:pt x="0" y="1"/>
                    </a:cubicBezTo>
                    <a:cubicBezTo>
                      <a:pt x="1" y="1"/>
                      <a:pt x="1" y="1"/>
                      <a:pt x="1" y="1"/>
                    </a:cubicBezTo>
                    <a:lnTo>
                      <a:pt x="2" y="0"/>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5" name="Freeform 16"/>
              <p:cNvSpPr/>
              <p:nvPr/>
            </p:nvSpPr>
            <p:spPr bwMode="auto">
              <a:xfrm>
                <a:off x="7002463" y="2984500"/>
                <a:ext cx="14288" cy="7938"/>
              </a:xfrm>
              <a:custGeom>
                <a:avLst/>
                <a:gdLst/>
                <a:ahLst/>
                <a:cxnLst>
                  <a:cxn ang="0">
                    <a:pos x="0" y="0"/>
                  </a:cxn>
                  <a:cxn ang="0">
                    <a:pos x="11" y="6"/>
                  </a:cxn>
                  <a:cxn ang="0">
                    <a:pos x="7" y="6"/>
                  </a:cxn>
                  <a:cxn ang="0">
                    <a:pos x="0" y="2"/>
                  </a:cxn>
                  <a:cxn ang="0">
                    <a:pos x="3" y="1"/>
                  </a:cxn>
                  <a:cxn ang="0">
                    <a:pos x="0" y="0"/>
                  </a:cxn>
                </a:cxnLst>
                <a:rect l="0" t="0" r="r" b="b"/>
                <a:pathLst>
                  <a:path w="11" h="6">
                    <a:moveTo>
                      <a:pt x="0" y="0"/>
                    </a:moveTo>
                    <a:cubicBezTo>
                      <a:pt x="5" y="3"/>
                      <a:pt x="8" y="2"/>
                      <a:pt x="11" y="6"/>
                    </a:cubicBezTo>
                    <a:cubicBezTo>
                      <a:pt x="7" y="6"/>
                      <a:pt x="7" y="6"/>
                      <a:pt x="7" y="6"/>
                    </a:cubicBezTo>
                    <a:cubicBezTo>
                      <a:pt x="0" y="2"/>
                      <a:pt x="0" y="2"/>
                      <a:pt x="0" y="2"/>
                    </a:cubicBezTo>
                    <a:cubicBezTo>
                      <a:pt x="1" y="2"/>
                      <a:pt x="3" y="2"/>
                      <a:pt x="3" y="1"/>
                    </a:cubicBezTo>
                    <a:lnTo>
                      <a:pt x="0" y="0"/>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6" name="Freeform 17"/>
              <p:cNvSpPr/>
              <p:nvPr/>
            </p:nvSpPr>
            <p:spPr bwMode="auto">
              <a:xfrm>
                <a:off x="6800850" y="3594100"/>
                <a:ext cx="63500" cy="65088"/>
              </a:xfrm>
              <a:custGeom>
                <a:avLst/>
                <a:gdLst/>
                <a:ahLst/>
                <a:cxnLst>
                  <a:cxn ang="0">
                    <a:pos x="24" y="7"/>
                  </a:cxn>
                  <a:cxn ang="0">
                    <a:pos x="43" y="3"/>
                  </a:cxn>
                  <a:cxn ang="0">
                    <a:pos x="48" y="16"/>
                  </a:cxn>
                  <a:cxn ang="0">
                    <a:pos x="27" y="49"/>
                  </a:cxn>
                  <a:cxn ang="0">
                    <a:pos x="0" y="7"/>
                  </a:cxn>
                  <a:cxn ang="0">
                    <a:pos x="24" y="7"/>
                  </a:cxn>
                </a:cxnLst>
                <a:rect l="0" t="0" r="r" b="b"/>
                <a:pathLst>
                  <a:path w="48" h="49">
                    <a:moveTo>
                      <a:pt x="24" y="7"/>
                    </a:moveTo>
                    <a:cubicBezTo>
                      <a:pt x="30" y="7"/>
                      <a:pt x="37" y="5"/>
                      <a:pt x="43" y="3"/>
                    </a:cubicBezTo>
                    <a:cubicBezTo>
                      <a:pt x="45" y="8"/>
                      <a:pt x="48" y="11"/>
                      <a:pt x="48" y="16"/>
                    </a:cubicBezTo>
                    <a:cubicBezTo>
                      <a:pt x="48" y="26"/>
                      <a:pt x="36" y="49"/>
                      <a:pt x="27" y="49"/>
                    </a:cubicBezTo>
                    <a:cubicBezTo>
                      <a:pt x="14" y="49"/>
                      <a:pt x="0" y="16"/>
                      <a:pt x="0" y="7"/>
                    </a:cubicBezTo>
                    <a:cubicBezTo>
                      <a:pt x="0" y="0"/>
                      <a:pt x="24" y="7"/>
                      <a:pt x="24" y="7"/>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7" name="Freeform 18"/>
              <p:cNvSpPr/>
              <p:nvPr/>
            </p:nvSpPr>
            <p:spPr bwMode="auto">
              <a:xfrm>
                <a:off x="6275388" y="3057525"/>
                <a:ext cx="676275" cy="509588"/>
              </a:xfrm>
              <a:custGeom>
                <a:avLst/>
                <a:gdLst/>
                <a:ahLst/>
                <a:cxnLst>
                  <a:cxn ang="0">
                    <a:pos x="508" y="232"/>
                  </a:cxn>
                  <a:cxn ang="0">
                    <a:pos x="501" y="272"/>
                  </a:cxn>
                  <a:cxn ang="0">
                    <a:pos x="478" y="312"/>
                  </a:cxn>
                  <a:cxn ang="0">
                    <a:pos x="465" y="351"/>
                  </a:cxn>
                  <a:cxn ang="0">
                    <a:pos x="398" y="370"/>
                  </a:cxn>
                  <a:cxn ang="0">
                    <a:pos x="335" y="350"/>
                  </a:cxn>
                  <a:cxn ang="0">
                    <a:pos x="329" y="330"/>
                  </a:cxn>
                  <a:cxn ang="0">
                    <a:pos x="314" y="333"/>
                  </a:cxn>
                  <a:cxn ang="0">
                    <a:pos x="313" y="315"/>
                  </a:cxn>
                  <a:cxn ang="0">
                    <a:pos x="301" y="329"/>
                  </a:cxn>
                  <a:cxn ang="0">
                    <a:pos x="310" y="292"/>
                  </a:cxn>
                  <a:cxn ang="0">
                    <a:pos x="278" y="315"/>
                  </a:cxn>
                  <a:cxn ang="0">
                    <a:pos x="214" y="276"/>
                  </a:cxn>
                  <a:cxn ang="0">
                    <a:pos x="131" y="308"/>
                  </a:cxn>
                  <a:cxn ang="0">
                    <a:pos x="93" y="311"/>
                  </a:cxn>
                  <a:cxn ang="0">
                    <a:pos x="22" y="310"/>
                  </a:cxn>
                  <a:cxn ang="0">
                    <a:pos x="23" y="262"/>
                  </a:cxn>
                  <a:cxn ang="0">
                    <a:pos x="2" y="204"/>
                  </a:cxn>
                  <a:cxn ang="0">
                    <a:pos x="9" y="204"/>
                  </a:cxn>
                  <a:cxn ang="0">
                    <a:pos x="3" y="176"/>
                  </a:cxn>
                  <a:cxn ang="0">
                    <a:pos x="8" y="145"/>
                  </a:cxn>
                  <a:cxn ang="0">
                    <a:pos x="32" y="132"/>
                  </a:cxn>
                  <a:cxn ang="0">
                    <a:pos x="114" y="95"/>
                  </a:cxn>
                  <a:cxn ang="0">
                    <a:pos x="119" y="76"/>
                  </a:cxn>
                  <a:cxn ang="0">
                    <a:pos x="131" y="71"/>
                  </a:cxn>
                  <a:cxn ang="0">
                    <a:pos x="150" y="50"/>
                  </a:cxn>
                  <a:cxn ang="0">
                    <a:pos x="187" y="58"/>
                  </a:cxn>
                  <a:cxn ang="0">
                    <a:pos x="203" y="56"/>
                  </a:cxn>
                  <a:cxn ang="0">
                    <a:pos x="211" y="30"/>
                  </a:cxn>
                  <a:cxn ang="0">
                    <a:pos x="244" y="17"/>
                  </a:cxn>
                  <a:cxn ang="0">
                    <a:pos x="276" y="19"/>
                  </a:cxn>
                  <a:cxn ang="0">
                    <a:pos x="297" y="23"/>
                  </a:cxn>
                  <a:cxn ang="0">
                    <a:pos x="281" y="54"/>
                  </a:cxn>
                  <a:cxn ang="0">
                    <a:pos x="295" y="68"/>
                  </a:cxn>
                  <a:cxn ang="0">
                    <a:pos x="341" y="90"/>
                  </a:cxn>
                  <a:cxn ang="0">
                    <a:pos x="359" y="15"/>
                  </a:cxn>
                  <a:cxn ang="0">
                    <a:pos x="381" y="28"/>
                  </a:cxn>
                  <a:cxn ang="0">
                    <a:pos x="400" y="50"/>
                  </a:cxn>
                  <a:cxn ang="0">
                    <a:pos x="419" y="104"/>
                  </a:cxn>
                  <a:cxn ang="0">
                    <a:pos x="457" y="146"/>
                  </a:cxn>
                  <a:cxn ang="0">
                    <a:pos x="497" y="185"/>
                  </a:cxn>
                </a:cxnLst>
                <a:rect l="0" t="0" r="r" b="b"/>
                <a:pathLst>
                  <a:path w="508" h="383">
                    <a:moveTo>
                      <a:pt x="496" y="186"/>
                    </a:moveTo>
                    <a:cubicBezTo>
                      <a:pt x="503" y="195"/>
                      <a:pt x="508" y="219"/>
                      <a:pt x="508" y="232"/>
                    </a:cubicBezTo>
                    <a:cubicBezTo>
                      <a:pt x="508" y="242"/>
                      <a:pt x="505" y="256"/>
                      <a:pt x="501" y="260"/>
                    </a:cubicBezTo>
                    <a:cubicBezTo>
                      <a:pt x="501" y="272"/>
                      <a:pt x="501" y="272"/>
                      <a:pt x="501" y="272"/>
                    </a:cubicBezTo>
                    <a:cubicBezTo>
                      <a:pt x="499" y="276"/>
                      <a:pt x="500" y="277"/>
                      <a:pt x="498" y="281"/>
                    </a:cubicBezTo>
                    <a:cubicBezTo>
                      <a:pt x="490" y="293"/>
                      <a:pt x="482" y="298"/>
                      <a:pt x="478" y="312"/>
                    </a:cubicBezTo>
                    <a:cubicBezTo>
                      <a:pt x="474" y="322"/>
                      <a:pt x="465" y="336"/>
                      <a:pt x="465" y="352"/>
                    </a:cubicBezTo>
                    <a:cubicBezTo>
                      <a:pt x="465" y="351"/>
                      <a:pt x="465" y="351"/>
                      <a:pt x="465" y="351"/>
                    </a:cubicBezTo>
                    <a:cubicBezTo>
                      <a:pt x="460" y="371"/>
                      <a:pt x="424" y="362"/>
                      <a:pt x="420" y="383"/>
                    </a:cubicBezTo>
                    <a:cubicBezTo>
                      <a:pt x="417" y="382"/>
                      <a:pt x="399" y="372"/>
                      <a:pt x="398" y="370"/>
                    </a:cubicBezTo>
                    <a:cubicBezTo>
                      <a:pt x="388" y="371"/>
                      <a:pt x="392" y="379"/>
                      <a:pt x="381" y="379"/>
                    </a:cubicBezTo>
                    <a:cubicBezTo>
                      <a:pt x="363" y="379"/>
                      <a:pt x="335" y="368"/>
                      <a:pt x="335" y="350"/>
                    </a:cubicBezTo>
                    <a:cubicBezTo>
                      <a:pt x="335" y="343"/>
                      <a:pt x="329" y="338"/>
                      <a:pt x="329" y="332"/>
                    </a:cubicBezTo>
                    <a:cubicBezTo>
                      <a:pt x="329" y="332"/>
                      <a:pt x="329" y="330"/>
                      <a:pt x="329" y="330"/>
                    </a:cubicBezTo>
                    <a:cubicBezTo>
                      <a:pt x="325" y="332"/>
                      <a:pt x="323" y="332"/>
                      <a:pt x="320" y="333"/>
                    </a:cubicBezTo>
                    <a:cubicBezTo>
                      <a:pt x="314" y="333"/>
                      <a:pt x="314" y="333"/>
                      <a:pt x="314" y="333"/>
                    </a:cubicBezTo>
                    <a:cubicBezTo>
                      <a:pt x="316" y="330"/>
                      <a:pt x="318" y="328"/>
                      <a:pt x="318" y="323"/>
                    </a:cubicBezTo>
                    <a:cubicBezTo>
                      <a:pt x="318" y="318"/>
                      <a:pt x="315" y="316"/>
                      <a:pt x="313" y="315"/>
                    </a:cubicBezTo>
                    <a:cubicBezTo>
                      <a:pt x="313" y="316"/>
                      <a:pt x="312" y="318"/>
                      <a:pt x="312" y="319"/>
                    </a:cubicBezTo>
                    <a:cubicBezTo>
                      <a:pt x="308" y="321"/>
                      <a:pt x="308" y="329"/>
                      <a:pt x="301" y="329"/>
                    </a:cubicBezTo>
                    <a:cubicBezTo>
                      <a:pt x="299" y="329"/>
                      <a:pt x="297" y="326"/>
                      <a:pt x="297" y="324"/>
                    </a:cubicBezTo>
                    <a:cubicBezTo>
                      <a:pt x="308" y="322"/>
                      <a:pt x="310" y="299"/>
                      <a:pt x="310" y="292"/>
                    </a:cubicBezTo>
                    <a:cubicBezTo>
                      <a:pt x="302" y="300"/>
                      <a:pt x="291" y="323"/>
                      <a:pt x="281" y="323"/>
                    </a:cubicBezTo>
                    <a:cubicBezTo>
                      <a:pt x="276" y="323"/>
                      <a:pt x="278" y="315"/>
                      <a:pt x="278" y="315"/>
                    </a:cubicBezTo>
                    <a:cubicBezTo>
                      <a:pt x="275" y="315"/>
                      <a:pt x="265" y="294"/>
                      <a:pt x="262" y="289"/>
                    </a:cubicBezTo>
                    <a:cubicBezTo>
                      <a:pt x="254" y="280"/>
                      <a:pt x="228" y="276"/>
                      <a:pt x="214" y="276"/>
                    </a:cubicBezTo>
                    <a:cubicBezTo>
                      <a:pt x="198" y="276"/>
                      <a:pt x="195" y="283"/>
                      <a:pt x="185" y="286"/>
                    </a:cubicBezTo>
                    <a:cubicBezTo>
                      <a:pt x="163" y="293"/>
                      <a:pt x="135" y="285"/>
                      <a:pt x="131" y="308"/>
                    </a:cubicBezTo>
                    <a:cubicBezTo>
                      <a:pt x="122" y="309"/>
                      <a:pt x="115" y="311"/>
                      <a:pt x="105" y="311"/>
                    </a:cubicBezTo>
                    <a:cubicBezTo>
                      <a:pt x="98" y="307"/>
                      <a:pt x="98" y="311"/>
                      <a:pt x="93" y="311"/>
                    </a:cubicBezTo>
                    <a:cubicBezTo>
                      <a:pt x="77" y="311"/>
                      <a:pt x="71" y="326"/>
                      <a:pt x="51" y="326"/>
                    </a:cubicBezTo>
                    <a:cubicBezTo>
                      <a:pt x="43" y="326"/>
                      <a:pt x="22" y="316"/>
                      <a:pt x="22" y="310"/>
                    </a:cubicBezTo>
                    <a:cubicBezTo>
                      <a:pt x="22" y="303"/>
                      <a:pt x="32" y="300"/>
                      <a:pt x="32" y="290"/>
                    </a:cubicBezTo>
                    <a:cubicBezTo>
                      <a:pt x="32" y="277"/>
                      <a:pt x="26" y="270"/>
                      <a:pt x="23" y="262"/>
                    </a:cubicBezTo>
                    <a:cubicBezTo>
                      <a:pt x="18" y="243"/>
                      <a:pt x="17" y="237"/>
                      <a:pt x="11" y="220"/>
                    </a:cubicBezTo>
                    <a:cubicBezTo>
                      <a:pt x="9" y="213"/>
                      <a:pt x="0" y="211"/>
                      <a:pt x="2" y="204"/>
                    </a:cubicBezTo>
                    <a:cubicBezTo>
                      <a:pt x="3" y="202"/>
                      <a:pt x="3" y="201"/>
                      <a:pt x="5" y="198"/>
                    </a:cubicBezTo>
                    <a:cubicBezTo>
                      <a:pt x="6" y="201"/>
                      <a:pt x="7" y="203"/>
                      <a:pt x="9" y="204"/>
                    </a:cubicBezTo>
                    <a:cubicBezTo>
                      <a:pt x="10" y="202"/>
                      <a:pt x="9" y="201"/>
                      <a:pt x="9" y="198"/>
                    </a:cubicBezTo>
                    <a:cubicBezTo>
                      <a:pt x="9" y="192"/>
                      <a:pt x="3" y="187"/>
                      <a:pt x="3" y="176"/>
                    </a:cubicBezTo>
                    <a:cubicBezTo>
                      <a:pt x="3" y="162"/>
                      <a:pt x="3" y="161"/>
                      <a:pt x="3" y="150"/>
                    </a:cubicBezTo>
                    <a:cubicBezTo>
                      <a:pt x="3" y="146"/>
                      <a:pt x="7" y="146"/>
                      <a:pt x="8" y="145"/>
                    </a:cubicBezTo>
                    <a:cubicBezTo>
                      <a:pt x="9" y="146"/>
                      <a:pt x="9" y="148"/>
                      <a:pt x="9" y="149"/>
                    </a:cubicBezTo>
                    <a:cubicBezTo>
                      <a:pt x="17" y="148"/>
                      <a:pt x="27" y="137"/>
                      <a:pt x="32" y="132"/>
                    </a:cubicBezTo>
                    <a:cubicBezTo>
                      <a:pt x="37" y="127"/>
                      <a:pt x="53" y="126"/>
                      <a:pt x="62" y="125"/>
                    </a:cubicBezTo>
                    <a:cubicBezTo>
                      <a:pt x="78" y="122"/>
                      <a:pt x="114" y="110"/>
                      <a:pt x="114" y="95"/>
                    </a:cubicBezTo>
                    <a:cubicBezTo>
                      <a:pt x="114" y="92"/>
                      <a:pt x="114" y="90"/>
                      <a:pt x="114" y="87"/>
                    </a:cubicBezTo>
                    <a:cubicBezTo>
                      <a:pt x="114" y="83"/>
                      <a:pt x="115" y="79"/>
                      <a:pt x="119" y="76"/>
                    </a:cubicBezTo>
                    <a:cubicBezTo>
                      <a:pt x="122" y="80"/>
                      <a:pt x="124" y="82"/>
                      <a:pt x="126" y="85"/>
                    </a:cubicBezTo>
                    <a:cubicBezTo>
                      <a:pt x="131" y="82"/>
                      <a:pt x="129" y="75"/>
                      <a:pt x="131" y="71"/>
                    </a:cubicBezTo>
                    <a:cubicBezTo>
                      <a:pt x="134" y="72"/>
                      <a:pt x="137" y="74"/>
                      <a:pt x="140" y="74"/>
                    </a:cubicBezTo>
                    <a:cubicBezTo>
                      <a:pt x="140" y="62"/>
                      <a:pt x="149" y="60"/>
                      <a:pt x="150" y="50"/>
                    </a:cubicBezTo>
                    <a:cubicBezTo>
                      <a:pt x="162" y="50"/>
                      <a:pt x="164" y="41"/>
                      <a:pt x="173" y="41"/>
                    </a:cubicBezTo>
                    <a:cubicBezTo>
                      <a:pt x="181" y="41"/>
                      <a:pt x="186" y="50"/>
                      <a:pt x="187" y="58"/>
                    </a:cubicBezTo>
                    <a:cubicBezTo>
                      <a:pt x="189" y="55"/>
                      <a:pt x="192" y="53"/>
                      <a:pt x="196" y="53"/>
                    </a:cubicBezTo>
                    <a:cubicBezTo>
                      <a:pt x="198" y="53"/>
                      <a:pt x="202" y="56"/>
                      <a:pt x="203" y="56"/>
                    </a:cubicBezTo>
                    <a:cubicBezTo>
                      <a:pt x="205" y="52"/>
                      <a:pt x="204" y="49"/>
                      <a:pt x="204" y="45"/>
                    </a:cubicBezTo>
                    <a:cubicBezTo>
                      <a:pt x="204" y="39"/>
                      <a:pt x="211" y="36"/>
                      <a:pt x="211" y="30"/>
                    </a:cubicBezTo>
                    <a:cubicBezTo>
                      <a:pt x="211" y="24"/>
                      <a:pt x="228" y="20"/>
                      <a:pt x="236" y="20"/>
                    </a:cubicBezTo>
                    <a:cubicBezTo>
                      <a:pt x="239" y="20"/>
                      <a:pt x="243" y="17"/>
                      <a:pt x="244" y="17"/>
                    </a:cubicBezTo>
                    <a:cubicBezTo>
                      <a:pt x="241" y="13"/>
                      <a:pt x="237" y="11"/>
                      <a:pt x="236" y="7"/>
                    </a:cubicBezTo>
                    <a:cubicBezTo>
                      <a:pt x="251" y="13"/>
                      <a:pt x="260" y="19"/>
                      <a:pt x="276" y="19"/>
                    </a:cubicBezTo>
                    <a:cubicBezTo>
                      <a:pt x="281" y="19"/>
                      <a:pt x="283" y="15"/>
                      <a:pt x="288" y="15"/>
                    </a:cubicBezTo>
                    <a:cubicBezTo>
                      <a:pt x="291" y="15"/>
                      <a:pt x="297" y="20"/>
                      <a:pt x="297" y="23"/>
                    </a:cubicBezTo>
                    <a:cubicBezTo>
                      <a:pt x="297" y="29"/>
                      <a:pt x="290" y="30"/>
                      <a:pt x="287" y="32"/>
                    </a:cubicBezTo>
                    <a:cubicBezTo>
                      <a:pt x="281" y="54"/>
                      <a:pt x="281" y="54"/>
                      <a:pt x="281" y="54"/>
                    </a:cubicBezTo>
                    <a:cubicBezTo>
                      <a:pt x="281" y="58"/>
                      <a:pt x="288" y="57"/>
                      <a:pt x="290" y="59"/>
                    </a:cubicBezTo>
                    <a:cubicBezTo>
                      <a:pt x="293" y="60"/>
                      <a:pt x="293" y="67"/>
                      <a:pt x="295" y="68"/>
                    </a:cubicBezTo>
                    <a:cubicBezTo>
                      <a:pt x="306" y="72"/>
                      <a:pt x="313" y="74"/>
                      <a:pt x="324" y="79"/>
                    </a:cubicBezTo>
                    <a:cubicBezTo>
                      <a:pt x="330" y="81"/>
                      <a:pt x="333" y="90"/>
                      <a:pt x="341" y="90"/>
                    </a:cubicBezTo>
                    <a:cubicBezTo>
                      <a:pt x="355" y="90"/>
                      <a:pt x="357" y="64"/>
                      <a:pt x="359" y="54"/>
                    </a:cubicBezTo>
                    <a:cubicBezTo>
                      <a:pt x="359" y="15"/>
                      <a:pt x="359" y="15"/>
                      <a:pt x="359" y="15"/>
                    </a:cubicBezTo>
                    <a:cubicBezTo>
                      <a:pt x="366" y="9"/>
                      <a:pt x="364" y="4"/>
                      <a:pt x="372" y="0"/>
                    </a:cubicBezTo>
                    <a:cubicBezTo>
                      <a:pt x="373" y="11"/>
                      <a:pt x="379" y="19"/>
                      <a:pt x="381" y="28"/>
                    </a:cubicBezTo>
                    <a:cubicBezTo>
                      <a:pt x="383" y="34"/>
                      <a:pt x="381" y="42"/>
                      <a:pt x="386" y="45"/>
                    </a:cubicBezTo>
                    <a:cubicBezTo>
                      <a:pt x="390" y="47"/>
                      <a:pt x="399" y="49"/>
                      <a:pt x="400" y="50"/>
                    </a:cubicBezTo>
                    <a:cubicBezTo>
                      <a:pt x="406" y="54"/>
                      <a:pt x="406" y="68"/>
                      <a:pt x="408" y="75"/>
                    </a:cubicBezTo>
                    <a:cubicBezTo>
                      <a:pt x="412" y="87"/>
                      <a:pt x="415" y="93"/>
                      <a:pt x="419" y="104"/>
                    </a:cubicBezTo>
                    <a:cubicBezTo>
                      <a:pt x="422" y="114"/>
                      <a:pt x="441" y="118"/>
                      <a:pt x="449" y="126"/>
                    </a:cubicBezTo>
                    <a:cubicBezTo>
                      <a:pt x="454" y="131"/>
                      <a:pt x="455" y="139"/>
                      <a:pt x="457" y="146"/>
                    </a:cubicBezTo>
                    <a:cubicBezTo>
                      <a:pt x="459" y="151"/>
                      <a:pt x="466" y="151"/>
                      <a:pt x="471" y="151"/>
                    </a:cubicBezTo>
                    <a:cubicBezTo>
                      <a:pt x="471" y="169"/>
                      <a:pt x="488" y="176"/>
                      <a:pt x="497" y="185"/>
                    </a:cubicBezTo>
                    <a:lnTo>
                      <a:pt x="496" y="186"/>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8" name="Freeform 19"/>
              <p:cNvSpPr/>
              <p:nvPr/>
            </p:nvSpPr>
            <p:spPr bwMode="auto">
              <a:xfrm>
                <a:off x="7043738" y="3598863"/>
                <a:ext cx="127000" cy="125413"/>
              </a:xfrm>
              <a:custGeom>
                <a:avLst/>
                <a:gdLst/>
                <a:ahLst/>
                <a:cxnLst>
                  <a:cxn ang="0">
                    <a:pos x="58" y="26"/>
                  </a:cxn>
                  <a:cxn ang="0">
                    <a:pos x="59" y="22"/>
                  </a:cxn>
                  <a:cxn ang="0">
                    <a:pos x="67" y="17"/>
                  </a:cxn>
                  <a:cxn ang="0">
                    <a:pos x="67" y="14"/>
                  </a:cxn>
                  <a:cxn ang="0">
                    <a:pos x="78" y="0"/>
                  </a:cxn>
                  <a:cxn ang="0">
                    <a:pos x="81" y="4"/>
                  </a:cxn>
                  <a:cxn ang="0">
                    <a:pos x="83" y="10"/>
                  </a:cxn>
                  <a:cxn ang="0">
                    <a:pos x="90" y="6"/>
                  </a:cxn>
                  <a:cxn ang="0">
                    <a:pos x="94" y="8"/>
                  </a:cxn>
                  <a:cxn ang="0">
                    <a:pos x="96" y="15"/>
                  </a:cxn>
                  <a:cxn ang="0">
                    <a:pos x="79" y="37"/>
                  </a:cxn>
                  <a:cxn ang="0">
                    <a:pos x="79" y="50"/>
                  </a:cxn>
                  <a:cxn ang="0">
                    <a:pos x="63" y="53"/>
                  </a:cxn>
                  <a:cxn ang="0">
                    <a:pos x="49" y="84"/>
                  </a:cxn>
                  <a:cxn ang="0">
                    <a:pos x="32" y="94"/>
                  </a:cxn>
                  <a:cxn ang="0">
                    <a:pos x="23" y="92"/>
                  </a:cxn>
                  <a:cxn ang="0">
                    <a:pos x="3" y="83"/>
                  </a:cxn>
                  <a:cxn ang="0">
                    <a:pos x="0" y="81"/>
                  </a:cxn>
                  <a:cxn ang="0">
                    <a:pos x="18" y="57"/>
                  </a:cxn>
                  <a:cxn ang="0">
                    <a:pos x="25" y="51"/>
                  </a:cxn>
                  <a:cxn ang="0">
                    <a:pos x="50" y="37"/>
                  </a:cxn>
                  <a:cxn ang="0">
                    <a:pos x="58" y="26"/>
                  </a:cxn>
                </a:cxnLst>
                <a:rect l="0" t="0" r="r" b="b"/>
                <a:pathLst>
                  <a:path w="96" h="94">
                    <a:moveTo>
                      <a:pt x="58" y="26"/>
                    </a:moveTo>
                    <a:cubicBezTo>
                      <a:pt x="58" y="26"/>
                      <a:pt x="58" y="23"/>
                      <a:pt x="59" y="22"/>
                    </a:cubicBezTo>
                    <a:cubicBezTo>
                      <a:pt x="60" y="18"/>
                      <a:pt x="63" y="17"/>
                      <a:pt x="67" y="17"/>
                    </a:cubicBezTo>
                    <a:cubicBezTo>
                      <a:pt x="67" y="16"/>
                      <a:pt x="67" y="15"/>
                      <a:pt x="67" y="14"/>
                    </a:cubicBezTo>
                    <a:cubicBezTo>
                      <a:pt x="67" y="8"/>
                      <a:pt x="74" y="2"/>
                      <a:pt x="78" y="0"/>
                    </a:cubicBezTo>
                    <a:cubicBezTo>
                      <a:pt x="78" y="3"/>
                      <a:pt x="79" y="4"/>
                      <a:pt x="81" y="4"/>
                    </a:cubicBezTo>
                    <a:cubicBezTo>
                      <a:pt x="81" y="7"/>
                      <a:pt x="80" y="10"/>
                      <a:pt x="83" y="10"/>
                    </a:cubicBezTo>
                    <a:cubicBezTo>
                      <a:pt x="86" y="10"/>
                      <a:pt x="88" y="7"/>
                      <a:pt x="90" y="6"/>
                    </a:cubicBezTo>
                    <a:cubicBezTo>
                      <a:pt x="91" y="8"/>
                      <a:pt x="92" y="8"/>
                      <a:pt x="94" y="8"/>
                    </a:cubicBezTo>
                    <a:cubicBezTo>
                      <a:pt x="94" y="12"/>
                      <a:pt x="94" y="14"/>
                      <a:pt x="96" y="15"/>
                    </a:cubicBezTo>
                    <a:cubicBezTo>
                      <a:pt x="95" y="21"/>
                      <a:pt x="86" y="37"/>
                      <a:pt x="79" y="37"/>
                    </a:cubicBezTo>
                    <a:cubicBezTo>
                      <a:pt x="78" y="43"/>
                      <a:pt x="80" y="45"/>
                      <a:pt x="79" y="50"/>
                    </a:cubicBezTo>
                    <a:cubicBezTo>
                      <a:pt x="77" y="50"/>
                      <a:pt x="66" y="53"/>
                      <a:pt x="63" y="53"/>
                    </a:cubicBezTo>
                    <a:cubicBezTo>
                      <a:pt x="61" y="58"/>
                      <a:pt x="49" y="84"/>
                      <a:pt x="49" y="84"/>
                    </a:cubicBezTo>
                    <a:cubicBezTo>
                      <a:pt x="45" y="88"/>
                      <a:pt x="37" y="94"/>
                      <a:pt x="32" y="94"/>
                    </a:cubicBezTo>
                    <a:cubicBezTo>
                      <a:pt x="30" y="94"/>
                      <a:pt x="25" y="92"/>
                      <a:pt x="23" y="92"/>
                    </a:cubicBezTo>
                    <a:cubicBezTo>
                      <a:pt x="20" y="92"/>
                      <a:pt x="3" y="85"/>
                      <a:pt x="3" y="83"/>
                    </a:cubicBezTo>
                    <a:cubicBezTo>
                      <a:pt x="2" y="83"/>
                      <a:pt x="0" y="82"/>
                      <a:pt x="0" y="81"/>
                    </a:cubicBezTo>
                    <a:cubicBezTo>
                      <a:pt x="0" y="70"/>
                      <a:pt x="14" y="64"/>
                      <a:pt x="18" y="57"/>
                    </a:cubicBezTo>
                    <a:cubicBezTo>
                      <a:pt x="20" y="54"/>
                      <a:pt x="22" y="51"/>
                      <a:pt x="25" y="51"/>
                    </a:cubicBezTo>
                    <a:cubicBezTo>
                      <a:pt x="36" y="51"/>
                      <a:pt x="42" y="40"/>
                      <a:pt x="50" y="37"/>
                    </a:cubicBezTo>
                    <a:cubicBezTo>
                      <a:pt x="52" y="36"/>
                      <a:pt x="58" y="26"/>
                      <a:pt x="58" y="2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79" name="Freeform 20"/>
              <p:cNvSpPr/>
              <p:nvPr/>
            </p:nvSpPr>
            <p:spPr bwMode="auto">
              <a:xfrm>
                <a:off x="7148513" y="3476625"/>
                <a:ext cx="93663" cy="139700"/>
              </a:xfrm>
              <a:custGeom>
                <a:avLst/>
                <a:gdLst/>
                <a:ahLst/>
                <a:cxnLst>
                  <a:cxn ang="0">
                    <a:pos x="22" y="40"/>
                  </a:cxn>
                  <a:cxn ang="0">
                    <a:pos x="17" y="31"/>
                  </a:cxn>
                  <a:cxn ang="0">
                    <a:pos x="19" y="27"/>
                  </a:cxn>
                  <a:cxn ang="0">
                    <a:pos x="0" y="0"/>
                  </a:cxn>
                  <a:cxn ang="0">
                    <a:pos x="16" y="12"/>
                  </a:cxn>
                  <a:cxn ang="0">
                    <a:pos x="22" y="19"/>
                  </a:cxn>
                  <a:cxn ang="0">
                    <a:pos x="20" y="22"/>
                  </a:cxn>
                  <a:cxn ang="0">
                    <a:pos x="27" y="37"/>
                  </a:cxn>
                  <a:cxn ang="0">
                    <a:pos x="30" y="37"/>
                  </a:cxn>
                  <a:cxn ang="0">
                    <a:pos x="34" y="32"/>
                  </a:cxn>
                  <a:cxn ang="0">
                    <a:pos x="37" y="32"/>
                  </a:cxn>
                  <a:cxn ang="0">
                    <a:pos x="53" y="50"/>
                  </a:cxn>
                  <a:cxn ang="0">
                    <a:pos x="68" y="46"/>
                  </a:cxn>
                  <a:cxn ang="0">
                    <a:pos x="71" y="48"/>
                  </a:cxn>
                  <a:cxn ang="0">
                    <a:pos x="63" y="71"/>
                  </a:cxn>
                  <a:cxn ang="0">
                    <a:pos x="61" y="68"/>
                  </a:cxn>
                  <a:cxn ang="0">
                    <a:pos x="60" y="70"/>
                  </a:cxn>
                  <a:cxn ang="0">
                    <a:pos x="51" y="75"/>
                  </a:cxn>
                  <a:cxn ang="0">
                    <a:pos x="52" y="80"/>
                  </a:cxn>
                  <a:cxn ang="0">
                    <a:pos x="46" y="89"/>
                  </a:cxn>
                  <a:cxn ang="0">
                    <a:pos x="30" y="104"/>
                  </a:cxn>
                  <a:cxn ang="0">
                    <a:pos x="23" y="98"/>
                  </a:cxn>
                  <a:cxn ang="0">
                    <a:pos x="29" y="86"/>
                  </a:cxn>
                  <a:cxn ang="0">
                    <a:pos x="12" y="72"/>
                  </a:cxn>
                  <a:cxn ang="0">
                    <a:pos x="19" y="65"/>
                  </a:cxn>
                  <a:cxn ang="0">
                    <a:pos x="24" y="48"/>
                  </a:cxn>
                  <a:cxn ang="0">
                    <a:pos x="22" y="38"/>
                  </a:cxn>
                  <a:cxn ang="0">
                    <a:pos x="22" y="38"/>
                  </a:cxn>
                  <a:cxn ang="0">
                    <a:pos x="22" y="40"/>
                  </a:cxn>
                </a:cxnLst>
                <a:rect l="0" t="0" r="r" b="b"/>
                <a:pathLst>
                  <a:path w="71" h="104">
                    <a:moveTo>
                      <a:pt x="22" y="40"/>
                    </a:moveTo>
                    <a:cubicBezTo>
                      <a:pt x="21" y="36"/>
                      <a:pt x="17" y="35"/>
                      <a:pt x="17" y="31"/>
                    </a:cubicBezTo>
                    <a:cubicBezTo>
                      <a:pt x="17" y="30"/>
                      <a:pt x="18" y="28"/>
                      <a:pt x="19" y="27"/>
                    </a:cubicBezTo>
                    <a:cubicBezTo>
                      <a:pt x="8" y="25"/>
                      <a:pt x="2" y="11"/>
                      <a:pt x="0" y="0"/>
                    </a:cubicBezTo>
                    <a:cubicBezTo>
                      <a:pt x="4" y="7"/>
                      <a:pt x="12" y="8"/>
                      <a:pt x="16" y="12"/>
                    </a:cubicBezTo>
                    <a:cubicBezTo>
                      <a:pt x="19" y="15"/>
                      <a:pt x="19" y="18"/>
                      <a:pt x="22" y="19"/>
                    </a:cubicBezTo>
                    <a:cubicBezTo>
                      <a:pt x="21" y="21"/>
                      <a:pt x="20" y="21"/>
                      <a:pt x="20" y="22"/>
                    </a:cubicBezTo>
                    <a:cubicBezTo>
                      <a:pt x="20" y="25"/>
                      <a:pt x="25" y="34"/>
                      <a:pt x="27" y="37"/>
                    </a:cubicBezTo>
                    <a:cubicBezTo>
                      <a:pt x="30" y="37"/>
                      <a:pt x="30" y="37"/>
                      <a:pt x="30" y="37"/>
                    </a:cubicBezTo>
                    <a:cubicBezTo>
                      <a:pt x="30" y="34"/>
                      <a:pt x="32" y="32"/>
                      <a:pt x="34" y="32"/>
                    </a:cubicBezTo>
                    <a:cubicBezTo>
                      <a:pt x="35" y="32"/>
                      <a:pt x="36" y="32"/>
                      <a:pt x="37" y="32"/>
                    </a:cubicBezTo>
                    <a:cubicBezTo>
                      <a:pt x="37" y="44"/>
                      <a:pt x="42" y="50"/>
                      <a:pt x="53" y="50"/>
                    </a:cubicBezTo>
                    <a:cubicBezTo>
                      <a:pt x="61" y="50"/>
                      <a:pt x="61" y="46"/>
                      <a:pt x="68" y="46"/>
                    </a:cubicBezTo>
                    <a:cubicBezTo>
                      <a:pt x="69" y="46"/>
                      <a:pt x="71" y="47"/>
                      <a:pt x="71" y="48"/>
                    </a:cubicBezTo>
                    <a:cubicBezTo>
                      <a:pt x="65" y="55"/>
                      <a:pt x="67" y="64"/>
                      <a:pt x="63" y="71"/>
                    </a:cubicBezTo>
                    <a:cubicBezTo>
                      <a:pt x="61" y="68"/>
                      <a:pt x="61" y="68"/>
                      <a:pt x="61" y="68"/>
                    </a:cubicBezTo>
                    <a:cubicBezTo>
                      <a:pt x="60" y="68"/>
                      <a:pt x="60" y="70"/>
                      <a:pt x="60" y="70"/>
                    </a:cubicBezTo>
                    <a:cubicBezTo>
                      <a:pt x="55" y="71"/>
                      <a:pt x="51" y="72"/>
                      <a:pt x="51" y="75"/>
                    </a:cubicBezTo>
                    <a:cubicBezTo>
                      <a:pt x="51" y="77"/>
                      <a:pt x="52" y="78"/>
                      <a:pt x="52" y="80"/>
                    </a:cubicBezTo>
                    <a:cubicBezTo>
                      <a:pt x="52" y="83"/>
                      <a:pt x="47" y="87"/>
                      <a:pt x="46" y="89"/>
                    </a:cubicBezTo>
                    <a:cubicBezTo>
                      <a:pt x="42" y="95"/>
                      <a:pt x="39" y="104"/>
                      <a:pt x="30" y="104"/>
                    </a:cubicBezTo>
                    <a:cubicBezTo>
                      <a:pt x="26" y="104"/>
                      <a:pt x="23" y="102"/>
                      <a:pt x="23" y="98"/>
                    </a:cubicBezTo>
                    <a:cubicBezTo>
                      <a:pt x="23" y="93"/>
                      <a:pt x="29" y="91"/>
                      <a:pt x="29" y="86"/>
                    </a:cubicBezTo>
                    <a:cubicBezTo>
                      <a:pt x="29" y="77"/>
                      <a:pt x="12" y="80"/>
                      <a:pt x="12" y="72"/>
                    </a:cubicBezTo>
                    <a:cubicBezTo>
                      <a:pt x="12" y="68"/>
                      <a:pt x="16" y="67"/>
                      <a:pt x="19" y="65"/>
                    </a:cubicBezTo>
                    <a:cubicBezTo>
                      <a:pt x="23" y="61"/>
                      <a:pt x="24" y="55"/>
                      <a:pt x="24" y="48"/>
                    </a:cubicBezTo>
                    <a:cubicBezTo>
                      <a:pt x="24" y="44"/>
                      <a:pt x="22" y="40"/>
                      <a:pt x="22" y="38"/>
                    </a:cubicBezTo>
                    <a:cubicBezTo>
                      <a:pt x="22" y="38"/>
                      <a:pt x="22" y="38"/>
                      <a:pt x="22" y="38"/>
                    </a:cubicBezTo>
                    <a:lnTo>
                      <a:pt x="22" y="40"/>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80" name="Freeform 116"/>
              <p:cNvSpPr/>
              <p:nvPr/>
            </p:nvSpPr>
            <p:spPr bwMode="auto">
              <a:xfrm>
                <a:off x="6856413" y="3582988"/>
                <a:ext cx="6350" cy="9525"/>
              </a:xfrm>
              <a:custGeom>
                <a:avLst/>
                <a:gdLst/>
                <a:ahLst/>
                <a:cxnLst>
                  <a:cxn ang="0">
                    <a:pos x="5" y="0"/>
                  </a:cxn>
                  <a:cxn ang="0">
                    <a:pos x="4" y="7"/>
                  </a:cxn>
                  <a:cxn ang="0">
                    <a:pos x="0" y="0"/>
                  </a:cxn>
                  <a:cxn ang="0">
                    <a:pos x="5" y="0"/>
                  </a:cxn>
                </a:cxnLst>
                <a:rect l="0" t="0" r="r" b="b"/>
                <a:pathLst>
                  <a:path w="5" h="7">
                    <a:moveTo>
                      <a:pt x="5" y="0"/>
                    </a:moveTo>
                    <a:cubicBezTo>
                      <a:pt x="5" y="4"/>
                      <a:pt x="4" y="5"/>
                      <a:pt x="4" y="7"/>
                    </a:cubicBezTo>
                    <a:cubicBezTo>
                      <a:pt x="0" y="6"/>
                      <a:pt x="0" y="3"/>
                      <a:pt x="0" y="0"/>
                    </a:cubicBezTo>
                    <a:cubicBezTo>
                      <a:pt x="2" y="0"/>
                      <a:pt x="4" y="0"/>
                      <a:pt x="5"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81" name="Freeform 117"/>
              <p:cNvSpPr/>
              <p:nvPr/>
            </p:nvSpPr>
            <p:spPr bwMode="auto">
              <a:xfrm>
                <a:off x="6664325" y="3500438"/>
                <a:ext cx="22225" cy="11113"/>
              </a:xfrm>
              <a:custGeom>
                <a:avLst/>
                <a:gdLst/>
                <a:ahLst/>
                <a:cxnLst>
                  <a:cxn ang="0">
                    <a:pos x="16" y="4"/>
                  </a:cxn>
                  <a:cxn ang="0">
                    <a:pos x="0" y="4"/>
                  </a:cxn>
                  <a:cxn ang="0">
                    <a:pos x="16" y="4"/>
                  </a:cxn>
                </a:cxnLst>
                <a:rect l="0" t="0" r="r" b="b"/>
                <a:pathLst>
                  <a:path w="16" h="8">
                    <a:moveTo>
                      <a:pt x="16" y="4"/>
                    </a:moveTo>
                    <a:cubicBezTo>
                      <a:pt x="11" y="7"/>
                      <a:pt x="4" y="8"/>
                      <a:pt x="0" y="4"/>
                    </a:cubicBezTo>
                    <a:cubicBezTo>
                      <a:pt x="9" y="0"/>
                      <a:pt x="10" y="0"/>
                      <a:pt x="16" y="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82" name="Freeform 118"/>
              <p:cNvSpPr/>
              <p:nvPr/>
            </p:nvSpPr>
            <p:spPr bwMode="auto">
              <a:xfrm>
                <a:off x="6556375" y="3065463"/>
                <a:ext cx="22225" cy="9525"/>
              </a:xfrm>
              <a:custGeom>
                <a:avLst/>
                <a:gdLst/>
                <a:ahLst/>
                <a:cxnLst>
                  <a:cxn ang="0">
                    <a:pos x="17" y="1"/>
                  </a:cxn>
                  <a:cxn ang="0">
                    <a:pos x="17" y="7"/>
                  </a:cxn>
                  <a:cxn ang="0">
                    <a:pos x="13" y="7"/>
                  </a:cxn>
                  <a:cxn ang="0">
                    <a:pos x="0" y="3"/>
                  </a:cxn>
                  <a:cxn ang="0">
                    <a:pos x="17" y="1"/>
                  </a:cxn>
                </a:cxnLst>
                <a:rect l="0" t="0" r="r" b="b"/>
                <a:pathLst>
                  <a:path w="17" h="7">
                    <a:moveTo>
                      <a:pt x="17" y="1"/>
                    </a:moveTo>
                    <a:cubicBezTo>
                      <a:pt x="17" y="7"/>
                      <a:pt x="17" y="7"/>
                      <a:pt x="17" y="7"/>
                    </a:cubicBezTo>
                    <a:cubicBezTo>
                      <a:pt x="16" y="7"/>
                      <a:pt x="14" y="7"/>
                      <a:pt x="13" y="7"/>
                    </a:cubicBezTo>
                    <a:cubicBezTo>
                      <a:pt x="8" y="7"/>
                      <a:pt x="2" y="5"/>
                      <a:pt x="0" y="3"/>
                    </a:cubicBezTo>
                    <a:cubicBezTo>
                      <a:pt x="8" y="1"/>
                      <a:pt x="11" y="0"/>
                      <a:pt x="17" y="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grpSp>
      <p:grpSp>
        <p:nvGrpSpPr>
          <p:cNvPr id="10" name="Group 383"/>
          <p:cNvGrpSpPr/>
          <p:nvPr/>
        </p:nvGrpSpPr>
        <p:grpSpPr>
          <a:xfrm>
            <a:off x="4703466" y="1609771"/>
            <a:ext cx="3697477" cy="2613719"/>
            <a:chOff x="4713288" y="1038225"/>
            <a:chExt cx="2847975" cy="2012950"/>
          </a:xfrm>
          <a:solidFill>
            <a:schemeClr val="accent3"/>
          </a:solidFill>
        </p:grpSpPr>
        <p:sp>
          <p:nvSpPr>
            <p:cNvPr id="385" name="Freeform 101"/>
            <p:cNvSpPr/>
            <p:nvPr/>
          </p:nvSpPr>
          <p:spPr bwMode="auto">
            <a:xfrm>
              <a:off x="4818063" y="2127250"/>
              <a:ext cx="622300" cy="538163"/>
            </a:xfrm>
            <a:custGeom>
              <a:avLst/>
              <a:gdLst/>
              <a:ahLst/>
              <a:cxnLst>
                <a:cxn ang="0">
                  <a:pos x="102" y="154"/>
                </a:cxn>
                <a:cxn ang="0">
                  <a:pos x="113" y="126"/>
                </a:cxn>
                <a:cxn ang="0">
                  <a:pos x="122" y="86"/>
                </a:cxn>
                <a:cxn ang="0">
                  <a:pos x="125" y="77"/>
                </a:cxn>
                <a:cxn ang="0">
                  <a:pos x="108" y="77"/>
                </a:cxn>
                <a:cxn ang="0">
                  <a:pos x="64" y="77"/>
                </a:cxn>
                <a:cxn ang="0">
                  <a:pos x="27" y="79"/>
                </a:cxn>
                <a:cxn ang="0">
                  <a:pos x="26" y="77"/>
                </a:cxn>
                <a:cxn ang="0">
                  <a:pos x="0" y="55"/>
                </a:cxn>
                <a:cxn ang="0">
                  <a:pos x="9" y="37"/>
                </a:cxn>
                <a:cxn ang="0">
                  <a:pos x="41" y="20"/>
                </a:cxn>
                <a:cxn ang="0">
                  <a:pos x="48" y="13"/>
                </a:cxn>
                <a:cxn ang="0">
                  <a:pos x="80" y="4"/>
                </a:cxn>
                <a:cxn ang="0">
                  <a:pos x="127" y="7"/>
                </a:cxn>
                <a:cxn ang="0">
                  <a:pos x="174" y="15"/>
                </a:cxn>
                <a:cxn ang="0">
                  <a:pos x="223" y="21"/>
                </a:cxn>
                <a:cxn ang="0">
                  <a:pos x="256" y="44"/>
                </a:cxn>
                <a:cxn ang="0">
                  <a:pos x="278" y="33"/>
                </a:cxn>
                <a:cxn ang="0">
                  <a:pos x="281" y="43"/>
                </a:cxn>
                <a:cxn ang="0">
                  <a:pos x="289" y="65"/>
                </a:cxn>
                <a:cxn ang="0">
                  <a:pos x="309" y="76"/>
                </a:cxn>
                <a:cxn ang="0">
                  <a:pos x="350" y="76"/>
                </a:cxn>
                <a:cxn ang="0">
                  <a:pos x="359" y="63"/>
                </a:cxn>
                <a:cxn ang="0">
                  <a:pos x="387" y="51"/>
                </a:cxn>
                <a:cxn ang="0">
                  <a:pos x="439" y="74"/>
                </a:cxn>
                <a:cxn ang="0">
                  <a:pos x="445" y="96"/>
                </a:cxn>
                <a:cxn ang="0">
                  <a:pos x="435" y="119"/>
                </a:cxn>
                <a:cxn ang="0">
                  <a:pos x="436" y="138"/>
                </a:cxn>
                <a:cxn ang="0">
                  <a:pos x="449" y="156"/>
                </a:cxn>
                <a:cxn ang="0">
                  <a:pos x="445" y="179"/>
                </a:cxn>
                <a:cxn ang="0">
                  <a:pos x="448" y="232"/>
                </a:cxn>
                <a:cxn ang="0">
                  <a:pos x="448" y="240"/>
                </a:cxn>
                <a:cxn ang="0">
                  <a:pos x="393" y="231"/>
                </a:cxn>
                <a:cxn ang="0">
                  <a:pos x="370" y="220"/>
                </a:cxn>
                <a:cxn ang="0">
                  <a:pos x="333" y="207"/>
                </a:cxn>
                <a:cxn ang="0">
                  <a:pos x="313" y="192"/>
                </a:cxn>
                <a:cxn ang="0">
                  <a:pos x="278" y="183"/>
                </a:cxn>
                <a:cxn ang="0">
                  <a:pos x="304" y="224"/>
                </a:cxn>
                <a:cxn ang="0">
                  <a:pos x="315" y="227"/>
                </a:cxn>
                <a:cxn ang="0">
                  <a:pos x="313" y="246"/>
                </a:cxn>
                <a:cxn ang="0">
                  <a:pos x="379" y="225"/>
                </a:cxn>
                <a:cxn ang="0">
                  <a:pos x="406" y="260"/>
                </a:cxn>
                <a:cxn ang="0">
                  <a:pos x="414" y="270"/>
                </a:cxn>
                <a:cxn ang="0">
                  <a:pos x="410" y="302"/>
                </a:cxn>
                <a:cxn ang="0">
                  <a:pos x="390" y="321"/>
                </a:cxn>
                <a:cxn ang="0">
                  <a:pos x="365" y="347"/>
                </a:cxn>
                <a:cxn ang="0">
                  <a:pos x="328" y="368"/>
                </a:cxn>
                <a:cxn ang="0">
                  <a:pos x="265" y="395"/>
                </a:cxn>
                <a:cxn ang="0">
                  <a:pos x="234" y="404"/>
                </a:cxn>
                <a:cxn ang="0">
                  <a:pos x="217" y="399"/>
                </a:cxn>
                <a:cxn ang="0">
                  <a:pos x="209" y="372"/>
                </a:cxn>
                <a:cxn ang="0">
                  <a:pos x="198" y="340"/>
                </a:cxn>
                <a:cxn ang="0">
                  <a:pos x="162" y="280"/>
                </a:cxn>
                <a:cxn ang="0">
                  <a:pos x="154" y="259"/>
                </a:cxn>
                <a:cxn ang="0">
                  <a:pos x="140" y="251"/>
                </a:cxn>
                <a:cxn ang="0">
                  <a:pos x="131" y="229"/>
                </a:cxn>
                <a:cxn ang="0">
                  <a:pos x="109" y="196"/>
                </a:cxn>
                <a:cxn ang="0">
                  <a:pos x="112" y="177"/>
                </a:cxn>
              </a:cxnLst>
              <a:rect l="0" t="0" r="r" b="b"/>
              <a:pathLst>
                <a:path w="467" h="405">
                  <a:moveTo>
                    <a:pt x="112" y="177"/>
                  </a:moveTo>
                  <a:cubicBezTo>
                    <a:pt x="102" y="154"/>
                    <a:pt x="102" y="154"/>
                    <a:pt x="102" y="154"/>
                  </a:cubicBezTo>
                  <a:cubicBezTo>
                    <a:pt x="102" y="151"/>
                    <a:pt x="105" y="151"/>
                    <a:pt x="106" y="149"/>
                  </a:cubicBezTo>
                  <a:cubicBezTo>
                    <a:pt x="109" y="139"/>
                    <a:pt x="110" y="134"/>
                    <a:pt x="113" y="126"/>
                  </a:cubicBezTo>
                  <a:cubicBezTo>
                    <a:pt x="115" y="117"/>
                    <a:pt x="124" y="115"/>
                    <a:pt x="124" y="104"/>
                  </a:cubicBezTo>
                  <a:cubicBezTo>
                    <a:pt x="124" y="97"/>
                    <a:pt x="122" y="91"/>
                    <a:pt x="122" y="86"/>
                  </a:cubicBezTo>
                  <a:cubicBezTo>
                    <a:pt x="122" y="83"/>
                    <a:pt x="124" y="82"/>
                    <a:pt x="125" y="81"/>
                  </a:cubicBezTo>
                  <a:cubicBezTo>
                    <a:pt x="125" y="77"/>
                    <a:pt x="125" y="77"/>
                    <a:pt x="125" y="77"/>
                  </a:cubicBezTo>
                  <a:cubicBezTo>
                    <a:pt x="121" y="78"/>
                    <a:pt x="120" y="81"/>
                    <a:pt x="117" y="81"/>
                  </a:cubicBezTo>
                  <a:cubicBezTo>
                    <a:pt x="112" y="81"/>
                    <a:pt x="110" y="79"/>
                    <a:pt x="108" y="77"/>
                  </a:cubicBezTo>
                  <a:cubicBezTo>
                    <a:pt x="101" y="82"/>
                    <a:pt x="98" y="88"/>
                    <a:pt x="86" y="88"/>
                  </a:cubicBezTo>
                  <a:cubicBezTo>
                    <a:pt x="76" y="88"/>
                    <a:pt x="73" y="77"/>
                    <a:pt x="64" y="77"/>
                  </a:cubicBezTo>
                  <a:cubicBezTo>
                    <a:pt x="54" y="77"/>
                    <a:pt x="56" y="87"/>
                    <a:pt x="48" y="87"/>
                  </a:cubicBezTo>
                  <a:cubicBezTo>
                    <a:pt x="40" y="87"/>
                    <a:pt x="35" y="75"/>
                    <a:pt x="27" y="79"/>
                  </a:cubicBezTo>
                  <a:cubicBezTo>
                    <a:pt x="22" y="79"/>
                    <a:pt x="22" y="79"/>
                    <a:pt x="22" y="79"/>
                  </a:cubicBezTo>
                  <a:cubicBezTo>
                    <a:pt x="24" y="79"/>
                    <a:pt x="25" y="78"/>
                    <a:pt x="26" y="77"/>
                  </a:cubicBezTo>
                  <a:cubicBezTo>
                    <a:pt x="23" y="74"/>
                    <a:pt x="10" y="67"/>
                    <a:pt x="15" y="63"/>
                  </a:cubicBezTo>
                  <a:cubicBezTo>
                    <a:pt x="11" y="57"/>
                    <a:pt x="6" y="58"/>
                    <a:pt x="0" y="55"/>
                  </a:cubicBezTo>
                  <a:cubicBezTo>
                    <a:pt x="4" y="50"/>
                    <a:pt x="9" y="51"/>
                    <a:pt x="9" y="43"/>
                  </a:cubicBezTo>
                  <a:cubicBezTo>
                    <a:pt x="9" y="40"/>
                    <a:pt x="8" y="40"/>
                    <a:pt x="9" y="37"/>
                  </a:cubicBezTo>
                  <a:cubicBezTo>
                    <a:pt x="6" y="37"/>
                    <a:pt x="1" y="38"/>
                    <a:pt x="1" y="35"/>
                  </a:cubicBezTo>
                  <a:cubicBezTo>
                    <a:pt x="1" y="22"/>
                    <a:pt x="33" y="24"/>
                    <a:pt x="41" y="20"/>
                  </a:cubicBezTo>
                  <a:cubicBezTo>
                    <a:pt x="40" y="17"/>
                    <a:pt x="38" y="18"/>
                    <a:pt x="38" y="15"/>
                  </a:cubicBezTo>
                  <a:cubicBezTo>
                    <a:pt x="38" y="11"/>
                    <a:pt x="46" y="13"/>
                    <a:pt x="48" y="13"/>
                  </a:cubicBezTo>
                  <a:cubicBezTo>
                    <a:pt x="53" y="13"/>
                    <a:pt x="62" y="13"/>
                    <a:pt x="62" y="13"/>
                  </a:cubicBezTo>
                  <a:cubicBezTo>
                    <a:pt x="67" y="13"/>
                    <a:pt x="75" y="7"/>
                    <a:pt x="80" y="4"/>
                  </a:cubicBezTo>
                  <a:cubicBezTo>
                    <a:pt x="86" y="0"/>
                    <a:pt x="98" y="0"/>
                    <a:pt x="106" y="0"/>
                  </a:cubicBezTo>
                  <a:cubicBezTo>
                    <a:pt x="117" y="0"/>
                    <a:pt x="117" y="7"/>
                    <a:pt x="127" y="7"/>
                  </a:cubicBezTo>
                  <a:cubicBezTo>
                    <a:pt x="127" y="12"/>
                    <a:pt x="144" y="15"/>
                    <a:pt x="149" y="15"/>
                  </a:cubicBezTo>
                  <a:cubicBezTo>
                    <a:pt x="162" y="15"/>
                    <a:pt x="170" y="15"/>
                    <a:pt x="174" y="15"/>
                  </a:cubicBezTo>
                  <a:cubicBezTo>
                    <a:pt x="186" y="15"/>
                    <a:pt x="192" y="3"/>
                    <a:pt x="205" y="3"/>
                  </a:cubicBezTo>
                  <a:cubicBezTo>
                    <a:pt x="219" y="3"/>
                    <a:pt x="218" y="12"/>
                    <a:pt x="223" y="21"/>
                  </a:cubicBezTo>
                  <a:cubicBezTo>
                    <a:pt x="224" y="23"/>
                    <a:pt x="233" y="28"/>
                    <a:pt x="233" y="28"/>
                  </a:cubicBezTo>
                  <a:cubicBezTo>
                    <a:pt x="241" y="31"/>
                    <a:pt x="243" y="44"/>
                    <a:pt x="256" y="44"/>
                  </a:cubicBezTo>
                  <a:cubicBezTo>
                    <a:pt x="265" y="44"/>
                    <a:pt x="265" y="36"/>
                    <a:pt x="271" y="34"/>
                  </a:cubicBezTo>
                  <a:cubicBezTo>
                    <a:pt x="275" y="33"/>
                    <a:pt x="274" y="33"/>
                    <a:pt x="278" y="33"/>
                  </a:cubicBezTo>
                  <a:cubicBezTo>
                    <a:pt x="279" y="35"/>
                    <a:pt x="279" y="39"/>
                    <a:pt x="281" y="41"/>
                  </a:cubicBezTo>
                  <a:cubicBezTo>
                    <a:pt x="280" y="41"/>
                    <a:pt x="281" y="42"/>
                    <a:pt x="281" y="43"/>
                  </a:cubicBezTo>
                  <a:cubicBezTo>
                    <a:pt x="281" y="48"/>
                    <a:pt x="284" y="47"/>
                    <a:pt x="286" y="51"/>
                  </a:cubicBezTo>
                  <a:cubicBezTo>
                    <a:pt x="290" y="56"/>
                    <a:pt x="286" y="59"/>
                    <a:pt x="289" y="65"/>
                  </a:cubicBezTo>
                  <a:cubicBezTo>
                    <a:pt x="291" y="70"/>
                    <a:pt x="297" y="67"/>
                    <a:pt x="301" y="68"/>
                  </a:cubicBezTo>
                  <a:cubicBezTo>
                    <a:pt x="305" y="69"/>
                    <a:pt x="306" y="73"/>
                    <a:pt x="309" y="76"/>
                  </a:cubicBezTo>
                  <a:cubicBezTo>
                    <a:pt x="312" y="79"/>
                    <a:pt x="323" y="78"/>
                    <a:pt x="329" y="78"/>
                  </a:cubicBezTo>
                  <a:cubicBezTo>
                    <a:pt x="337" y="78"/>
                    <a:pt x="345" y="77"/>
                    <a:pt x="350" y="76"/>
                  </a:cubicBezTo>
                  <a:cubicBezTo>
                    <a:pt x="350" y="72"/>
                    <a:pt x="350" y="71"/>
                    <a:pt x="350" y="68"/>
                  </a:cubicBezTo>
                  <a:cubicBezTo>
                    <a:pt x="350" y="64"/>
                    <a:pt x="355" y="64"/>
                    <a:pt x="359" y="63"/>
                  </a:cubicBezTo>
                  <a:cubicBezTo>
                    <a:pt x="364" y="61"/>
                    <a:pt x="363" y="59"/>
                    <a:pt x="368" y="57"/>
                  </a:cubicBezTo>
                  <a:cubicBezTo>
                    <a:pt x="376" y="54"/>
                    <a:pt x="381" y="56"/>
                    <a:pt x="387" y="51"/>
                  </a:cubicBezTo>
                  <a:cubicBezTo>
                    <a:pt x="397" y="57"/>
                    <a:pt x="403" y="57"/>
                    <a:pt x="412" y="60"/>
                  </a:cubicBezTo>
                  <a:cubicBezTo>
                    <a:pt x="423" y="64"/>
                    <a:pt x="426" y="74"/>
                    <a:pt x="439" y="74"/>
                  </a:cubicBezTo>
                  <a:cubicBezTo>
                    <a:pt x="439" y="76"/>
                    <a:pt x="442" y="77"/>
                    <a:pt x="443" y="79"/>
                  </a:cubicBezTo>
                  <a:cubicBezTo>
                    <a:pt x="445" y="86"/>
                    <a:pt x="442" y="92"/>
                    <a:pt x="445" y="96"/>
                  </a:cubicBezTo>
                  <a:cubicBezTo>
                    <a:pt x="442" y="98"/>
                    <a:pt x="435" y="114"/>
                    <a:pt x="435" y="115"/>
                  </a:cubicBezTo>
                  <a:cubicBezTo>
                    <a:pt x="435" y="116"/>
                    <a:pt x="436" y="118"/>
                    <a:pt x="435" y="119"/>
                  </a:cubicBezTo>
                  <a:cubicBezTo>
                    <a:pt x="436" y="121"/>
                    <a:pt x="435" y="122"/>
                    <a:pt x="436" y="124"/>
                  </a:cubicBezTo>
                  <a:cubicBezTo>
                    <a:pt x="436" y="138"/>
                    <a:pt x="436" y="138"/>
                    <a:pt x="436" y="138"/>
                  </a:cubicBezTo>
                  <a:cubicBezTo>
                    <a:pt x="438" y="142"/>
                    <a:pt x="437" y="145"/>
                    <a:pt x="439" y="149"/>
                  </a:cubicBezTo>
                  <a:cubicBezTo>
                    <a:pt x="440" y="153"/>
                    <a:pt x="449" y="149"/>
                    <a:pt x="449" y="156"/>
                  </a:cubicBezTo>
                  <a:cubicBezTo>
                    <a:pt x="449" y="165"/>
                    <a:pt x="439" y="164"/>
                    <a:pt x="439" y="171"/>
                  </a:cubicBezTo>
                  <a:cubicBezTo>
                    <a:pt x="439" y="177"/>
                    <a:pt x="443" y="177"/>
                    <a:pt x="445" y="179"/>
                  </a:cubicBezTo>
                  <a:cubicBezTo>
                    <a:pt x="452" y="194"/>
                    <a:pt x="467" y="196"/>
                    <a:pt x="467" y="215"/>
                  </a:cubicBezTo>
                  <a:cubicBezTo>
                    <a:pt x="456" y="218"/>
                    <a:pt x="448" y="220"/>
                    <a:pt x="448" y="232"/>
                  </a:cubicBezTo>
                  <a:cubicBezTo>
                    <a:pt x="448" y="235"/>
                    <a:pt x="450" y="238"/>
                    <a:pt x="450" y="240"/>
                  </a:cubicBezTo>
                  <a:cubicBezTo>
                    <a:pt x="450" y="240"/>
                    <a:pt x="448" y="240"/>
                    <a:pt x="448" y="240"/>
                  </a:cubicBezTo>
                  <a:cubicBezTo>
                    <a:pt x="439" y="240"/>
                    <a:pt x="420" y="235"/>
                    <a:pt x="408" y="235"/>
                  </a:cubicBezTo>
                  <a:cubicBezTo>
                    <a:pt x="406" y="235"/>
                    <a:pt x="393" y="231"/>
                    <a:pt x="393" y="231"/>
                  </a:cubicBezTo>
                  <a:cubicBezTo>
                    <a:pt x="388" y="226"/>
                    <a:pt x="388" y="213"/>
                    <a:pt x="379" y="213"/>
                  </a:cubicBezTo>
                  <a:cubicBezTo>
                    <a:pt x="374" y="213"/>
                    <a:pt x="372" y="217"/>
                    <a:pt x="370" y="220"/>
                  </a:cubicBezTo>
                  <a:cubicBezTo>
                    <a:pt x="348" y="220"/>
                    <a:pt x="348" y="220"/>
                    <a:pt x="348" y="220"/>
                  </a:cubicBezTo>
                  <a:cubicBezTo>
                    <a:pt x="341" y="217"/>
                    <a:pt x="337" y="212"/>
                    <a:pt x="333" y="207"/>
                  </a:cubicBezTo>
                  <a:cubicBezTo>
                    <a:pt x="327" y="202"/>
                    <a:pt x="320" y="205"/>
                    <a:pt x="315" y="200"/>
                  </a:cubicBezTo>
                  <a:cubicBezTo>
                    <a:pt x="313" y="197"/>
                    <a:pt x="314" y="194"/>
                    <a:pt x="313" y="192"/>
                  </a:cubicBezTo>
                  <a:cubicBezTo>
                    <a:pt x="308" y="182"/>
                    <a:pt x="299" y="168"/>
                    <a:pt x="286" y="168"/>
                  </a:cubicBezTo>
                  <a:cubicBezTo>
                    <a:pt x="280" y="168"/>
                    <a:pt x="278" y="176"/>
                    <a:pt x="278" y="183"/>
                  </a:cubicBezTo>
                  <a:cubicBezTo>
                    <a:pt x="278" y="187"/>
                    <a:pt x="278" y="189"/>
                    <a:pt x="278" y="193"/>
                  </a:cubicBezTo>
                  <a:cubicBezTo>
                    <a:pt x="281" y="203"/>
                    <a:pt x="293" y="222"/>
                    <a:pt x="304" y="224"/>
                  </a:cubicBezTo>
                  <a:cubicBezTo>
                    <a:pt x="304" y="229"/>
                    <a:pt x="306" y="231"/>
                    <a:pt x="307" y="235"/>
                  </a:cubicBezTo>
                  <a:cubicBezTo>
                    <a:pt x="312" y="233"/>
                    <a:pt x="311" y="228"/>
                    <a:pt x="315" y="227"/>
                  </a:cubicBezTo>
                  <a:cubicBezTo>
                    <a:pt x="316" y="228"/>
                    <a:pt x="316" y="230"/>
                    <a:pt x="316" y="231"/>
                  </a:cubicBezTo>
                  <a:cubicBezTo>
                    <a:pt x="316" y="237"/>
                    <a:pt x="313" y="240"/>
                    <a:pt x="313" y="246"/>
                  </a:cubicBezTo>
                  <a:cubicBezTo>
                    <a:pt x="313" y="252"/>
                    <a:pt x="324" y="255"/>
                    <a:pt x="331" y="255"/>
                  </a:cubicBezTo>
                  <a:cubicBezTo>
                    <a:pt x="360" y="255"/>
                    <a:pt x="363" y="237"/>
                    <a:pt x="379" y="225"/>
                  </a:cubicBezTo>
                  <a:cubicBezTo>
                    <a:pt x="379" y="241"/>
                    <a:pt x="379" y="241"/>
                    <a:pt x="379" y="241"/>
                  </a:cubicBezTo>
                  <a:cubicBezTo>
                    <a:pt x="385" y="254"/>
                    <a:pt x="393" y="256"/>
                    <a:pt x="406" y="260"/>
                  </a:cubicBezTo>
                  <a:cubicBezTo>
                    <a:pt x="411" y="261"/>
                    <a:pt x="411" y="269"/>
                    <a:pt x="414" y="271"/>
                  </a:cubicBezTo>
                  <a:cubicBezTo>
                    <a:pt x="414" y="270"/>
                    <a:pt x="414" y="270"/>
                    <a:pt x="414" y="270"/>
                  </a:cubicBezTo>
                  <a:cubicBezTo>
                    <a:pt x="416" y="274"/>
                    <a:pt x="423" y="273"/>
                    <a:pt x="423" y="277"/>
                  </a:cubicBezTo>
                  <a:cubicBezTo>
                    <a:pt x="423" y="288"/>
                    <a:pt x="410" y="291"/>
                    <a:pt x="410" y="302"/>
                  </a:cubicBezTo>
                  <a:cubicBezTo>
                    <a:pt x="403" y="302"/>
                    <a:pt x="399" y="303"/>
                    <a:pt x="397" y="309"/>
                  </a:cubicBezTo>
                  <a:cubicBezTo>
                    <a:pt x="395" y="314"/>
                    <a:pt x="396" y="321"/>
                    <a:pt x="390" y="321"/>
                  </a:cubicBezTo>
                  <a:cubicBezTo>
                    <a:pt x="384" y="321"/>
                    <a:pt x="384" y="334"/>
                    <a:pt x="378" y="334"/>
                  </a:cubicBezTo>
                  <a:cubicBezTo>
                    <a:pt x="374" y="334"/>
                    <a:pt x="365" y="342"/>
                    <a:pt x="365" y="347"/>
                  </a:cubicBezTo>
                  <a:cubicBezTo>
                    <a:pt x="353" y="349"/>
                    <a:pt x="327" y="354"/>
                    <a:pt x="327" y="364"/>
                  </a:cubicBezTo>
                  <a:cubicBezTo>
                    <a:pt x="327" y="365"/>
                    <a:pt x="327" y="367"/>
                    <a:pt x="328" y="368"/>
                  </a:cubicBezTo>
                  <a:cubicBezTo>
                    <a:pt x="318" y="373"/>
                    <a:pt x="304" y="376"/>
                    <a:pt x="294" y="378"/>
                  </a:cubicBezTo>
                  <a:cubicBezTo>
                    <a:pt x="289" y="380"/>
                    <a:pt x="271" y="392"/>
                    <a:pt x="265" y="395"/>
                  </a:cubicBezTo>
                  <a:cubicBezTo>
                    <a:pt x="252" y="395"/>
                    <a:pt x="252" y="395"/>
                    <a:pt x="252" y="395"/>
                  </a:cubicBezTo>
                  <a:cubicBezTo>
                    <a:pt x="244" y="400"/>
                    <a:pt x="243" y="404"/>
                    <a:pt x="234" y="404"/>
                  </a:cubicBezTo>
                  <a:cubicBezTo>
                    <a:pt x="231" y="405"/>
                    <a:pt x="231" y="405"/>
                    <a:pt x="231" y="405"/>
                  </a:cubicBezTo>
                  <a:cubicBezTo>
                    <a:pt x="229" y="405"/>
                    <a:pt x="218" y="400"/>
                    <a:pt x="217" y="399"/>
                  </a:cubicBezTo>
                  <a:cubicBezTo>
                    <a:pt x="216" y="399"/>
                    <a:pt x="219" y="399"/>
                    <a:pt x="217" y="394"/>
                  </a:cubicBezTo>
                  <a:cubicBezTo>
                    <a:pt x="212" y="387"/>
                    <a:pt x="209" y="380"/>
                    <a:pt x="209" y="372"/>
                  </a:cubicBezTo>
                  <a:cubicBezTo>
                    <a:pt x="204" y="371"/>
                    <a:pt x="207" y="363"/>
                    <a:pt x="208" y="359"/>
                  </a:cubicBezTo>
                  <a:cubicBezTo>
                    <a:pt x="210" y="349"/>
                    <a:pt x="203" y="345"/>
                    <a:pt x="198" y="340"/>
                  </a:cubicBezTo>
                  <a:cubicBezTo>
                    <a:pt x="193" y="335"/>
                    <a:pt x="181" y="320"/>
                    <a:pt x="181" y="309"/>
                  </a:cubicBezTo>
                  <a:cubicBezTo>
                    <a:pt x="165" y="306"/>
                    <a:pt x="162" y="297"/>
                    <a:pt x="162" y="280"/>
                  </a:cubicBezTo>
                  <a:cubicBezTo>
                    <a:pt x="162" y="270"/>
                    <a:pt x="156" y="268"/>
                    <a:pt x="154" y="259"/>
                  </a:cubicBezTo>
                  <a:cubicBezTo>
                    <a:pt x="154" y="259"/>
                    <a:pt x="154" y="259"/>
                    <a:pt x="154" y="259"/>
                  </a:cubicBezTo>
                  <a:cubicBezTo>
                    <a:pt x="152" y="258"/>
                    <a:pt x="150" y="255"/>
                    <a:pt x="148" y="254"/>
                  </a:cubicBezTo>
                  <a:cubicBezTo>
                    <a:pt x="147" y="252"/>
                    <a:pt x="141" y="253"/>
                    <a:pt x="140" y="251"/>
                  </a:cubicBezTo>
                  <a:cubicBezTo>
                    <a:pt x="137" y="249"/>
                    <a:pt x="138" y="242"/>
                    <a:pt x="137" y="239"/>
                  </a:cubicBezTo>
                  <a:cubicBezTo>
                    <a:pt x="136" y="235"/>
                    <a:pt x="132" y="231"/>
                    <a:pt x="131" y="229"/>
                  </a:cubicBezTo>
                  <a:cubicBezTo>
                    <a:pt x="125" y="221"/>
                    <a:pt x="121" y="214"/>
                    <a:pt x="116" y="207"/>
                  </a:cubicBezTo>
                  <a:cubicBezTo>
                    <a:pt x="115" y="205"/>
                    <a:pt x="109" y="198"/>
                    <a:pt x="109" y="196"/>
                  </a:cubicBezTo>
                  <a:cubicBezTo>
                    <a:pt x="109" y="192"/>
                    <a:pt x="112" y="182"/>
                    <a:pt x="112" y="175"/>
                  </a:cubicBezTo>
                  <a:lnTo>
                    <a:pt x="112" y="177"/>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86" name="Freeform 102"/>
            <p:cNvSpPr/>
            <p:nvPr/>
          </p:nvSpPr>
          <p:spPr bwMode="auto">
            <a:xfrm>
              <a:off x="5713413" y="2714625"/>
              <a:ext cx="33338" cy="63500"/>
            </a:xfrm>
            <a:custGeom>
              <a:avLst/>
              <a:gdLst/>
              <a:ahLst/>
              <a:cxnLst>
                <a:cxn ang="0">
                  <a:pos x="25" y="30"/>
                </a:cxn>
                <a:cxn ang="0">
                  <a:pos x="11" y="48"/>
                </a:cxn>
                <a:cxn ang="0">
                  <a:pos x="0" y="35"/>
                </a:cxn>
                <a:cxn ang="0">
                  <a:pos x="6" y="0"/>
                </a:cxn>
                <a:cxn ang="0">
                  <a:pos x="25" y="30"/>
                </a:cxn>
              </a:cxnLst>
              <a:rect l="0" t="0" r="r" b="b"/>
              <a:pathLst>
                <a:path w="25" h="48">
                  <a:moveTo>
                    <a:pt x="25" y="30"/>
                  </a:moveTo>
                  <a:cubicBezTo>
                    <a:pt x="25" y="37"/>
                    <a:pt x="20" y="48"/>
                    <a:pt x="11" y="48"/>
                  </a:cubicBezTo>
                  <a:cubicBezTo>
                    <a:pt x="5" y="48"/>
                    <a:pt x="0" y="41"/>
                    <a:pt x="0" y="35"/>
                  </a:cubicBezTo>
                  <a:cubicBezTo>
                    <a:pt x="0" y="22"/>
                    <a:pt x="6" y="13"/>
                    <a:pt x="6" y="0"/>
                  </a:cubicBezTo>
                  <a:cubicBezTo>
                    <a:pt x="13" y="10"/>
                    <a:pt x="25" y="15"/>
                    <a:pt x="25" y="3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87" name="Freeform 103"/>
            <p:cNvSpPr/>
            <p:nvPr/>
          </p:nvSpPr>
          <p:spPr bwMode="auto">
            <a:xfrm>
              <a:off x="5397500" y="2195513"/>
              <a:ext cx="677863" cy="544513"/>
            </a:xfrm>
            <a:custGeom>
              <a:avLst/>
              <a:gdLst/>
              <a:ahLst/>
              <a:cxnLst>
                <a:cxn ang="0">
                  <a:pos x="148" y="270"/>
                </a:cxn>
                <a:cxn ang="0">
                  <a:pos x="174" y="340"/>
                </a:cxn>
                <a:cxn ang="0">
                  <a:pos x="200" y="401"/>
                </a:cxn>
                <a:cxn ang="0">
                  <a:pos x="216" y="401"/>
                </a:cxn>
                <a:cxn ang="0">
                  <a:pos x="237" y="379"/>
                </a:cxn>
                <a:cxn ang="0">
                  <a:pos x="243" y="341"/>
                </a:cxn>
                <a:cxn ang="0">
                  <a:pos x="268" y="298"/>
                </a:cxn>
                <a:cxn ang="0">
                  <a:pos x="326" y="240"/>
                </a:cxn>
                <a:cxn ang="0">
                  <a:pos x="374" y="218"/>
                </a:cxn>
                <a:cxn ang="0">
                  <a:pos x="409" y="259"/>
                </a:cxn>
                <a:cxn ang="0">
                  <a:pos x="423" y="302"/>
                </a:cxn>
                <a:cxn ang="0">
                  <a:pos x="457" y="300"/>
                </a:cxn>
                <a:cxn ang="0">
                  <a:pos x="476" y="367"/>
                </a:cxn>
                <a:cxn ang="0">
                  <a:pos x="489" y="358"/>
                </a:cxn>
                <a:cxn ang="0">
                  <a:pos x="472" y="316"/>
                </a:cxn>
                <a:cxn ang="0">
                  <a:pos x="473" y="288"/>
                </a:cxn>
                <a:cxn ang="0">
                  <a:pos x="483" y="254"/>
                </a:cxn>
                <a:cxn ang="0">
                  <a:pos x="487" y="213"/>
                </a:cxn>
                <a:cxn ang="0">
                  <a:pos x="467" y="197"/>
                </a:cxn>
                <a:cxn ang="0">
                  <a:pos x="445" y="125"/>
                </a:cxn>
                <a:cxn ang="0">
                  <a:pos x="423" y="130"/>
                </a:cxn>
                <a:cxn ang="0">
                  <a:pos x="373" y="144"/>
                </a:cxn>
                <a:cxn ang="0">
                  <a:pos x="341" y="147"/>
                </a:cxn>
                <a:cxn ang="0">
                  <a:pos x="295" y="136"/>
                </a:cxn>
                <a:cxn ang="0">
                  <a:pos x="254" y="116"/>
                </a:cxn>
                <a:cxn ang="0">
                  <a:pos x="226" y="89"/>
                </a:cxn>
                <a:cxn ang="0">
                  <a:pos x="229" y="69"/>
                </a:cxn>
                <a:cxn ang="0">
                  <a:pos x="213" y="43"/>
                </a:cxn>
                <a:cxn ang="0">
                  <a:pos x="178" y="16"/>
                </a:cxn>
                <a:cxn ang="0">
                  <a:pos x="131" y="0"/>
                </a:cxn>
                <a:cxn ang="0">
                  <a:pos x="94" y="21"/>
                </a:cxn>
                <a:cxn ang="0">
                  <a:pos x="65" y="13"/>
                </a:cxn>
                <a:cxn ang="0">
                  <a:pos x="23" y="46"/>
                </a:cxn>
                <a:cxn ang="0">
                  <a:pos x="0" y="64"/>
                </a:cxn>
                <a:cxn ang="0">
                  <a:pos x="1" y="87"/>
                </a:cxn>
                <a:cxn ang="0">
                  <a:pos x="4" y="120"/>
                </a:cxn>
                <a:cxn ang="0">
                  <a:pos x="13" y="181"/>
                </a:cxn>
                <a:cxn ang="0">
                  <a:pos x="34" y="185"/>
                </a:cxn>
                <a:cxn ang="0">
                  <a:pos x="70" y="185"/>
                </a:cxn>
                <a:cxn ang="0">
                  <a:pos x="118" y="219"/>
                </a:cxn>
                <a:cxn ang="0">
                  <a:pos x="127" y="248"/>
                </a:cxn>
                <a:cxn ang="0">
                  <a:pos x="145" y="233"/>
                </a:cxn>
                <a:cxn ang="0">
                  <a:pos x="149" y="265"/>
                </a:cxn>
              </a:cxnLst>
              <a:rect l="0" t="0" r="r" b="b"/>
              <a:pathLst>
                <a:path w="509" h="410">
                  <a:moveTo>
                    <a:pt x="149" y="265"/>
                  </a:moveTo>
                  <a:cubicBezTo>
                    <a:pt x="147" y="263"/>
                    <a:pt x="147" y="263"/>
                    <a:pt x="147" y="263"/>
                  </a:cubicBezTo>
                  <a:cubicBezTo>
                    <a:pt x="147" y="265"/>
                    <a:pt x="148" y="268"/>
                    <a:pt x="148" y="270"/>
                  </a:cubicBezTo>
                  <a:cubicBezTo>
                    <a:pt x="148" y="278"/>
                    <a:pt x="153" y="286"/>
                    <a:pt x="155" y="295"/>
                  </a:cubicBezTo>
                  <a:cubicBezTo>
                    <a:pt x="158" y="305"/>
                    <a:pt x="166" y="319"/>
                    <a:pt x="168" y="326"/>
                  </a:cubicBezTo>
                  <a:cubicBezTo>
                    <a:pt x="170" y="332"/>
                    <a:pt x="170" y="334"/>
                    <a:pt x="174" y="340"/>
                  </a:cubicBezTo>
                  <a:cubicBezTo>
                    <a:pt x="177" y="345"/>
                    <a:pt x="175" y="351"/>
                    <a:pt x="179" y="358"/>
                  </a:cubicBezTo>
                  <a:cubicBezTo>
                    <a:pt x="180" y="362"/>
                    <a:pt x="187" y="366"/>
                    <a:pt x="188" y="372"/>
                  </a:cubicBezTo>
                  <a:cubicBezTo>
                    <a:pt x="191" y="382"/>
                    <a:pt x="196" y="390"/>
                    <a:pt x="200" y="401"/>
                  </a:cubicBezTo>
                  <a:cubicBezTo>
                    <a:pt x="200" y="402"/>
                    <a:pt x="202" y="405"/>
                    <a:pt x="204" y="405"/>
                  </a:cubicBezTo>
                  <a:cubicBezTo>
                    <a:pt x="204" y="409"/>
                    <a:pt x="207" y="410"/>
                    <a:pt x="210" y="410"/>
                  </a:cubicBezTo>
                  <a:cubicBezTo>
                    <a:pt x="214" y="410"/>
                    <a:pt x="214" y="405"/>
                    <a:pt x="216" y="401"/>
                  </a:cubicBezTo>
                  <a:cubicBezTo>
                    <a:pt x="218" y="397"/>
                    <a:pt x="219" y="398"/>
                    <a:pt x="224" y="396"/>
                  </a:cubicBezTo>
                  <a:cubicBezTo>
                    <a:pt x="228" y="394"/>
                    <a:pt x="227" y="382"/>
                    <a:pt x="233" y="381"/>
                  </a:cubicBezTo>
                  <a:cubicBezTo>
                    <a:pt x="234" y="380"/>
                    <a:pt x="237" y="380"/>
                    <a:pt x="237" y="379"/>
                  </a:cubicBezTo>
                  <a:cubicBezTo>
                    <a:pt x="240" y="379"/>
                    <a:pt x="240" y="379"/>
                    <a:pt x="240" y="379"/>
                  </a:cubicBezTo>
                  <a:cubicBezTo>
                    <a:pt x="237" y="367"/>
                    <a:pt x="237" y="367"/>
                    <a:pt x="237" y="367"/>
                  </a:cubicBezTo>
                  <a:cubicBezTo>
                    <a:pt x="237" y="359"/>
                    <a:pt x="243" y="352"/>
                    <a:pt x="243" y="341"/>
                  </a:cubicBezTo>
                  <a:cubicBezTo>
                    <a:pt x="243" y="334"/>
                    <a:pt x="240" y="329"/>
                    <a:pt x="240" y="321"/>
                  </a:cubicBezTo>
                  <a:cubicBezTo>
                    <a:pt x="240" y="312"/>
                    <a:pt x="249" y="311"/>
                    <a:pt x="257" y="308"/>
                  </a:cubicBezTo>
                  <a:cubicBezTo>
                    <a:pt x="260" y="307"/>
                    <a:pt x="265" y="302"/>
                    <a:pt x="268" y="298"/>
                  </a:cubicBezTo>
                  <a:cubicBezTo>
                    <a:pt x="277" y="290"/>
                    <a:pt x="284" y="281"/>
                    <a:pt x="293" y="272"/>
                  </a:cubicBezTo>
                  <a:cubicBezTo>
                    <a:pt x="300" y="265"/>
                    <a:pt x="313" y="263"/>
                    <a:pt x="321" y="255"/>
                  </a:cubicBezTo>
                  <a:cubicBezTo>
                    <a:pt x="325" y="251"/>
                    <a:pt x="325" y="246"/>
                    <a:pt x="326" y="240"/>
                  </a:cubicBezTo>
                  <a:cubicBezTo>
                    <a:pt x="328" y="236"/>
                    <a:pt x="337" y="236"/>
                    <a:pt x="340" y="229"/>
                  </a:cubicBezTo>
                  <a:cubicBezTo>
                    <a:pt x="344" y="231"/>
                    <a:pt x="344" y="233"/>
                    <a:pt x="351" y="233"/>
                  </a:cubicBezTo>
                  <a:cubicBezTo>
                    <a:pt x="362" y="233"/>
                    <a:pt x="374" y="231"/>
                    <a:pt x="374" y="218"/>
                  </a:cubicBezTo>
                  <a:cubicBezTo>
                    <a:pt x="381" y="219"/>
                    <a:pt x="389" y="222"/>
                    <a:pt x="390" y="228"/>
                  </a:cubicBezTo>
                  <a:cubicBezTo>
                    <a:pt x="392" y="233"/>
                    <a:pt x="391" y="240"/>
                    <a:pt x="395" y="245"/>
                  </a:cubicBezTo>
                  <a:cubicBezTo>
                    <a:pt x="398" y="251"/>
                    <a:pt x="403" y="255"/>
                    <a:pt x="409" y="259"/>
                  </a:cubicBezTo>
                  <a:cubicBezTo>
                    <a:pt x="414" y="267"/>
                    <a:pt x="419" y="274"/>
                    <a:pt x="422" y="283"/>
                  </a:cubicBezTo>
                  <a:cubicBezTo>
                    <a:pt x="423" y="285"/>
                    <a:pt x="425" y="286"/>
                    <a:pt x="425" y="289"/>
                  </a:cubicBezTo>
                  <a:cubicBezTo>
                    <a:pt x="425" y="293"/>
                    <a:pt x="423" y="296"/>
                    <a:pt x="423" y="302"/>
                  </a:cubicBezTo>
                  <a:cubicBezTo>
                    <a:pt x="423" y="307"/>
                    <a:pt x="423" y="313"/>
                    <a:pt x="430" y="313"/>
                  </a:cubicBezTo>
                  <a:cubicBezTo>
                    <a:pt x="442" y="313"/>
                    <a:pt x="445" y="300"/>
                    <a:pt x="453" y="293"/>
                  </a:cubicBezTo>
                  <a:cubicBezTo>
                    <a:pt x="455" y="295"/>
                    <a:pt x="454" y="297"/>
                    <a:pt x="457" y="300"/>
                  </a:cubicBezTo>
                  <a:cubicBezTo>
                    <a:pt x="457" y="300"/>
                    <a:pt x="461" y="300"/>
                    <a:pt x="462" y="302"/>
                  </a:cubicBezTo>
                  <a:cubicBezTo>
                    <a:pt x="467" y="308"/>
                    <a:pt x="459" y="322"/>
                    <a:pt x="465" y="322"/>
                  </a:cubicBezTo>
                  <a:cubicBezTo>
                    <a:pt x="465" y="336"/>
                    <a:pt x="476" y="347"/>
                    <a:pt x="476" y="367"/>
                  </a:cubicBezTo>
                  <a:cubicBezTo>
                    <a:pt x="476" y="371"/>
                    <a:pt x="473" y="382"/>
                    <a:pt x="476" y="383"/>
                  </a:cubicBezTo>
                  <a:cubicBezTo>
                    <a:pt x="480" y="376"/>
                    <a:pt x="481" y="371"/>
                    <a:pt x="485" y="363"/>
                  </a:cubicBezTo>
                  <a:cubicBezTo>
                    <a:pt x="486" y="361"/>
                    <a:pt x="489" y="360"/>
                    <a:pt x="489" y="358"/>
                  </a:cubicBezTo>
                  <a:cubicBezTo>
                    <a:pt x="489" y="354"/>
                    <a:pt x="483" y="334"/>
                    <a:pt x="479" y="330"/>
                  </a:cubicBezTo>
                  <a:cubicBezTo>
                    <a:pt x="476" y="327"/>
                    <a:pt x="472" y="325"/>
                    <a:pt x="472" y="320"/>
                  </a:cubicBezTo>
                  <a:cubicBezTo>
                    <a:pt x="472" y="319"/>
                    <a:pt x="472" y="318"/>
                    <a:pt x="472" y="316"/>
                  </a:cubicBezTo>
                  <a:cubicBezTo>
                    <a:pt x="472" y="317"/>
                    <a:pt x="472" y="317"/>
                    <a:pt x="472" y="317"/>
                  </a:cubicBezTo>
                  <a:cubicBezTo>
                    <a:pt x="473" y="316"/>
                    <a:pt x="476" y="311"/>
                    <a:pt x="476" y="307"/>
                  </a:cubicBezTo>
                  <a:cubicBezTo>
                    <a:pt x="476" y="302"/>
                    <a:pt x="476" y="293"/>
                    <a:pt x="473" y="288"/>
                  </a:cubicBezTo>
                  <a:cubicBezTo>
                    <a:pt x="470" y="284"/>
                    <a:pt x="464" y="284"/>
                    <a:pt x="464" y="276"/>
                  </a:cubicBezTo>
                  <a:cubicBezTo>
                    <a:pt x="464" y="268"/>
                    <a:pt x="467" y="262"/>
                    <a:pt x="472" y="258"/>
                  </a:cubicBezTo>
                  <a:cubicBezTo>
                    <a:pt x="474" y="255"/>
                    <a:pt x="479" y="256"/>
                    <a:pt x="483" y="254"/>
                  </a:cubicBezTo>
                  <a:cubicBezTo>
                    <a:pt x="493" y="247"/>
                    <a:pt x="500" y="244"/>
                    <a:pt x="509" y="230"/>
                  </a:cubicBezTo>
                  <a:cubicBezTo>
                    <a:pt x="506" y="230"/>
                    <a:pt x="505" y="231"/>
                    <a:pt x="501" y="231"/>
                  </a:cubicBezTo>
                  <a:cubicBezTo>
                    <a:pt x="493" y="231"/>
                    <a:pt x="487" y="222"/>
                    <a:pt x="487" y="213"/>
                  </a:cubicBezTo>
                  <a:cubicBezTo>
                    <a:pt x="483" y="212"/>
                    <a:pt x="482" y="199"/>
                    <a:pt x="478" y="199"/>
                  </a:cubicBezTo>
                  <a:cubicBezTo>
                    <a:pt x="475" y="199"/>
                    <a:pt x="472" y="202"/>
                    <a:pt x="469" y="202"/>
                  </a:cubicBezTo>
                  <a:cubicBezTo>
                    <a:pt x="468" y="202"/>
                    <a:pt x="467" y="199"/>
                    <a:pt x="467" y="197"/>
                  </a:cubicBezTo>
                  <a:cubicBezTo>
                    <a:pt x="467" y="181"/>
                    <a:pt x="479" y="180"/>
                    <a:pt x="479" y="163"/>
                  </a:cubicBezTo>
                  <a:cubicBezTo>
                    <a:pt x="479" y="154"/>
                    <a:pt x="472" y="151"/>
                    <a:pt x="468" y="144"/>
                  </a:cubicBezTo>
                  <a:cubicBezTo>
                    <a:pt x="457" y="139"/>
                    <a:pt x="448" y="140"/>
                    <a:pt x="445" y="125"/>
                  </a:cubicBezTo>
                  <a:cubicBezTo>
                    <a:pt x="442" y="125"/>
                    <a:pt x="442" y="125"/>
                    <a:pt x="442" y="125"/>
                  </a:cubicBezTo>
                  <a:cubicBezTo>
                    <a:pt x="438" y="129"/>
                    <a:pt x="438" y="129"/>
                    <a:pt x="438" y="129"/>
                  </a:cubicBezTo>
                  <a:cubicBezTo>
                    <a:pt x="433" y="131"/>
                    <a:pt x="427" y="126"/>
                    <a:pt x="423" y="130"/>
                  </a:cubicBezTo>
                  <a:cubicBezTo>
                    <a:pt x="422" y="132"/>
                    <a:pt x="421" y="133"/>
                    <a:pt x="418" y="135"/>
                  </a:cubicBezTo>
                  <a:cubicBezTo>
                    <a:pt x="415" y="137"/>
                    <a:pt x="401" y="149"/>
                    <a:pt x="394" y="149"/>
                  </a:cubicBezTo>
                  <a:cubicBezTo>
                    <a:pt x="387" y="149"/>
                    <a:pt x="382" y="144"/>
                    <a:pt x="373" y="144"/>
                  </a:cubicBezTo>
                  <a:cubicBezTo>
                    <a:pt x="362" y="144"/>
                    <a:pt x="360" y="152"/>
                    <a:pt x="354" y="155"/>
                  </a:cubicBezTo>
                  <a:cubicBezTo>
                    <a:pt x="353" y="152"/>
                    <a:pt x="352" y="145"/>
                    <a:pt x="349" y="145"/>
                  </a:cubicBezTo>
                  <a:cubicBezTo>
                    <a:pt x="347" y="145"/>
                    <a:pt x="345" y="147"/>
                    <a:pt x="341" y="147"/>
                  </a:cubicBezTo>
                  <a:cubicBezTo>
                    <a:pt x="335" y="147"/>
                    <a:pt x="329" y="147"/>
                    <a:pt x="323" y="147"/>
                  </a:cubicBezTo>
                  <a:cubicBezTo>
                    <a:pt x="313" y="147"/>
                    <a:pt x="309" y="141"/>
                    <a:pt x="302" y="136"/>
                  </a:cubicBezTo>
                  <a:cubicBezTo>
                    <a:pt x="300" y="135"/>
                    <a:pt x="296" y="139"/>
                    <a:pt x="295" y="136"/>
                  </a:cubicBezTo>
                  <a:cubicBezTo>
                    <a:pt x="293" y="132"/>
                    <a:pt x="293" y="129"/>
                    <a:pt x="290" y="127"/>
                  </a:cubicBezTo>
                  <a:cubicBezTo>
                    <a:pt x="283" y="124"/>
                    <a:pt x="279" y="126"/>
                    <a:pt x="273" y="120"/>
                  </a:cubicBezTo>
                  <a:cubicBezTo>
                    <a:pt x="268" y="115"/>
                    <a:pt x="263" y="118"/>
                    <a:pt x="254" y="116"/>
                  </a:cubicBezTo>
                  <a:cubicBezTo>
                    <a:pt x="246" y="114"/>
                    <a:pt x="243" y="108"/>
                    <a:pt x="236" y="106"/>
                  </a:cubicBezTo>
                  <a:cubicBezTo>
                    <a:pt x="234" y="105"/>
                    <a:pt x="229" y="106"/>
                    <a:pt x="228" y="103"/>
                  </a:cubicBezTo>
                  <a:cubicBezTo>
                    <a:pt x="227" y="98"/>
                    <a:pt x="227" y="94"/>
                    <a:pt x="226" y="89"/>
                  </a:cubicBezTo>
                  <a:cubicBezTo>
                    <a:pt x="226" y="85"/>
                    <a:pt x="226" y="85"/>
                    <a:pt x="226" y="85"/>
                  </a:cubicBezTo>
                  <a:cubicBezTo>
                    <a:pt x="231" y="85"/>
                    <a:pt x="236" y="86"/>
                    <a:pt x="236" y="80"/>
                  </a:cubicBezTo>
                  <a:cubicBezTo>
                    <a:pt x="236" y="75"/>
                    <a:pt x="229" y="74"/>
                    <a:pt x="229" y="69"/>
                  </a:cubicBezTo>
                  <a:cubicBezTo>
                    <a:pt x="229" y="57"/>
                    <a:pt x="246" y="59"/>
                    <a:pt x="246" y="47"/>
                  </a:cubicBezTo>
                  <a:cubicBezTo>
                    <a:pt x="246" y="43"/>
                    <a:pt x="236" y="35"/>
                    <a:pt x="232" y="35"/>
                  </a:cubicBezTo>
                  <a:cubicBezTo>
                    <a:pt x="224" y="35"/>
                    <a:pt x="221" y="42"/>
                    <a:pt x="213" y="43"/>
                  </a:cubicBezTo>
                  <a:cubicBezTo>
                    <a:pt x="205" y="40"/>
                    <a:pt x="200" y="40"/>
                    <a:pt x="194" y="34"/>
                  </a:cubicBezTo>
                  <a:cubicBezTo>
                    <a:pt x="191" y="31"/>
                    <a:pt x="193" y="25"/>
                    <a:pt x="188" y="24"/>
                  </a:cubicBezTo>
                  <a:cubicBezTo>
                    <a:pt x="182" y="22"/>
                    <a:pt x="178" y="24"/>
                    <a:pt x="178" y="16"/>
                  </a:cubicBezTo>
                  <a:cubicBezTo>
                    <a:pt x="172" y="15"/>
                    <a:pt x="168" y="15"/>
                    <a:pt x="163" y="15"/>
                  </a:cubicBezTo>
                  <a:cubicBezTo>
                    <a:pt x="154" y="15"/>
                    <a:pt x="150" y="23"/>
                    <a:pt x="140" y="23"/>
                  </a:cubicBezTo>
                  <a:cubicBezTo>
                    <a:pt x="130" y="23"/>
                    <a:pt x="140" y="0"/>
                    <a:pt x="131" y="0"/>
                  </a:cubicBezTo>
                  <a:cubicBezTo>
                    <a:pt x="122" y="0"/>
                    <a:pt x="120" y="10"/>
                    <a:pt x="116" y="10"/>
                  </a:cubicBezTo>
                  <a:cubicBezTo>
                    <a:pt x="115" y="10"/>
                    <a:pt x="114" y="11"/>
                    <a:pt x="113" y="10"/>
                  </a:cubicBezTo>
                  <a:cubicBezTo>
                    <a:pt x="110" y="16"/>
                    <a:pt x="103" y="21"/>
                    <a:pt x="94" y="21"/>
                  </a:cubicBezTo>
                  <a:cubicBezTo>
                    <a:pt x="91" y="21"/>
                    <a:pt x="90" y="16"/>
                    <a:pt x="86" y="16"/>
                  </a:cubicBezTo>
                  <a:cubicBezTo>
                    <a:pt x="83" y="16"/>
                    <a:pt x="73" y="20"/>
                    <a:pt x="72" y="15"/>
                  </a:cubicBezTo>
                  <a:cubicBezTo>
                    <a:pt x="68" y="15"/>
                    <a:pt x="69" y="13"/>
                    <a:pt x="65" y="13"/>
                  </a:cubicBezTo>
                  <a:cubicBezTo>
                    <a:pt x="54" y="13"/>
                    <a:pt x="53" y="24"/>
                    <a:pt x="45" y="32"/>
                  </a:cubicBezTo>
                  <a:cubicBezTo>
                    <a:pt x="42" y="35"/>
                    <a:pt x="37" y="35"/>
                    <a:pt x="33" y="39"/>
                  </a:cubicBezTo>
                  <a:cubicBezTo>
                    <a:pt x="30" y="42"/>
                    <a:pt x="28" y="46"/>
                    <a:pt x="23" y="46"/>
                  </a:cubicBezTo>
                  <a:cubicBezTo>
                    <a:pt x="19" y="46"/>
                    <a:pt x="16" y="42"/>
                    <a:pt x="12" y="42"/>
                  </a:cubicBezTo>
                  <a:cubicBezTo>
                    <a:pt x="11" y="42"/>
                    <a:pt x="11" y="45"/>
                    <a:pt x="10" y="45"/>
                  </a:cubicBezTo>
                  <a:cubicBezTo>
                    <a:pt x="7" y="47"/>
                    <a:pt x="0" y="63"/>
                    <a:pt x="0" y="64"/>
                  </a:cubicBezTo>
                  <a:cubicBezTo>
                    <a:pt x="0" y="65"/>
                    <a:pt x="1" y="67"/>
                    <a:pt x="0" y="68"/>
                  </a:cubicBezTo>
                  <a:cubicBezTo>
                    <a:pt x="1" y="70"/>
                    <a:pt x="0" y="71"/>
                    <a:pt x="1" y="73"/>
                  </a:cubicBezTo>
                  <a:cubicBezTo>
                    <a:pt x="1" y="87"/>
                    <a:pt x="1" y="87"/>
                    <a:pt x="1" y="87"/>
                  </a:cubicBezTo>
                  <a:cubicBezTo>
                    <a:pt x="3" y="91"/>
                    <a:pt x="2" y="94"/>
                    <a:pt x="4" y="98"/>
                  </a:cubicBezTo>
                  <a:cubicBezTo>
                    <a:pt x="5" y="102"/>
                    <a:pt x="14" y="98"/>
                    <a:pt x="14" y="105"/>
                  </a:cubicBezTo>
                  <a:cubicBezTo>
                    <a:pt x="14" y="114"/>
                    <a:pt x="4" y="113"/>
                    <a:pt x="4" y="120"/>
                  </a:cubicBezTo>
                  <a:cubicBezTo>
                    <a:pt x="4" y="126"/>
                    <a:pt x="8" y="126"/>
                    <a:pt x="10" y="128"/>
                  </a:cubicBezTo>
                  <a:cubicBezTo>
                    <a:pt x="17" y="143"/>
                    <a:pt x="32" y="145"/>
                    <a:pt x="32" y="164"/>
                  </a:cubicBezTo>
                  <a:cubicBezTo>
                    <a:pt x="21" y="167"/>
                    <a:pt x="13" y="169"/>
                    <a:pt x="13" y="181"/>
                  </a:cubicBezTo>
                  <a:cubicBezTo>
                    <a:pt x="13" y="184"/>
                    <a:pt x="15" y="187"/>
                    <a:pt x="15" y="189"/>
                  </a:cubicBezTo>
                  <a:cubicBezTo>
                    <a:pt x="30" y="188"/>
                    <a:pt x="30" y="188"/>
                    <a:pt x="30" y="188"/>
                  </a:cubicBezTo>
                  <a:cubicBezTo>
                    <a:pt x="31" y="187"/>
                    <a:pt x="33" y="186"/>
                    <a:pt x="34" y="185"/>
                  </a:cubicBezTo>
                  <a:cubicBezTo>
                    <a:pt x="46" y="188"/>
                    <a:pt x="46" y="188"/>
                    <a:pt x="46" y="188"/>
                  </a:cubicBezTo>
                  <a:cubicBezTo>
                    <a:pt x="50" y="188"/>
                    <a:pt x="52" y="184"/>
                    <a:pt x="57" y="184"/>
                  </a:cubicBezTo>
                  <a:cubicBezTo>
                    <a:pt x="62" y="184"/>
                    <a:pt x="65" y="184"/>
                    <a:pt x="70" y="185"/>
                  </a:cubicBezTo>
                  <a:cubicBezTo>
                    <a:pt x="75" y="187"/>
                    <a:pt x="78" y="197"/>
                    <a:pt x="82" y="203"/>
                  </a:cubicBezTo>
                  <a:cubicBezTo>
                    <a:pt x="86" y="209"/>
                    <a:pt x="99" y="218"/>
                    <a:pt x="108" y="218"/>
                  </a:cubicBezTo>
                  <a:cubicBezTo>
                    <a:pt x="111" y="218"/>
                    <a:pt x="114" y="218"/>
                    <a:pt x="118" y="219"/>
                  </a:cubicBezTo>
                  <a:cubicBezTo>
                    <a:pt x="116" y="221"/>
                    <a:pt x="116" y="225"/>
                    <a:pt x="112" y="225"/>
                  </a:cubicBezTo>
                  <a:cubicBezTo>
                    <a:pt x="108" y="227"/>
                    <a:pt x="105" y="225"/>
                    <a:pt x="101" y="227"/>
                  </a:cubicBezTo>
                  <a:cubicBezTo>
                    <a:pt x="108" y="234"/>
                    <a:pt x="113" y="248"/>
                    <a:pt x="127" y="248"/>
                  </a:cubicBezTo>
                  <a:cubicBezTo>
                    <a:pt x="138" y="248"/>
                    <a:pt x="139" y="233"/>
                    <a:pt x="144" y="227"/>
                  </a:cubicBezTo>
                  <a:cubicBezTo>
                    <a:pt x="148" y="227"/>
                    <a:pt x="148" y="227"/>
                    <a:pt x="148" y="227"/>
                  </a:cubicBezTo>
                  <a:cubicBezTo>
                    <a:pt x="148" y="229"/>
                    <a:pt x="145" y="232"/>
                    <a:pt x="145" y="233"/>
                  </a:cubicBezTo>
                  <a:cubicBezTo>
                    <a:pt x="145" y="239"/>
                    <a:pt x="150" y="244"/>
                    <a:pt x="150" y="251"/>
                  </a:cubicBezTo>
                  <a:cubicBezTo>
                    <a:pt x="150" y="257"/>
                    <a:pt x="147" y="258"/>
                    <a:pt x="147" y="264"/>
                  </a:cubicBezTo>
                  <a:lnTo>
                    <a:pt x="149" y="265"/>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88" name="Freeform 104"/>
            <p:cNvSpPr/>
            <p:nvPr/>
          </p:nvSpPr>
          <p:spPr bwMode="auto">
            <a:xfrm>
              <a:off x="5975350" y="2781300"/>
              <a:ext cx="177800" cy="192088"/>
            </a:xfrm>
            <a:custGeom>
              <a:avLst/>
              <a:gdLst/>
              <a:ahLst/>
              <a:cxnLst>
                <a:cxn ang="0">
                  <a:pos x="59" y="74"/>
                </a:cxn>
                <a:cxn ang="0">
                  <a:pos x="58" y="70"/>
                </a:cxn>
                <a:cxn ang="0">
                  <a:pos x="51" y="68"/>
                </a:cxn>
                <a:cxn ang="0">
                  <a:pos x="45" y="53"/>
                </a:cxn>
                <a:cxn ang="0">
                  <a:pos x="28" y="38"/>
                </a:cxn>
                <a:cxn ang="0">
                  <a:pos x="22" y="25"/>
                </a:cxn>
                <a:cxn ang="0">
                  <a:pos x="11" y="21"/>
                </a:cxn>
                <a:cxn ang="0">
                  <a:pos x="0" y="3"/>
                </a:cxn>
                <a:cxn ang="0">
                  <a:pos x="0" y="0"/>
                </a:cxn>
                <a:cxn ang="0">
                  <a:pos x="2" y="0"/>
                </a:cxn>
                <a:cxn ang="0">
                  <a:pos x="11" y="4"/>
                </a:cxn>
                <a:cxn ang="0">
                  <a:pos x="26" y="4"/>
                </a:cxn>
                <a:cxn ang="0">
                  <a:pos x="42" y="20"/>
                </a:cxn>
                <a:cxn ang="0">
                  <a:pos x="47" y="23"/>
                </a:cxn>
                <a:cxn ang="0">
                  <a:pos x="61" y="35"/>
                </a:cxn>
                <a:cxn ang="0">
                  <a:pos x="86" y="53"/>
                </a:cxn>
                <a:cxn ang="0">
                  <a:pos x="101" y="64"/>
                </a:cxn>
                <a:cxn ang="0">
                  <a:pos x="100" y="66"/>
                </a:cxn>
                <a:cxn ang="0">
                  <a:pos x="103" y="66"/>
                </a:cxn>
                <a:cxn ang="0">
                  <a:pos x="107" y="70"/>
                </a:cxn>
                <a:cxn ang="0">
                  <a:pos x="105" y="74"/>
                </a:cxn>
                <a:cxn ang="0">
                  <a:pos x="114" y="81"/>
                </a:cxn>
                <a:cxn ang="0">
                  <a:pos x="124" y="98"/>
                </a:cxn>
                <a:cxn ang="0">
                  <a:pos x="133" y="106"/>
                </a:cxn>
                <a:cxn ang="0">
                  <a:pos x="133" y="125"/>
                </a:cxn>
                <a:cxn ang="0">
                  <a:pos x="131" y="138"/>
                </a:cxn>
                <a:cxn ang="0">
                  <a:pos x="119" y="144"/>
                </a:cxn>
                <a:cxn ang="0">
                  <a:pos x="108" y="132"/>
                </a:cxn>
                <a:cxn ang="0">
                  <a:pos x="84" y="112"/>
                </a:cxn>
                <a:cxn ang="0">
                  <a:pos x="67" y="85"/>
                </a:cxn>
                <a:cxn ang="0">
                  <a:pos x="59" y="74"/>
                </a:cxn>
              </a:cxnLst>
              <a:rect l="0" t="0" r="r" b="b"/>
              <a:pathLst>
                <a:path w="133" h="144">
                  <a:moveTo>
                    <a:pt x="59" y="74"/>
                  </a:moveTo>
                  <a:cubicBezTo>
                    <a:pt x="58" y="74"/>
                    <a:pt x="59" y="72"/>
                    <a:pt x="58" y="70"/>
                  </a:cubicBezTo>
                  <a:cubicBezTo>
                    <a:pt x="57" y="69"/>
                    <a:pt x="52" y="69"/>
                    <a:pt x="51" y="68"/>
                  </a:cubicBezTo>
                  <a:cubicBezTo>
                    <a:pt x="49" y="67"/>
                    <a:pt x="45" y="56"/>
                    <a:pt x="45" y="53"/>
                  </a:cubicBezTo>
                  <a:cubicBezTo>
                    <a:pt x="41" y="43"/>
                    <a:pt x="31" y="44"/>
                    <a:pt x="28" y="38"/>
                  </a:cubicBezTo>
                  <a:cubicBezTo>
                    <a:pt x="26" y="33"/>
                    <a:pt x="24" y="30"/>
                    <a:pt x="22" y="25"/>
                  </a:cubicBezTo>
                  <a:cubicBezTo>
                    <a:pt x="20" y="21"/>
                    <a:pt x="15" y="22"/>
                    <a:pt x="11" y="21"/>
                  </a:cubicBezTo>
                  <a:cubicBezTo>
                    <a:pt x="8" y="20"/>
                    <a:pt x="1" y="8"/>
                    <a:pt x="0" y="3"/>
                  </a:cubicBezTo>
                  <a:cubicBezTo>
                    <a:pt x="0" y="0"/>
                    <a:pt x="0" y="0"/>
                    <a:pt x="0" y="0"/>
                  </a:cubicBezTo>
                  <a:cubicBezTo>
                    <a:pt x="0" y="0"/>
                    <a:pt x="1" y="0"/>
                    <a:pt x="2" y="0"/>
                  </a:cubicBezTo>
                  <a:cubicBezTo>
                    <a:pt x="7" y="0"/>
                    <a:pt x="8" y="2"/>
                    <a:pt x="11" y="4"/>
                  </a:cubicBezTo>
                  <a:cubicBezTo>
                    <a:pt x="26" y="4"/>
                    <a:pt x="26" y="4"/>
                    <a:pt x="26" y="4"/>
                  </a:cubicBezTo>
                  <a:cubicBezTo>
                    <a:pt x="35" y="7"/>
                    <a:pt x="38" y="13"/>
                    <a:pt x="42" y="20"/>
                  </a:cubicBezTo>
                  <a:cubicBezTo>
                    <a:pt x="43" y="23"/>
                    <a:pt x="45" y="22"/>
                    <a:pt x="47" y="23"/>
                  </a:cubicBezTo>
                  <a:cubicBezTo>
                    <a:pt x="53" y="25"/>
                    <a:pt x="56" y="30"/>
                    <a:pt x="61" y="35"/>
                  </a:cubicBezTo>
                  <a:cubicBezTo>
                    <a:pt x="69" y="43"/>
                    <a:pt x="74" y="49"/>
                    <a:pt x="86" y="53"/>
                  </a:cubicBezTo>
                  <a:cubicBezTo>
                    <a:pt x="93" y="55"/>
                    <a:pt x="101" y="57"/>
                    <a:pt x="101" y="64"/>
                  </a:cubicBezTo>
                  <a:cubicBezTo>
                    <a:pt x="101" y="64"/>
                    <a:pt x="100" y="65"/>
                    <a:pt x="100" y="66"/>
                  </a:cubicBezTo>
                  <a:cubicBezTo>
                    <a:pt x="101" y="66"/>
                    <a:pt x="102" y="66"/>
                    <a:pt x="103" y="66"/>
                  </a:cubicBezTo>
                  <a:cubicBezTo>
                    <a:pt x="105" y="66"/>
                    <a:pt x="106" y="68"/>
                    <a:pt x="107" y="70"/>
                  </a:cubicBezTo>
                  <a:cubicBezTo>
                    <a:pt x="105" y="74"/>
                    <a:pt x="105" y="74"/>
                    <a:pt x="105" y="74"/>
                  </a:cubicBezTo>
                  <a:cubicBezTo>
                    <a:pt x="105" y="80"/>
                    <a:pt x="109" y="81"/>
                    <a:pt x="114" y="81"/>
                  </a:cubicBezTo>
                  <a:cubicBezTo>
                    <a:pt x="114" y="91"/>
                    <a:pt x="119" y="93"/>
                    <a:pt x="124" y="98"/>
                  </a:cubicBezTo>
                  <a:cubicBezTo>
                    <a:pt x="127" y="101"/>
                    <a:pt x="133" y="102"/>
                    <a:pt x="133" y="106"/>
                  </a:cubicBezTo>
                  <a:cubicBezTo>
                    <a:pt x="133" y="112"/>
                    <a:pt x="133" y="116"/>
                    <a:pt x="133" y="125"/>
                  </a:cubicBezTo>
                  <a:cubicBezTo>
                    <a:pt x="128" y="127"/>
                    <a:pt x="131" y="133"/>
                    <a:pt x="131" y="138"/>
                  </a:cubicBezTo>
                  <a:cubicBezTo>
                    <a:pt x="131" y="143"/>
                    <a:pt x="122" y="144"/>
                    <a:pt x="119" y="144"/>
                  </a:cubicBezTo>
                  <a:cubicBezTo>
                    <a:pt x="116" y="144"/>
                    <a:pt x="109" y="132"/>
                    <a:pt x="108" y="132"/>
                  </a:cubicBezTo>
                  <a:cubicBezTo>
                    <a:pt x="100" y="124"/>
                    <a:pt x="92" y="120"/>
                    <a:pt x="84" y="112"/>
                  </a:cubicBezTo>
                  <a:cubicBezTo>
                    <a:pt x="75" y="103"/>
                    <a:pt x="71" y="95"/>
                    <a:pt x="67" y="85"/>
                  </a:cubicBezTo>
                  <a:cubicBezTo>
                    <a:pt x="66" y="83"/>
                    <a:pt x="60" y="74"/>
                    <a:pt x="59" y="7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89" name="Freeform 105"/>
            <p:cNvSpPr/>
            <p:nvPr/>
          </p:nvSpPr>
          <p:spPr bwMode="auto">
            <a:xfrm>
              <a:off x="6203950" y="2757488"/>
              <a:ext cx="169863" cy="188913"/>
            </a:xfrm>
            <a:custGeom>
              <a:avLst/>
              <a:gdLst/>
              <a:ahLst/>
              <a:cxnLst>
                <a:cxn ang="0">
                  <a:pos x="37" y="130"/>
                </a:cxn>
                <a:cxn ang="0">
                  <a:pos x="36" y="124"/>
                </a:cxn>
                <a:cxn ang="0">
                  <a:pos x="27" y="126"/>
                </a:cxn>
                <a:cxn ang="0">
                  <a:pos x="11" y="102"/>
                </a:cxn>
                <a:cxn ang="0">
                  <a:pos x="12" y="99"/>
                </a:cxn>
                <a:cxn ang="0">
                  <a:pos x="6" y="97"/>
                </a:cxn>
                <a:cxn ang="0">
                  <a:pos x="0" y="78"/>
                </a:cxn>
                <a:cxn ang="0">
                  <a:pos x="15" y="74"/>
                </a:cxn>
                <a:cxn ang="0">
                  <a:pos x="33" y="54"/>
                </a:cxn>
                <a:cxn ang="0">
                  <a:pos x="45" y="50"/>
                </a:cxn>
                <a:cxn ang="0">
                  <a:pos x="56" y="41"/>
                </a:cxn>
                <a:cxn ang="0">
                  <a:pos x="59" y="35"/>
                </a:cxn>
                <a:cxn ang="0">
                  <a:pos x="63" y="32"/>
                </a:cxn>
                <a:cxn ang="0">
                  <a:pos x="66" y="29"/>
                </a:cxn>
                <a:cxn ang="0">
                  <a:pos x="82" y="23"/>
                </a:cxn>
                <a:cxn ang="0">
                  <a:pos x="102" y="0"/>
                </a:cxn>
                <a:cxn ang="0">
                  <a:pos x="109" y="11"/>
                </a:cxn>
                <a:cxn ang="0">
                  <a:pos x="127" y="23"/>
                </a:cxn>
                <a:cxn ang="0">
                  <a:pos x="117" y="29"/>
                </a:cxn>
                <a:cxn ang="0">
                  <a:pos x="119" y="31"/>
                </a:cxn>
                <a:cxn ang="0">
                  <a:pos x="106" y="37"/>
                </a:cxn>
                <a:cxn ang="0">
                  <a:pos x="108" y="41"/>
                </a:cxn>
                <a:cxn ang="0">
                  <a:pos x="105" y="44"/>
                </a:cxn>
                <a:cxn ang="0">
                  <a:pos x="125" y="73"/>
                </a:cxn>
                <a:cxn ang="0">
                  <a:pos x="115" y="77"/>
                </a:cxn>
                <a:cxn ang="0">
                  <a:pos x="111" y="78"/>
                </a:cxn>
                <a:cxn ang="0">
                  <a:pos x="109" y="83"/>
                </a:cxn>
                <a:cxn ang="0">
                  <a:pos x="103" y="102"/>
                </a:cxn>
                <a:cxn ang="0">
                  <a:pos x="93" y="113"/>
                </a:cxn>
                <a:cxn ang="0">
                  <a:pos x="95" y="119"/>
                </a:cxn>
                <a:cxn ang="0">
                  <a:pos x="90" y="134"/>
                </a:cxn>
                <a:cxn ang="0">
                  <a:pos x="76" y="141"/>
                </a:cxn>
                <a:cxn ang="0">
                  <a:pos x="71" y="135"/>
                </a:cxn>
                <a:cxn ang="0">
                  <a:pos x="51" y="128"/>
                </a:cxn>
                <a:cxn ang="0">
                  <a:pos x="40" y="132"/>
                </a:cxn>
                <a:cxn ang="0">
                  <a:pos x="37" y="130"/>
                </a:cxn>
              </a:cxnLst>
              <a:rect l="0" t="0" r="r" b="b"/>
              <a:pathLst>
                <a:path w="127" h="141">
                  <a:moveTo>
                    <a:pt x="37" y="130"/>
                  </a:moveTo>
                  <a:cubicBezTo>
                    <a:pt x="36" y="130"/>
                    <a:pt x="36" y="125"/>
                    <a:pt x="36" y="124"/>
                  </a:cubicBezTo>
                  <a:cubicBezTo>
                    <a:pt x="32" y="123"/>
                    <a:pt x="30" y="126"/>
                    <a:pt x="27" y="126"/>
                  </a:cubicBezTo>
                  <a:cubicBezTo>
                    <a:pt x="10" y="126"/>
                    <a:pt x="17" y="110"/>
                    <a:pt x="11" y="102"/>
                  </a:cubicBezTo>
                  <a:cubicBezTo>
                    <a:pt x="11" y="101"/>
                    <a:pt x="12" y="100"/>
                    <a:pt x="12" y="99"/>
                  </a:cubicBezTo>
                  <a:cubicBezTo>
                    <a:pt x="11" y="97"/>
                    <a:pt x="8" y="97"/>
                    <a:pt x="6" y="97"/>
                  </a:cubicBezTo>
                  <a:cubicBezTo>
                    <a:pt x="4" y="96"/>
                    <a:pt x="0" y="80"/>
                    <a:pt x="0" y="78"/>
                  </a:cubicBezTo>
                  <a:cubicBezTo>
                    <a:pt x="0" y="71"/>
                    <a:pt x="9" y="74"/>
                    <a:pt x="15" y="74"/>
                  </a:cubicBezTo>
                  <a:cubicBezTo>
                    <a:pt x="29" y="74"/>
                    <a:pt x="27" y="60"/>
                    <a:pt x="33" y="54"/>
                  </a:cubicBezTo>
                  <a:cubicBezTo>
                    <a:pt x="36" y="51"/>
                    <a:pt x="41" y="51"/>
                    <a:pt x="45" y="50"/>
                  </a:cubicBezTo>
                  <a:cubicBezTo>
                    <a:pt x="52" y="49"/>
                    <a:pt x="52" y="44"/>
                    <a:pt x="56" y="41"/>
                  </a:cubicBezTo>
                  <a:cubicBezTo>
                    <a:pt x="54" y="39"/>
                    <a:pt x="59" y="35"/>
                    <a:pt x="59" y="35"/>
                  </a:cubicBezTo>
                  <a:cubicBezTo>
                    <a:pt x="61" y="34"/>
                    <a:pt x="61" y="33"/>
                    <a:pt x="63" y="32"/>
                  </a:cubicBezTo>
                  <a:cubicBezTo>
                    <a:pt x="64" y="32"/>
                    <a:pt x="65" y="30"/>
                    <a:pt x="66" y="29"/>
                  </a:cubicBezTo>
                  <a:cubicBezTo>
                    <a:pt x="70" y="25"/>
                    <a:pt x="80" y="27"/>
                    <a:pt x="82" y="23"/>
                  </a:cubicBezTo>
                  <a:cubicBezTo>
                    <a:pt x="85" y="16"/>
                    <a:pt x="95" y="0"/>
                    <a:pt x="102" y="0"/>
                  </a:cubicBezTo>
                  <a:cubicBezTo>
                    <a:pt x="109" y="0"/>
                    <a:pt x="109" y="4"/>
                    <a:pt x="109" y="11"/>
                  </a:cubicBezTo>
                  <a:cubicBezTo>
                    <a:pt x="109" y="20"/>
                    <a:pt x="127" y="15"/>
                    <a:pt x="127" y="23"/>
                  </a:cubicBezTo>
                  <a:cubicBezTo>
                    <a:pt x="127" y="27"/>
                    <a:pt x="117" y="25"/>
                    <a:pt x="117" y="29"/>
                  </a:cubicBezTo>
                  <a:cubicBezTo>
                    <a:pt x="117" y="30"/>
                    <a:pt x="118" y="31"/>
                    <a:pt x="119" y="31"/>
                  </a:cubicBezTo>
                  <a:cubicBezTo>
                    <a:pt x="118" y="32"/>
                    <a:pt x="106" y="37"/>
                    <a:pt x="106" y="37"/>
                  </a:cubicBezTo>
                  <a:cubicBezTo>
                    <a:pt x="107" y="38"/>
                    <a:pt x="108" y="40"/>
                    <a:pt x="108" y="41"/>
                  </a:cubicBezTo>
                  <a:cubicBezTo>
                    <a:pt x="107" y="42"/>
                    <a:pt x="105" y="43"/>
                    <a:pt x="105" y="44"/>
                  </a:cubicBezTo>
                  <a:cubicBezTo>
                    <a:pt x="105" y="51"/>
                    <a:pt x="117" y="73"/>
                    <a:pt x="125" y="73"/>
                  </a:cubicBezTo>
                  <a:cubicBezTo>
                    <a:pt x="124" y="79"/>
                    <a:pt x="120" y="77"/>
                    <a:pt x="115" y="77"/>
                  </a:cubicBezTo>
                  <a:cubicBezTo>
                    <a:pt x="114" y="77"/>
                    <a:pt x="112" y="78"/>
                    <a:pt x="111" y="78"/>
                  </a:cubicBezTo>
                  <a:cubicBezTo>
                    <a:pt x="109" y="83"/>
                    <a:pt x="109" y="83"/>
                    <a:pt x="109" y="83"/>
                  </a:cubicBezTo>
                  <a:cubicBezTo>
                    <a:pt x="106" y="92"/>
                    <a:pt x="103" y="95"/>
                    <a:pt x="103" y="102"/>
                  </a:cubicBezTo>
                  <a:cubicBezTo>
                    <a:pt x="98" y="103"/>
                    <a:pt x="93" y="110"/>
                    <a:pt x="93" y="113"/>
                  </a:cubicBezTo>
                  <a:cubicBezTo>
                    <a:pt x="93" y="116"/>
                    <a:pt x="95" y="117"/>
                    <a:pt x="95" y="119"/>
                  </a:cubicBezTo>
                  <a:cubicBezTo>
                    <a:pt x="95" y="122"/>
                    <a:pt x="90" y="129"/>
                    <a:pt x="90" y="134"/>
                  </a:cubicBezTo>
                  <a:cubicBezTo>
                    <a:pt x="83" y="135"/>
                    <a:pt x="82" y="141"/>
                    <a:pt x="76" y="141"/>
                  </a:cubicBezTo>
                  <a:cubicBezTo>
                    <a:pt x="72" y="141"/>
                    <a:pt x="71" y="137"/>
                    <a:pt x="71" y="135"/>
                  </a:cubicBezTo>
                  <a:cubicBezTo>
                    <a:pt x="64" y="133"/>
                    <a:pt x="59" y="128"/>
                    <a:pt x="51" y="128"/>
                  </a:cubicBezTo>
                  <a:cubicBezTo>
                    <a:pt x="48" y="128"/>
                    <a:pt x="45" y="132"/>
                    <a:pt x="40" y="132"/>
                  </a:cubicBezTo>
                  <a:cubicBezTo>
                    <a:pt x="39" y="132"/>
                    <a:pt x="38" y="130"/>
                    <a:pt x="37" y="13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0" name="Freeform 106"/>
            <p:cNvSpPr/>
            <p:nvPr/>
          </p:nvSpPr>
          <p:spPr bwMode="auto">
            <a:xfrm>
              <a:off x="6367463" y="2847975"/>
              <a:ext cx="106363" cy="123825"/>
            </a:xfrm>
            <a:custGeom>
              <a:avLst/>
              <a:gdLst/>
              <a:ahLst/>
              <a:cxnLst>
                <a:cxn ang="0">
                  <a:pos x="31" y="34"/>
                </a:cxn>
                <a:cxn ang="0">
                  <a:pos x="27" y="38"/>
                </a:cxn>
                <a:cxn ang="0">
                  <a:pos x="17" y="24"/>
                </a:cxn>
                <a:cxn ang="0">
                  <a:pos x="32" y="16"/>
                </a:cxn>
                <a:cxn ang="0">
                  <a:pos x="49" y="15"/>
                </a:cxn>
                <a:cxn ang="0">
                  <a:pos x="64" y="18"/>
                </a:cxn>
                <a:cxn ang="0">
                  <a:pos x="77" y="4"/>
                </a:cxn>
                <a:cxn ang="0">
                  <a:pos x="79" y="0"/>
                </a:cxn>
                <a:cxn ang="0">
                  <a:pos x="77" y="0"/>
                </a:cxn>
                <a:cxn ang="0">
                  <a:pos x="63" y="10"/>
                </a:cxn>
                <a:cxn ang="0">
                  <a:pos x="59" y="10"/>
                </a:cxn>
                <a:cxn ang="0">
                  <a:pos x="28" y="5"/>
                </a:cxn>
                <a:cxn ang="0">
                  <a:pos x="12" y="30"/>
                </a:cxn>
                <a:cxn ang="0">
                  <a:pos x="8" y="37"/>
                </a:cxn>
                <a:cxn ang="0">
                  <a:pos x="0" y="61"/>
                </a:cxn>
                <a:cxn ang="0">
                  <a:pos x="8" y="66"/>
                </a:cxn>
                <a:cxn ang="0">
                  <a:pos x="8" y="87"/>
                </a:cxn>
                <a:cxn ang="0">
                  <a:pos x="16" y="93"/>
                </a:cxn>
                <a:cxn ang="0">
                  <a:pos x="22" y="76"/>
                </a:cxn>
                <a:cxn ang="0">
                  <a:pos x="18" y="61"/>
                </a:cxn>
                <a:cxn ang="0">
                  <a:pos x="25" y="56"/>
                </a:cxn>
                <a:cxn ang="0">
                  <a:pos x="28" y="56"/>
                </a:cxn>
                <a:cxn ang="0">
                  <a:pos x="27" y="65"/>
                </a:cxn>
                <a:cxn ang="0">
                  <a:pos x="34" y="79"/>
                </a:cxn>
                <a:cxn ang="0">
                  <a:pos x="34" y="83"/>
                </a:cxn>
                <a:cxn ang="0">
                  <a:pos x="39" y="83"/>
                </a:cxn>
                <a:cxn ang="0">
                  <a:pos x="49" y="73"/>
                </a:cxn>
                <a:cxn ang="0">
                  <a:pos x="43" y="65"/>
                </a:cxn>
                <a:cxn ang="0">
                  <a:pos x="45" y="63"/>
                </a:cxn>
                <a:cxn ang="0">
                  <a:pos x="34" y="44"/>
                </a:cxn>
                <a:cxn ang="0">
                  <a:pos x="57" y="31"/>
                </a:cxn>
                <a:cxn ang="0">
                  <a:pos x="57" y="28"/>
                </a:cxn>
                <a:cxn ang="0">
                  <a:pos x="31" y="36"/>
                </a:cxn>
                <a:cxn ang="0">
                  <a:pos x="31" y="34"/>
                </a:cxn>
              </a:cxnLst>
              <a:rect l="0" t="0" r="r" b="b"/>
              <a:pathLst>
                <a:path w="79" h="93">
                  <a:moveTo>
                    <a:pt x="31" y="34"/>
                  </a:moveTo>
                  <a:cubicBezTo>
                    <a:pt x="30" y="36"/>
                    <a:pt x="29" y="38"/>
                    <a:pt x="27" y="38"/>
                  </a:cubicBezTo>
                  <a:cubicBezTo>
                    <a:pt x="20" y="38"/>
                    <a:pt x="17" y="30"/>
                    <a:pt x="17" y="24"/>
                  </a:cubicBezTo>
                  <a:cubicBezTo>
                    <a:pt x="17" y="15"/>
                    <a:pt x="24" y="16"/>
                    <a:pt x="32" y="16"/>
                  </a:cubicBezTo>
                  <a:cubicBezTo>
                    <a:pt x="39" y="16"/>
                    <a:pt x="42" y="15"/>
                    <a:pt x="49" y="15"/>
                  </a:cubicBezTo>
                  <a:cubicBezTo>
                    <a:pt x="54" y="15"/>
                    <a:pt x="58" y="18"/>
                    <a:pt x="64" y="18"/>
                  </a:cubicBezTo>
                  <a:cubicBezTo>
                    <a:pt x="73" y="18"/>
                    <a:pt x="76" y="10"/>
                    <a:pt x="77" y="4"/>
                  </a:cubicBezTo>
                  <a:cubicBezTo>
                    <a:pt x="79" y="4"/>
                    <a:pt x="79" y="1"/>
                    <a:pt x="79" y="0"/>
                  </a:cubicBezTo>
                  <a:cubicBezTo>
                    <a:pt x="77" y="0"/>
                    <a:pt x="77" y="0"/>
                    <a:pt x="77" y="0"/>
                  </a:cubicBezTo>
                  <a:cubicBezTo>
                    <a:pt x="72" y="4"/>
                    <a:pt x="65" y="8"/>
                    <a:pt x="63" y="10"/>
                  </a:cubicBezTo>
                  <a:cubicBezTo>
                    <a:pt x="59" y="10"/>
                    <a:pt x="59" y="10"/>
                    <a:pt x="59" y="10"/>
                  </a:cubicBezTo>
                  <a:cubicBezTo>
                    <a:pt x="28" y="5"/>
                    <a:pt x="28" y="5"/>
                    <a:pt x="28" y="5"/>
                  </a:cubicBezTo>
                  <a:cubicBezTo>
                    <a:pt x="17" y="5"/>
                    <a:pt x="12" y="20"/>
                    <a:pt x="12" y="30"/>
                  </a:cubicBezTo>
                  <a:cubicBezTo>
                    <a:pt x="12" y="33"/>
                    <a:pt x="8" y="35"/>
                    <a:pt x="8" y="37"/>
                  </a:cubicBezTo>
                  <a:cubicBezTo>
                    <a:pt x="4" y="47"/>
                    <a:pt x="0" y="51"/>
                    <a:pt x="0" y="61"/>
                  </a:cubicBezTo>
                  <a:cubicBezTo>
                    <a:pt x="0" y="66"/>
                    <a:pt x="6" y="66"/>
                    <a:pt x="8" y="66"/>
                  </a:cubicBezTo>
                  <a:cubicBezTo>
                    <a:pt x="8" y="73"/>
                    <a:pt x="8" y="83"/>
                    <a:pt x="8" y="87"/>
                  </a:cubicBezTo>
                  <a:cubicBezTo>
                    <a:pt x="8" y="90"/>
                    <a:pt x="12" y="93"/>
                    <a:pt x="16" y="93"/>
                  </a:cubicBezTo>
                  <a:cubicBezTo>
                    <a:pt x="20" y="93"/>
                    <a:pt x="22" y="78"/>
                    <a:pt x="22" y="76"/>
                  </a:cubicBezTo>
                  <a:cubicBezTo>
                    <a:pt x="22" y="70"/>
                    <a:pt x="18" y="67"/>
                    <a:pt x="18" y="61"/>
                  </a:cubicBezTo>
                  <a:cubicBezTo>
                    <a:pt x="18" y="58"/>
                    <a:pt x="22" y="56"/>
                    <a:pt x="25" y="56"/>
                  </a:cubicBezTo>
                  <a:cubicBezTo>
                    <a:pt x="26" y="56"/>
                    <a:pt x="27" y="56"/>
                    <a:pt x="28" y="56"/>
                  </a:cubicBezTo>
                  <a:cubicBezTo>
                    <a:pt x="27" y="65"/>
                    <a:pt x="27" y="65"/>
                    <a:pt x="27" y="65"/>
                  </a:cubicBezTo>
                  <a:cubicBezTo>
                    <a:pt x="27" y="71"/>
                    <a:pt x="34" y="73"/>
                    <a:pt x="34" y="79"/>
                  </a:cubicBezTo>
                  <a:cubicBezTo>
                    <a:pt x="34" y="80"/>
                    <a:pt x="34" y="81"/>
                    <a:pt x="34" y="83"/>
                  </a:cubicBezTo>
                  <a:cubicBezTo>
                    <a:pt x="39" y="83"/>
                    <a:pt x="39" y="83"/>
                    <a:pt x="39" y="83"/>
                  </a:cubicBezTo>
                  <a:cubicBezTo>
                    <a:pt x="39" y="78"/>
                    <a:pt x="49" y="78"/>
                    <a:pt x="49" y="73"/>
                  </a:cubicBezTo>
                  <a:cubicBezTo>
                    <a:pt x="47" y="73"/>
                    <a:pt x="43" y="68"/>
                    <a:pt x="43" y="65"/>
                  </a:cubicBezTo>
                  <a:cubicBezTo>
                    <a:pt x="43" y="65"/>
                    <a:pt x="44" y="64"/>
                    <a:pt x="45" y="63"/>
                  </a:cubicBezTo>
                  <a:cubicBezTo>
                    <a:pt x="42" y="61"/>
                    <a:pt x="34" y="46"/>
                    <a:pt x="34" y="44"/>
                  </a:cubicBezTo>
                  <a:cubicBezTo>
                    <a:pt x="46" y="44"/>
                    <a:pt x="47" y="35"/>
                    <a:pt x="57" y="31"/>
                  </a:cubicBezTo>
                  <a:cubicBezTo>
                    <a:pt x="57" y="28"/>
                    <a:pt x="57" y="28"/>
                    <a:pt x="57" y="28"/>
                  </a:cubicBezTo>
                  <a:cubicBezTo>
                    <a:pt x="54" y="27"/>
                    <a:pt x="31" y="35"/>
                    <a:pt x="31" y="36"/>
                  </a:cubicBezTo>
                  <a:lnTo>
                    <a:pt x="31" y="34"/>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1" name="Freeform 107"/>
            <p:cNvSpPr/>
            <p:nvPr/>
          </p:nvSpPr>
          <p:spPr bwMode="auto">
            <a:xfrm>
              <a:off x="6145213" y="2973388"/>
              <a:ext cx="171450" cy="49213"/>
            </a:xfrm>
            <a:custGeom>
              <a:avLst/>
              <a:gdLst/>
              <a:ahLst/>
              <a:cxnLst>
                <a:cxn ang="0">
                  <a:pos x="123" y="36"/>
                </a:cxn>
                <a:cxn ang="0">
                  <a:pos x="114" y="33"/>
                </a:cxn>
                <a:cxn ang="0">
                  <a:pos x="114" y="37"/>
                </a:cxn>
                <a:cxn ang="0">
                  <a:pos x="67" y="31"/>
                </a:cxn>
                <a:cxn ang="0">
                  <a:pos x="56" y="25"/>
                </a:cxn>
                <a:cxn ang="0">
                  <a:pos x="32" y="22"/>
                </a:cxn>
                <a:cxn ang="0">
                  <a:pos x="14" y="20"/>
                </a:cxn>
                <a:cxn ang="0">
                  <a:pos x="0" y="10"/>
                </a:cxn>
                <a:cxn ang="0">
                  <a:pos x="11" y="1"/>
                </a:cxn>
                <a:cxn ang="0">
                  <a:pos x="14" y="3"/>
                </a:cxn>
                <a:cxn ang="0">
                  <a:pos x="22" y="0"/>
                </a:cxn>
                <a:cxn ang="0">
                  <a:pos x="55" y="14"/>
                </a:cxn>
                <a:cxn ang="0">
                  <a:pos x="68" y="7"/>
                </a:cxn>
                <a:cxn ang="0">
                  <a:pos x="88" y="15"/>
                </a:cxn>
                <a:cxn ang="0">
                  <a:pos x="101" y="14"/>
                </a:cxn>
                <a:cxn ang="0">
                  <a:pos x="105" y="14"/>
                </a:cxn>
                <a:cxn ang="0">
                  <a:pos x="89" y="17"/>
                </a:cxn>
                <a:cxn ang="0">
                  <a:pos x="107" y="22"/>
                </a:cxn>
                <a:cxn ang="0">
                  <a:pos x="111" y="26"/>
                </a:cxn>
                <a:cxn ang="0">
                  <a:pos x="121" y="27"/>
                </a:cxn>
                <a:cxn ang="0">
                  <a:pos x="128" y="31"/>
                </a:cxn>
                <a:cxn ang="0">
                  <a:pos x="123" y="36"/>
                </a:cxn>
              </a:cxnLst>
              <a:rect l="0" t="0" r="r" b="b"/>
              <a:pathLst>
                <a:path w="128" h="37">
                  <a:moveTo>
                    <a:pt x="123" y="36"/>
                  </a:moveTo>
                  <a:cubicBezTo>
                    <a:pt x="119" y="36"/>
                    <a:pt x="119" y="33"/>
                    <a:pt x="114" y="33"/>
                  </a:cubicBezTo>
                  <a:cubicBezTo>
                    <a:pt x="113" y="33"/>
                    <a:pt x="114" y="36"/>
                    <a:pt x="114" y="37"/>
                  </a:cubicBezTo>
                  <a:cubicBezTo>
                    <a:pt x="100" y="32"/>
                    <a:pt x="85" y="31"/>
                    <a:pt x="67" y="31"/>
                  </a:cubicBezTo>
                  <a:cubicBezTo>
                    <a:pt x="62" y="31"/>
                    <a:pt x="61" y="25"/>
                    <a:pt x="56" y="25"/>
                  </a:cubicBezTo>
                  <a:cubicBezTo>
                    <a:pt x="48" y="25"/>
                    <a:pt x="41" y="25"/>
                    <a:pt x="32" y="22"/>
                  </a:cubicBezTo>
                  <a:cubicBezTo>
                    <a:pt x="25" y="20"/>
                    <a:pt x="19" y="24"/>
                    <a:pt x="14" y="20"/>
                  </a:cubicBezTo>
                  <a:cubicBezTo>
                    <a:pt x="10" y="15"/>
                    <a:pt x="7" y="10"/>
                    <a:pt x="0" y="10"/>
                  </a:cubicBezTo>
                  <a:cubicBezTo>
                    <a:pt x="0" y="9"/>
                    <a:pt x="8" y="1"/>
                    <a:pt x="11" y="1"/>
                  </a:cubicBezTo>
                  <a:cubicBezTo>
                    <a:pt x="12" y="1"/>
                    <a:pt x="13" y="3"/>
                    <a:pt x="14" y="3"/>
                  </a:cubicBezTo>
                  <a:cubicBezTo>
                    <a:pt x="17" y="3"/>
                    <a:pt x="19" y="0"/>
                    <a:pt x="22" y="0"/>
                  </a:cubicBezTo>
                  <a:cubicBezTo>
                    <a:pt x="35" y="0"/>
                    <a:pt x="41" y="14"/>
                    <a:pt x="55" y="14"/>
                  </a:cubicBezTo>
                  <a:cubicBezTo>
                    <a:pt x="62" y="14"/>
                    <a:pt x="63" y="7"/>
                    <a:pt x="68" y="7"/>
                  </a:cubicBezTo>
                  <a:cubicBezTo>
                    <a:pt x="77" y="7"/>
                    <a:pt x="80" y="15"/>
                    <a:pt x="88" y="15"/>
                  </a:cubicBezTo>
                  <a:cubicBezTo>
                    <a:pt x="101" y="14"/>
                    <a:pt x="101" y="14"/>
                    <a:pt x="101" y="14"/>
                  </a:cubicBezTo>
                  <a:cubicBezTo>
                    <a:pt x="105" y="14"/>
                    <a:pt x="105" y="14"/>
                    <a:pt x="105" y="14"/>
                  </a:cubicBezTo>
                  <a:cubicBezTo>
                    <a:pt x="104" y="16"/>
                    <a:pt x="89" y="17"/>
                    <a:pt x="89" y="17"/>
                  </a:cubicBezTo>
                  <a:cubicBezTo>
                    <a:pt x="93" y="22"/>
                    <a:pt x="99" y="22"/>
                    <a:pt x="107" y="22"/>
                  </a:cubicBezTo>
                  <a:cubicBezTo>
                    <a:pt x="110" y="22"/>
                    <a:pt x="110" y="26"/>
                    <a:pt x="111" y="26"/>
                  </a:cubicBezTo>
                  <a:cubicBezTo>
                    <a:pt x="114" y="30"/>
                    <a:pt x="117" y="26"/>
                    <a:pt x="121" y="27"/>
                  </a:cubicBezTo>
                  <a:cubicBezTo>
                    <a:pt x="125" y="29"/>
                    <a:pt x="125" y="30"/>
                    <a:pt x="128" y="31"/>
                  </a:cubicBezTo>
                  <a:cubicBezTo>
                    <a:pt x="127" y="33"/>
                    <a:pt x="124" y="36"/>
                    <a:pt x="123" y="3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2" name="Freeform 108"/>
            <p:cNvSpPr/>
            <p:nvPr/>
          </p:nvSpPr>
          <p:spPr bwMode="auto">
            <a:xfrm>
              <a:off x="6386513" y="3013075"/>
              <a:ext cx="52388" cy="12700"/>
            </a:xfrm>
            <a:custGeom>
              <a:avLst/>
              <a:gdLst/>
              <a:ahLst/>
              <a:cxnLst>
                <a:cxn ang="0">
                  <a:pos x="26" y="9"/>
                </a:cxn>
                <a:cxn ang="0">
                  <a:pos x="10" y="9"/>
                </a:cxn>
                <a:cxn ang="0">
                  <a:pos x="0" y="4"/>
                </a:cxn>
                <a:cxn ang="0">
                  <a:pos x="8" y="1"/>
                </a:cxn>
                <a:cxn ang="0">
                  <a:pos x="26" y="4"/>
                </a:cxn>
                <a:cxn ang="0">
                  <a:pos x="39" y="0"/>
                </a:cxn>
                <a:cxn ang="0">
                  <a:pos x="26" y="9"/>
                </a:cxn>
              </a:cxnLst>
              <a:rect l="0" t="0" r="r" b="b"/>
              <a:pathLst>
                <a:path w="39" h="9">
                  <a:moveTo>
                    <a:pt x="26" y="9"/>
                  </a:moveTo>
                  <a:cubicBezTo>
                    <a:pt x="20" y="9"/>
                    <a:pt x="13" y="9"/>
                    <a:pt x="10" y="9"/>
                  </a:cubicBezTo>
                  <a:cubicBezTo>
                    <a:pt x="7" y="9"/>
                    <a:pt x="0" y="9"/>
                    <a:pt x="0" y="4"/>
                  </a:cubicBezTo>
                  <a:cubicBezTo>
                    <a:pt x="0" y="1"/>
                    <a:pt x="5" y="1"/>
                    <a:pt x="8" y="1"/>
                  </a:cubicBezTo>
                  <a:cubicBezTo>
                    <a:pt x="16" y="1"/>
                    <a:pt x="19" y="4"/>
                    <a:pt x="26" y="4"/>
                  </a:cubicBezTo>
                  <a:cubicBezTo>
                    <a:pt x="32" y="4"/>
                    <a:pt x="35" y="2"/>
                    <a:pt x="39" y="0"/>
                  </a:cubicBezTo>
                  <a:cubicBezTo>
                    <a:pt x="35" y="6"/>
                    <a:pt x="32" y="7"/>
                    <a:pt x="26" y="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3" name="Freeform 109"/>
            <p:cNvSpPr/>
            <p:nvPr/>
          </p:nvSpPr>
          <p:spPr bwMode="auto">
            <a:xfrm>
              <a:off x="6335713" y="3016250"/>
              <a:ext cx="36513" cy="12700"/>
            </a:xfrm>
            <a:custGeom>
              <a:avLst/>
              <a:gdLst/>
              <a:ahLst/>
              <a:cxnLst>
                <a:cxn ang="0">
                  <a:pos x="27" y="6"/>
                </a:cxn>
                <a:cxn ang="0">
                  <a:pos x="23" y="6"/>
                </a:cxn>
                <a:cxn ang="0">
                  <a:pos x="19" y="5"/>
                </a:cxn>
                <a:cxn ang="0">
                  <a:pos x="9" y="9"/>
                </a:cxn>
                <a:cxn ang="0">
                  <a:pos x="0" y="6"/>
                </a:cxn>
                <a:cxn ang="0">
                  <a:pos x="7" y="1"/>
                </a:cxn>
                <a:cxn ang="0">
                  <a:pos x="16" y="3"/>
                </a:cxn>
                <a:cxn ang="0">
                  <a:pos x="16" y="0"/>
                </a:cxn>
                <a:cxn ang="0">
                  <a:pos x="27" y="0"/>
                </a:cxn>
                <a:cxn ang="0">
                  <a:pos x="27" y="6"/>
                </a:cxn>
              </a:cxnLst>
              <a:rect l="0" t="0" r="r" b="b"/>
              <a:pathLst>
                <a:path w="27" h="9">
                  <a:moveTo>
                    <a:pt x="27" y="6"/>
                  </a:moveTo>
                  <a:cubicBezTo>
                    <a:pt x="23" y="6"/>
                    <a:pt x="23" y="6"/>
                    <a:pt x="23" y="6"/>
                  </a:cubicBezTo>
                  <a:cubicBezTo>
                    <a:pt x="19" y="5"/>
                    <a:pt x="19" y="5"/>
                    <a:pt x="19" y="5"/>
                  </a:cubicBezTo>
                  <a:cubicBezTo>
                    <a:pt x="15" y="6"/>
                    <a:pt x="13" y="9"/>
                    <a:pt x="9" y="9"/>
                  </a:cubicBezTo>
                  <a:cubicBezTo>
                    <a:pt x="5" y="9"/>
                    <a:pt x="0" y="8"/>
                    <a:pt x="0" y="6"/>
                  </a:cubicBezTo>
                  <a:cubicBezTo>
                    <a:pt x="0" y="1"/>
                    <a:pt x="3" y="1"/>
                    <a:pt x="7" y="1"/>
                  </a:cubicBezTo>
                  <a:cubicBezTo>
                    <a:pt x="11" y="1"/>
                    <a:pt x="13" y="2"/>
                    <a:pt x="16" y="3"/>
                  </a:cubicBezTo>
                  <a:cubicBezTo>
                    <a:pt x="16" y="2"/>
                    <a:pt x="16" y="1"/>
                    <a:pt x="16" y="0"/>
                  </a:cubicBezTo>
                  <a:cubicBezTo>
                    <a:pt x="27" y="0"/>
                    <a:pt x="27" y="0"/>
                    <a:pt x="27" y="0"/>
                  </a:cubicBezTo>
                  <a:cubicBezTo>
                    <a:pt x="27" y="3"/>
                    <a:pt x="26" y="5"/>
                    <a:pt x="27" y="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4" name="Freeform 110"/>
            <p:cNvSpPr/>
            <p:nvPr/>
          </p:nvSpPr>
          <p:spPr bwMode="auto">
            <a:xfrm>
              <a:off x="6373813" y="3030538"/>
              <a:ext cx="26988" cy="19050"/>
            </a:xfrm>
            <a:custGeom>
              <a:avLst/>
              <a:gdLst/>
              <a:ahLst/>
              <a:cxnLst>
                <a:cxn ang="0">
                  <a:pos x="15" y="14"/>
                </a:cxn>
                <a:cxn ang="0">
                  <a:pos x="12" y="9"/>
                </a:cxn>
                <a:cxn ang="0">
                  <a:pos x="0" y="4"/>
                </a:cxn>
                <a:cxn ang="0">
                  <a:pos x="9" y="1"/>
                </a:cxn>
                <a:cxn ang="0">
                  <a:pos x="13" y="1"/>
                </a:cxn>
                <a:cxn ang="0">
                  <a:pos x="20" y="11"/>
                </a:cxn>
                <a:cxn ang="0">
                  <a:pos x="16" y="14"/>
                </a:cxn>
                <a:cxn ang="0">
                  <a:pos x="15" y="14"/>
                </a:cxn>
              </a:cxnLst>
              <a:rect l="0" t="0" r="r" b="b"/>
              <a:pathLst>
                <a:path w="20" h="14">
                  <a:moveTo>
                    <a:pt x="15" y="14"/>
                  </a:moveTo>
                  <a:cubicBezTo>
                    <a:pt x="12" y="14"/>
                    <a:pt x="12" y="10"/>
                    <a:pt x="12" y="9"/>
                  </a:cubicBezTo>
                  <a:cubicBezTo>
                    <a:pt x="8" y="9"/>
                    <a:pt x="0" y="8"/>
                    <a:pt x="0" y="4"/>
                  </a:cubicBezTo>
                  <a:cubicBezTo>
                    <a:pt x="0" y="0"/>
                    <a:pt x="6" y="1"/>
                    <a:pt x="9" y="1"/>
                  </a:cubicBezTo>
                  <a:cubicBezTo>
                    <a:pt x="10" y="1"/>
                    <a:pt x="12" y="1"/>
                    <a:pt x="13" y="1"/>
                  </a:cubicBezTo>
                  <a:cubicBezTo>
                    <a:pt x="13" y="7"/>
                    <a:pt x="20" y="6"/>
                    <a:pt x="20" y="11"/>
                  </a:cubicBezTo>
                  <a:cubicBezTo>
                    <a:pt x="20" y="13"/>
                    <a:pt x="18" y="14"/>
                    <a:pt x="16" y="14"/>
                  </a:cubicBezTo>
                  <a:cubicBezTo>
                    <a:pt x="16" y="14"/>
                    <a:pt x="15" y="14"/>
                    <a:pt x="15" y="1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5" name="Freeform 111"/>
            <p:cNvSpPr/>
            <p:nvPr/>
          </p:nvSpPr>
          <p:spPr bwMode="auto">
            <a:xfrm>
              <a:off x="6323013" y="3014663"/>
              <a:ext cx="11113" cy="11113"/>
            </a:xfrm>
            <a:custGeom>
              <a:avLst/>
              <a:gdLst/>
              <a:ahLst/>
              <a:cxnLst>
                <a:cxn ang="0">
                  <a:pos x="0" y="0"/>
                </a:cxn>
                <a:cxn ang="0">
                  <a:pos x="4" y="0"/>
                </a:cxn>
                <a:cxn ang="0">
                  <a:pos x="8" y="3"/>
                </a:cxn>
                <a:cxn ang="0">
                  <a:pos x="3" y="8"/>
                </a:cxn>
                <a:cxn ang="0">
                  <a:pos x="0" y="5"/>
                </a:cxn>
                <a:cxn ang="0">
                  <a:pos x="0" y="0"/>
                </a:cxn>
              </a:cxnLst>
              <a:rect l="0" t="0" r="r" b="b"/>
              <a:pathLst>
                <a:path w="8" h="8">
                  <a:moveTo>
                    <a:pt x="0" y="0"/>
                  </a:moveTo>
                  <a:cubicBezTo>
                    <a:pt x="1" y="0"/>
                    <a:pt x="2" y="0"/>
                    <a:pt x="4" y="0"/>
                  </a:cubicBezTo>
                  <a:cubicBezTo>
                    <a:pt x="6" y="0"/>
                    <a:pt x="6" y="2"/>
                    <a:pt x="8" y="3"/>
                  </a:cubicBezTo>
                  <a:cubicBezTo>
                    <a:pt x="7" y="6"/>
                    <a:pt x="5" y="8"/>
                    <a:pt x="3" y="8"/>
                  </a:cubicBezTo>
                  <a:cubicBezTo>
                    <a:pt x="2" y="8"/>
                    <a:pt x="0" y="6"/>
                    <a:pt x="0" y="5"/>
                  </a:cubicBezTo>
                  <a:cubicBezTo>
                    <a:pt x="0" y="3"/>
                    <a:pt x="0" y="2"/>
                    <a:pt x="0"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6" name="Freeform 112"/>
            <p:cNvSpPr/>
            <p:nvPr/>
          </p:nvSpPr>
          <p:spPr bwMode="auto">
            <a:xfrm>
              <a:off x="6448425" y="3016250"/>
              <a:ext cx="58738" cy="34925"/>
            </a:xfrm>
            <a:custGeom>
              <a:avLst/>
              <a:gdLst/>
              <a:ahLst/>
              <a:cxnLst>
                <a:cxn ang="0">
                  <a:pos x="19" y="13"/>
                </a:cxn>
                <a:cxn ang="0">
                  <a:pos x="17" y="19"/>
                </a:cxn>
                <a:cxn ang="0">
                  <a:pos x="3" y="26"/>
                </a:cxn>
                <a:cxn ang="0">
                  <a:pos x="0" y="22"/>
                </a:cxn>
                <a:cxn ang="0">
                  <a:pos x="15" y="10"/>
                </a:cxn>
                <a:cxn ang="0">
                  <a:pos x="17" y="6"/>
                </a:cxn>
                <a:cxn ang="0">
                  <a:pos x="45" y="3"/>
                </a:cxn>
                <a:cxn ang="0">
                  <a:pos x="19" y="13"/>
                </a:cxn>
              </a:cxnLst>
              <a:rect l="0" t="0" r="r" b="b"/>
              <a:pathLst>
                <a:path w="45" h="26">
                  <a:moveTo>
                    <a:pt x="19" y="13"/>
                  </a:moveTo>
                  <a:cubicBezTo>
                    <a:pt x="16" y="13"/>
                    <a:pt x="19" y="17"/>
                    <a:pt x="17" y="19"/>
                  </a:cubicBezTo>
                  <a:cubicBezTo>
                    <a:pt x="15" y="21"/>
                    <a:pt x="8" y="26"/>
                    <a:pt x="3" y="26"/>
                  </a:cubicBezTo>
                  <a:cubicBezTo>
                    <a:pt x="1" y="26"/>
                    <a:pt x="0" y="24"/>
                    <a:pt x="0" y="22"/>
                  </a:cubicBezTo>
                  <a:cubicBezTo>
                    <a:pt x="0" y="12"/>
                    <a:pt x="8" y="12"/>
                    <a:pt x="15" y="10"/>
                  </a:cubicBezTo>
                  <a:cubicBezTo>
                    <a:pt x="16" y="10"/>
                    <a:pt x="16" y="7"/>
                    <a:pt x="17" y="6"/>
                  </a:cubicBezTo>
                  <a:cubicBezTo>
                    <a:pt x="21" y="2"/>
                    <a:pt x="41" y="0"/>
                    <a:pt x="45" y="3"/>
                  </a:cubicBezTo>
                  <a:cubicBezTo>
                    <a:pt x="40" y="9"/>
                    <a:pt x="26" y="13"/>
                    <a:pt x="19" y="13"/>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7" name="Freeform 113"/>
            <p:cNvSpPr/>
            <p:nvPr/>
          </p:nvSpPr>
          <p:spPr bwMode="auto">
            <a:xfrm>
              <a:off x="6489700" y="2922588"/>
              <a:ext cx="17463" cy="19050"/>
            </a:xfrm>
            <a:custGeom>
              <a:avLst/>
              <a:gdLst/>
              <a:ahLst/>
              <a:cxnLst>
                <a:cxn ang="0">
                  <a:pos x="13" y="8"/>
                </a:cxn>
                <a:cxn ang="0">
                  <a:pos x="8" y="14"/>
                </a:cxn>
                <a:cxn ang="0">
                  <a:pos x="0" y="5"/>
                </a:cxn>
                <a:cxn ang="0">
                  <a:pos x="13" y="8"/>
                </a:cxn>
              </a:cxnLst>
              <a:rect l="0" t="0" r="r" b="b"/>
              <a:pathLst>
                <a:path w="13" h="14">
                  <a:moveTo>
                    <a:pt x="13" y="8"/>
                  </a:moveTo>
                  <a:cubicBezTo>
                    <a:pt x="13" y="9"/>
                    <a:pt x="10" y="14"/>
                    <a:pt x="8" y="14"/>
                  </a:cubicBezTo>
                  <a:cubicBezTo>
                    <a:pt x="6" y="14"/>
                    <a:pt x="0" y="9"/>
                    <a:pt x="0" y="5"/>
                  </a:cubicBezTo>
                  <a:cubicBezTo>
                    <a:pt x="0" y="0"/>
                    <a:pt x="13" y="4"/>
                    <a:pt x="13" y="8"/>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8" name="Freeform 114"/>
            <p:cNvSpPr/>
            <p:nvPr/>
          </p:nvSpPr>
          <p:spPr bwMode="auto">
            <a:xfrm>
              <a:off x="6519863" y="2924175"/>
              <a:ext cx="47625" cy="14288"/>
            </a:xfrm>
            <a:custGeom>
              <a:avLst/>
              <a:gdLst/>
              <a:ahLst/>
              <a:cxnLst>
                <a:cxn ang="0">
                  <a:pos x="31" y="2"/>
                </a:cxn>
                <a:cxn ang="0">
                  <a:pos x="36" y="10"/>
                </a:cxn>
                <a:cxn ang="0">
                  <a:pos x="34" y="10"/>
                </a:cxn>
                <a:cxn ang="0">
                  <a:pos x="18" y="6"/>
                </a:cxn>
                <a:cxn ang="0">
                  <a:pos x="8" y="6"/>
                </a:cxn>
                <a:cxn ang="0">
                  <a:pos x="0" y="4"/>
                </a:cxn>
                <a:cxn ang="0">
                  <a:pos x="3" y="0"/>
                </a:cxn>
                <a:cxn ang="0">
                  <a:pos x="23" y="0"/>
                </a:cxn>
                <a:cxn ang="0">
                  <a:pos x="30" y="2"/>
                </a:cxn>
                <a:cxn ang="0">
                  <a:pos x="31" y="2"/>
                </a:cxn>
              </a:cxnLst>
              <a:rect l="0" t="0" r="r" b="b"/>
              <a:pathLst>
                <a:path w="36" h="10">
                  <a:moveTo>
                    <a:pt x="31" y="2"/>
                  </a:moveTo>
                  <a:cubicBezTo>
                    <a:pt x="32" y="5"/>
                    <a:pt x="36" y="6"/>
                    <a:pt x="36" y="10"/>
                  </a:cubicBezTo>
                  <a:cubicBezTo>
                    <a:pt x="36" y="10"/>
                    <a:pt x="35" y="10"/>
                    <a:pt x="34" y="10"/>
                  </a:cubicBezTo>
                  <a:cubicBezTo>
                    <a:pt x="28" y="10"/>
                    <a:pt x="25" y="6"/>
                    <a:pt x="18" y="6"/>
                  </a:cubicBezTo>
                  <a:cubicBezTo>
                    <a:pt x="14" y="6"/>
                    <a:pt x="12" y="6"/>
                    <a:pt x="8" y="6"/>
                  </a:cubicBezTo>
                  <a:cubicBezTo>
                    <a:pt x="6" y="6"/>
                    <a:pt x="0" y="4"/>
                    <a:pt x="0" y="4"/>
                  </a:cubicBezTo>
                  <a:cubicBezTo>
                    <a:pt x="0" y="2"/>
                    <a:pt x="3" y="1"/>
                    <a:pt x="3" y="0"/>
                  </a:cubicBezTo>
                  <a:cubicBezTo>
                    <a:pt x="23" y="0"/>
                    <a:pt x="23" y="0"/>
                    <a:pt x="23" y="0"/>
                  </a:cubicBezTo>
                  <a:cubicBezTo>
                    <a:pt x="24" y="3"/>
                    <a:pt x="27" y="2"/>
                    <a:pt x="30" y="2"/>
                  </a:cubicBezTo>
                  <a:lnTo>
                    <a:pt x="31" y="2"/>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399" name="Freeform 115"/>
            <p:cNvSpPr/>
            <p:nvPr/>
          </p:nvSpPr>
          <p:spPr bwMode="auto">
            <a:xfrm>
              <a:off x="6513513" y="2836863"/>
              <a:ext cx="19050" cy="46038"/>
            </a:xfrm>
            <a:custGeom>
              <a:avLst/>
              <a:gdLst/>
              <a:ahLst/>
              <a:cxnLst>
                <a:cxn ang="0">
                  <a:pos x="4" y="28"/>
                </a:cxn>
                <a:cxn ang="0">
                  <a:pos x="4" y="25"/>
                </a:cxn>
                <a:cxn ang="0">
                  <a:pos x="14" y="24"/>
                </a:cxn>
                <a:cxn ang="0">
                  <a:pos x="11" y="17"/>
                </a:cxn>
                <a:cxn ang="0">
                  <a:pos x="15" y="12"/>
                </a:cxn>
                <a:cxn ang="0">
                  <a:pos x="4" y="0"/>
                </a:cxn>
                <a:cxn ang="0">
                  <a:pos x="0" y="9"/>
                </a:cxn>
                <a:cxn ang="0">
                  <a:pos x="3" y="21"/>
                </a:cxn>
                <a:cxn ang="0">
                  <a:pos x="3" y="27"/>
                </a:cxn>
                <a:cxn ang="0">
                  <a:pos x="9" y="35"/>
                </a:cxn>
                <a:cxn ang="0">
                  <a:pos x="4" y="28"/>
                </a:cxn>
              </a:cxnLst>
              <a:rect l="0" t="0" r="r" b="b"/>
              <a:pathLst>
                <a:path w="15" h="35">
                  <a:moveTo>
                    <a:pt x="4" y="28"/>
                  </a:moveTo>
                  <a:cubicBezTo>
                    <a:pt x="4" y="25"/>
                    <a:pt x="4" y="25"/>
                    <a:pt x="4" y="25"/>
                  </a:cubicBezTo>
                  <a:cubicBezTo>
                    <a:pt x="8" y="25"/>
                    <a:pt x="12" y="24"/>
                    <a:pt x="14" y="24"/>
                  </a:cubicBezTo>
                  <a:cubicBezTo>
                    <a:pt x="14" y="20"/>
                    <a:pt x="11" y="20"/>
                    <a:pt x="11" y="17"/>
                  </a:cubicBezTo>
                  <a:cubicBezTo>
                    <a:pt x="11" y="15"/>
                    <a:pt x="15" y="14"/>
                    <a:pt x="15" y="12"/>
                  </a:cubicBezTo>
                  <a:cubicBezTo>
                    <a:pt x="8" y="10"/>
                    <a:pt x="4" y="6"/>
                    <a:pt x="4" y="0"/>
                  </a:cubicBezTo>
                  <a:cubicBezTo>
                    <a:pt x="0" y="2"/>
                    <a:pt x="0" y="5"/>
                    <a:pt x="0" y="9"/>
                  </a:cubicBezTo>
                  <a:cubicBezTo>
                    <a:pt x="0" y="15"/>
                    <a:pt x="3" y="16"/>
                    <a:pt x="3" y="21"/>
                  </a:cubicBezTo>
                  <a:cubicBezTo>
                    <a:pt x="3" y="26"/>
                    <a:pt x="3" y="24"/>
                    <a:pt x="3" y="27"/>
                  </a:cubicBezTo>
                  <a:cubicBezTo>
                    <a:pt x="3" y="30"/>
                    <a:pt x="4" y="35"/>
                    <a:pt x="9" y="35"/>
                  </a:cubicBezTo>
                  <a:cubicBezTo>
                    <a:pt x="7" y="32"/>
                    <a:pt x="6" y="31"/>
                    <a:pt x="4" y="28"/>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0" name="Freeform 119"/>
            <p:cNvSpPr/>
            <p:nvPr/>
          </p:nvSpPr>
          <p:spPr bwMode="auto">
            <a:xfrm>
              <a:off x="6424613" y="2709863"/>
              <a:ext cx="76200" cy="71438"/>
            </a:xfrm>
            <a:custGeom>
              <a:avLst/>
              <a:gdLst/>
              <a:ahLst/>
              <a:cxnLst>
                <a:cxn ang="0">
                  <a:pos x="48" y="38"/>
                </a:cxn>
                <a:cxn ang="0">
                  <a:pos x="46" y="35"/>
                </a:cxn>
                <a:cxn ang="0">
                  <a:pos x="42" y="40"/>
                </a:cxn>
                <a:cxn ang="0">
                  <a:pos x="47" y="48"/>
                </a:cxn>
                <a:cxn ang="0">
                  <a:pos x="42" y="53"/>
                </a:cxn>
                <a:cxn ang="0">
                  <a:pos x="40" y="50"/>
                </a:cxn>
                <a:cxn ang="0">
                  <a:pos x="36" y="51"/>
                </a:cxn>
                <a:cxn ang="0">
                  <a:pos x="26" y="37"/>
                </a:cxn>
                <a:cxn ang="0">
                  <a:pos x="28" y="32"/>
                </a:cxn>
                <a:cxn ang="0">
                  <a:pos x="27" y="29"/>
                </a:cxn>
                <a:cxn ang="0">
                  <a:pos x="21" y="28"/>
                </a:cxn>
                <a:cxn ang="0">
                  <a:pos x="21" y="32"/>
                </a:cxn>
                <a:cxn ang="0">
                  <a:pos x="17" y="30"/>
                </a:cxn>
                <a:cxn ang="0">
                  <a:pos x="16" y="32"/>
                </a:cxn>
                <a:cxn ang="0">
                  <a:pos x="12" y="28"/>
                </a:cxn>
                <a:cxn ang="0">
                  <a:pos x="4" y="45"/>
                </a:cxn>
                <a:cxn ang="0">
                  <a:pos x="4" y="36"/>
                </a:cxn>
                <a:cxn ang="0">
                  <a:pos x="2" y="32"/>
                </a:cxn>
                <a:cxn ang="0">
                  <a:pos x="5" y="22"/>
                </a:cxn>
                <a:cxn ang="0">
                  <a:pos x="19" y="14"/>
                </a:cxn>
                <a:cxn ang="0">
                  <a:pos x="26" y="20"/>
                </a:cxn>
                <a:cxn ang="0">
                  <a:pos x="28" y="20"/>
                </a:cxn>
                <a:cxn ang="0">
                  <a:pos x="32" y="15"/>
                </a:cxn>
                <a:cxn ang="0">
                  <a:pos x="41" y="9"/>
                </a:cxn>
                <a:cxn ang="0">
                  <a:pos x="42" y="0"/>
                </a:cxn>
                <a:cxn ang="0">
                  <a:pos x="48" y="4"/>
                </a:cxn>
                <a:cxn ang="0">
                  <a:pos x="58" y="33"/>
                </a:cxn>
                <a:cxn ang="0">
                  <a:pos x="53" y="46"/>
                </a:cxn>
                <a:cxn ang="0">
                  <a:pos x="48" y="36"/>
                </a:cxn>
                <a:cxn ang="0">
                  <a:pos x="48" y="38"/>
                </a:cxn>
              </a:cxnLst>
              <a:rect l="0" t="0" r="r" b="b"/>
              <a:pathLst>
                <a:path w="58" h="53">
                  <a:moveTo>
                    <a:pt x="48" y="38"/>
                  </a:moveTo>
                  <a:cubicBezTo>
                    <a:pt x="48" y="37"/>
                    <a:pt x="47" y="36"/>
                    <a:pt x="46" y="35"/>
                  </a:cubicBezTo>
                  <a:cubicBezTo>
                    <a:pt x="44" y="37"/>
                    <a:pt x="42" y="38"/>
                    <a:pt x="42" y="40"/>
                  </a:cubicBezTo>
                  <a:cubicBezTo>
                    <a:pt x="42" y="43"/>
                    <a:pt x="47" y="44"/>
                    <a:pt x="47" y="48"/>
                  </a:cubicBezTo>
                  <a:cubicBezTo>
                    <a:pt x="47" y="51"/>
                    <a:pt x="45" y="53"/>
                    <a:pt x="42" y="53"/>
                  </a:cubicBezTo>
                  <a:cubicBezTo>
                    <a:pt x="41" y="53"/>
                    <a:pt x="40" y="51"/>
                    <a:pt x="40" y="50"/>
                  </a:cubicBezTo>
                  <a:cubicBezTo>
                    <a:pt x="39" y="51"/>
                    <a:pt x="37" y="51"/>
                    <a:pt x="36" y="51"/>
                  </a:cubicBezTo>
                  <a:cubicBezTo>
                    <a:pt x="31" y="51"/>
                    <a:pt x="26" y="44"/>
                    <a:pt x="26" y="37"/>
                  </a:cubicBezTo>
                  <a:cubicBezTo>
                    <a:pt x="26" y="34"/>
                    <a:pt x="27" y="33"/>
                    <a:pt x="28" y="32"/>
                  </a:cubicBezTo>
                  <a:cubicBezTo>
                    <a:pt x="28" y="31"/>
                    <a:pt x="27" y="30"/>
                    <a:pt x="27" y="29"/>
                  </a:cubicBezTo>
                  <a:cubicBezTo>
                    <a:pt x="21" y="28"/>
                    <a:pt x="21" y="28"/>
                    <a:pt x="21" y="28"/>
                  </a:cubicBezTo>
                  <a:cubicBezTo>
                    <a:pt x="21" y="30"/>
                    <a:pt x="20" y="31"/>
                    <a:pt x="21" y="32"/>
                  </a:cubicBezTo>
                  <a:cubicBezTo>
                    <a:pt x="18" y="32"/>
                    <a:pt x="18" y="31"/>
                    <a:pt x="17" y="30"/>
                  </a:cubicBezTo>
                  <a:cubicBezTo>
                    <a:pt x="17" y="30"/>
                    <a:pt x="16" y="31"/>
                    <a:pt x="16" y="32"/>
                  </a:cubicBezTo>
                  <a:cubicBezTo>
                    <a:pt x="14" y="31"/>
                    <a:pt x="12" y="28"/>
                    <a:pt x="12" y="28"/>
                  </a:cubicBezTo>
                  <a:cubicBezTo>
                    <a:pt x="8" y="32"/>
                    <a:pt x="8" y="45"/>
                    <a:pt x="4" y="45"/>
                  </a:cubicBezTo>
                  <a:cubicBezTo>
                    <a:pt x="0" y="45"/>
                    <a:pt x="4" y="37"/>
                    <a:pt x="4" y="36"/>
                  </a:cubicBezTo>
                  <a:cubicBezTo>
                    <a:pt x="4" y="35"/>
                    <a:pt x="2" y="33"/>
                    <a:pt x="2" y="32"/>
                  </a:cubicBezTo>
                  <a:cubicBezTo>
                    <a:pt x="2" y="28"/>
                    <a:pt x="4" y="26"/>
                    <a:pt x="5" y="22"/>
                  </a:cubicBezTo>
                  <a:cubicBezTo>
                    <a:pt x="13" y="22"/>
                    <a:pt x="11" y="14"/>
                    <a:pt x="19" y="14"/>
                  </a:cubicBezTo>
                  <a:cubicBezTo>
                    <a:pt x="24" y="14"/>
                    <a:pt x="23" y="20"/>
                    <a:pt x="26" y="20"/>
                  </a:cubicBezTo>
                  <a:cubicBezTo>
                    <a:pt x="27" y="20"/>
                    <a:pt x="27" y="20"/>
                    <a:pt x="28" y="20"/>
                  </a:cubicBezTo>
                  <a:cubicBezTo>
                    <a:pt x="28" y="18"/>
                    <a:pt x="30" y="16"/>
                    <a:pt x="32" y="15"/>
                  </a:cubicBezTo>
                  <a:cubicBezTo>
                    <a:pt x="32" y="10"/>
                    <a:pt x="39" y="12"/>
                    <a:pt x="41" y="9"/>
                  </a:cubicBezTo>
                  <a:cubicBezTo>
                    <a:pt x="42" y="7"/>
                    <a:pt x="42" y="1"/>
                    <a:pt x="42" y="0"/>
                  </a:cubicBezTo>
                  <a:cubicBezTo>
                    <a:pt x="45" y="0"/>
                    <a:pt x="47" y="2"/>
                    <a:pt x="48" y="4"/>
                  </a:cubicBezTo>
                  <a:cubicBezTo>
                    <a:pt x="51" y="7"/>
                    <a:pt x="58" y="30"/>
                    <a:pt x="58" y="33"/>
                  </a:cubicBezTo>
                  <a:cubicBezTo>
                    <a:pt x="58" y="37"/>
                    <a:pt x="53" y="39"/>
                    <a:pt x="53" y="46"/>
                  </a:cubicBezTo>
                  <a:cubicBezTo>
                    <a:pt x="51" y="46"/>
                    <a:pt x="48" y="37"/>
                    <a:pt x="48" y="36"/>
                  </a:cubicBezTo>
                  <a:lnTo>
                    <a:pt x="48" y="38"/>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1" name="Freeform 120"/>
            <p:cNvSpPr/>
            <p:nvPr/>
          </p:nvSpPr>
          <p:spPr bwMode="auto">
            <a:xfrm>
              <a:off x="6354763" y="2690813"/>
              <a:ext cx="36513" cy="39688"/>
            </a:xfrm>
            <a:custGeom>
              <a:avLst/>
              <a:gdLst/>
              <a:ahLst/>
              <a:cxnLst>
                <a:cxn ang="0">
                  <a:pos x="3" y="29"/>
                </a:cxn>
                <a:cxn ang="0">
                  <a:pos x="0" y="29"/>
                </a:cxn>
                <a:cxn ang="0">
                  <a:pos x="22" y="5"/>
                </a:cxn>
                <a:cxn ang="0">
                  <a:pos x="25" y="0"/>
                </a:cxn>
                <a:cxn ang="0">
                  <a:pos x="28" y="6"/>
                </a:cxn>
                <a:cxn ang="0">
                  <a:pos x="24" y="9"/>
                </a:cxn>
                <a:cxn ang="0">
                  <a:pos x="17" y="13"/>
                </a:cxn>
                <a:cxn ang="0">
                  <a:pos x="3" y="29"/>
                </a:cxn>
              </a:cxnLst>
              <a:rect l="0" t="0" r="r" b="b"/>
              <a:pathLst>
                <a:path w="28" h="29">
                  <a:moveTo>
                    <a:pt x="3" y="29"/>
                  </a:moveTo>
                  <a:cubicBezTo>
                    <a:pt x="0" y="29"/>
                    <a:pt x="0" y="29"/>
                    <a:pt x="0" y="29"/>
                  </a:cubicBezTo>
                  <a:cubicBezTo>
                    <a:pt x="4" y="18"/>
                    <a:pt x="18" y="13"/>
                    <a:pt x="22" y="5"/>
                  </a:cubicBezTo>
                  <a:cubicBezTo>
                    <a:pt x="23" y="3"/>
                    <a:pt x="23" y="1"/>
                    <a:pt x="25" y="0"/>
                  </a:cubicBezTo>
                  <a:cubicBezTo>
                    <a:pt x="24" y="4"/>
                    <a:pt x="26" y="5"/>
                    <a:pt x="28" y="6"/>
                  </a:cubicBezTo>
                  <a:cubicBezTo>
                    <a:pt x="26" y="8"/>
                    <a:pt x="26" y="9"/>
                    <a:pt x="24" y="9"/>
                  </a:cubicBezTo>
                  <a:cubicBezTo>
                    <a:pt x="23" y="12"/>
                    <a:pt x="20" y="13"/>
                    <a:pt x="17" y="13"/>
                  </a:cubicBezTo>
                  <a:cubicBezTo>
                    <a:pt x="15" y="22"/>
                    <a:pt x="8" y="26"/>
                    <a:pt x="3" y="2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2" name="Freeform 121"/>
            <p:cNvSpPr/>
            <p:nvPr/>
          </p:nvSpPr>
          <p:spPr bwMode="auto">
            <a:xfrm>
              <a:off x="6383338" y="2563813"/>
              <a:ext cx="71438" cy="101600"/>
            </a:xfrm>
            <a:custGeom>
              <a:avLst/>
              <a:gdLst/>
              <a:ahLst/>
              <a:cxnLst>
                <a:cxn ang="0">
                  <a:pos x="4" y="31"/>
                </a:cxn>
                <a:cxn ang="0">
                  <a:pos x="6" y="20"/>
                </a:cxn>
                <a:cxn ang="0">
                  <a:pos x="5" y="7"/>
                </a:cxn>
                <a:cxn ang="0">
                  <a:pos x="9" y="0"/>
                </a:cxn>
                <a:cxn ang="0">
                  <a:pos x="16" y="7"/>
                </a:cxn>
                <a:cxn ang="0">
                  <a:pos x="21" y="3"/>
                </a:cxn>
                <a:cxn ang="0">
                  <a:pos x="22" y="5"/>
                </a:cxn>
                <a:cxn ang="0">
                  <a:pos x="23" y="8"/>
                </a:cxn>
                <a:cxn ang="0">
                  <a:pos x="28" y="25"/>
                </a:cxn>
                <a:cxn ang="0">
                  <a:pos x="20" y="42"/>
                </a:cxn>
                <a:cxn ang="0">
                  <a:pos x="30" y="59"/>
                </a:cxn>
                <a:cxn ang="0">
                  <a:pos x="30" y="58"/>
                </a:cxn>
                <a:cxn ang="0">
                  <a:pos x="34" y="55"/>
                </a:cxn>
                <a:cxn ang="0">
                  <a:pos x="43" y="64"/>
                </a:cxn>
                <a:cxn ang="0">
                  <a:pos x="46" y="61"/>
                </a:cxn>
                <a:cxn ang="0">
                  <a:pos x="49" y="62"/>
                </a:cxn>
                <a:cxn ang="0">
                  <a:pos x="46" y="66"/>
                </a:cxn>
                <a:cxn ang="0">
                  <a:pos x="49" y="66"/>
                </a:cxn>
                <a:cxn ang="0">
                  <a:pos x="54" y="71"/>
                </a:cxn>
                <a:cxn ang="0">
                  <a:pos x="54" y="74"/>
                </a:cxn>
                <a:cxn ang="0">
                  <a:pos x="53" y="76"/>
                </a:cxn>
                <a:cxn ang="0">
                  <a:pos x="51" y="73"/>
                </a:cxn>
                <a:cxn ang="0">
                  <a:pos x="36" y="61"/>
                </a:cxn>
                <a:cxn ang="0">
                  <a:pos x="37" y="69"/>
                </a:cxn>
                <a:cxn ang="0">
                  <a:pos x="25" y="60"/>
                </a:cxn>
                <a:cxn ang="0">
                  <a:pos x="19" y="62"/>
                </a:cxn>
                <a:cxn ang="0">
                  <a:pos x="13" y="57"/>
                </a:cxn>
                <a:cxn ang="0">
                  <a:pos x="15" y="53"/>
                </a:cxn>
                <a:cxn ang="0">
                  <a:pos x="15" y="49"/>
                </a:cxn>
                <a:cxn ang="0">
                  <a:pos x="13" y="49"/>
                </a:cxn>
                <a:cxn ang="0">
                  <a:pos x="10" y="51"/>
                </a:cxn>
                <a:cxn ang="0">
                  <a:pos x="1" y="44"/>
                </a:cxn>
                <a:cxn ang="0">
                  <a:pos x="4" y="31"/>
                </a:cxn>
              </a:cxnLst>
              <a:rect l="0" t="0" r="r" b="b"/>
              <a:pathLst>
                <a:path w="54" h="76">
                  <a:moveTo>
                    <a:pt x="4" y="31"/>
                  </a:moveTo>
                  <a:cubicBezTo>
                    <a:pt x="6" y="28"/>
                    <a:pt x="6" y="23"/>
                    <a:pt x="6" y="20"/>
                  </a:cubicBezTo>
                  <a:cubicBezTo>
                    <a:pt x="7" y="15"/>
                    <a:pt x="5" y="12"/>
                    <a:pt x="5" y="7"/>
                  </a:cubicBezTo>
                  <a:cubicBezTo>
                    <a:pt x="5" y="3"/>
                    <a:pt x="6" y="0"/>
                    <a:pt x="9" y="0"/>
                  </a:cubicBezTo>
                  <a:cubicBezTo>
                    <a:pt x="13" y="0"/>
                    <a:pt x="12" y="7"/>
                    <a:pt x="16" y="7"/>
                  </a:cubicBezTo>
                  <a:cubicBezTo>
                    <a:pt x="18" y="7"/>
                    <a:pt x="20" y="4"/>
                    <a:pt x="21" y="3"/>
                  </a:cubicBezTo>
                  <a:cubicBezTo>
                    <a:pt x="21" y="3"/>
                    <a:pt x="22" y="4"/>
                    <a:pt x="22" y="5"/>
                  </a:cubicBezTo>
                  <a:cubicBezTo>
                    <a:pt x="22" y="6"/>
                    <a:pt x="23" y="7"/>
                    <a:pt x="23" y="8"/>
                  </a:cubicBezTo>
                  <a:cubicBezTo>
                    <a:pt x="23" y="13"/>
                    <a:pt x="28" y="18"/>
                    <a:pt x="28" y="25"/>
                  </a:cubicBezTo>
                  <a:cubicBezTo>
                    <a:pt x="28" y="33"/>
                    <a:pt x="20" y="34"/>
                    <a:pt x="20" y="42"/>
                  </a:cubicBezTo>
                  <a:cubicBezTo>
                    <a:pt x="20" y="48"/>
                    <a:pt x="26" y="57"/>
                    <a:pt x="30" y="59"/>
                  </a:cubicBezTo>
                  <a:cubicBezTo>
                    <a:pt x="30" y="59"/>
                    <a:pt x="30" y="58"/>
                    <a:pt x="30" y="58"/>
                  </a:cubicBezTo>
                  <a:cubicBezTo>
                    <a:pt x="30" y="56"/>
                    <a:pt x="32" y="54"/>
                    <a:pt x="34" y="55"/>
                  </a:cubicBezTo>
                  <a:cubicBezTo>
                    <a:pt x="39" y="55"/>
                    <a:pt x="40" y="63"/>
                    <a:pt x="43" y="64"/>
                  </a:cubicBezTo>
                  <a:cubicBezTo>
                    <a:pt x="44" y="64"/>
                    <a:pt x="45" y="61"/>
                    <a:pt x="46" y="61"/>
                  </a:cubicBezTo>
                  <a:cubicBezTo>
                    <a:pt x="47" y="61"/>
                    <a:pt x="48" y="62"/>
                    <a:pt x="49" y="62"/>
                  </a:cubicBezTo>
                  <a:cubicBezTo>
                    <a:pt x="48" y="64"/>
                    <a:pt x="46" y="64"/>
                    <a:pt x="46" y="66"/>
                  </a:cubicBezTo>
                  <a:cubicBezTo>
                    <a:pt x="46" y="67"/>
                    <a:pt x="48" y="67"/>
                    <a:pt x="49" y="66"/>
                  </a:cubicBezTo>
                  <a:cubicBezTo>
                    <a:pt x="49" y="69"/>
                    <a:pt x="51" y="71"/>
                    <a:pt x="54" y="71"/>
                  </a:cubicBezTo>
                  <a:cubicBezTo>
                    <a:pt x="54" y="72"/>
                    <a:pt x="54" y="73"/>
                    <a:pt x="54" y="74"/>
                  </a:cubicBezTo>
                  <a:cubicBezTo>
                    <a:pt x="54" y="75"/>
                    <a:pt x="53" y="76"/>
                    <a:pt x="53" y="76"/>
                  </a:cubicBezTo>
                  <a:cubicBezTo>
                    <a:pt x="51" y="76"/>
                    <a:pt x="51" y="74"/>
                    <a:pt x="51" y="73"/>
                  </a:cubicBezTo>
                  <a:cubicBezTo>
                    <a:pt x="48" y="69"/>
                    <a:pt x="39" y="65"/>
                    <a:pt x="36" y="61"/>
                  </a:cubicBezTo>
                  <a:cubicBezTo>
                    <a:pt x="34" y="64"/>
                    <a:pt x="35" y="66"/>
                    <a:pt x="37" y="69"/>
                  </a:cubicBezTo>
                  <a:cubicBezTo>
                    <a:pt x="31" y="69"/>
                    <a:pt x="31" y="60"/>
                    <a:pt x="25" y="60"/>
                  </a:cubicBezTo>
                  <a:cubicBezTo>
                    <a:pt x="23" y="60"/>
                    <a:pt x="21" y="62"/>
                    <a:pt x="19" y="62"/>
                  </a:cubicBezTo>
                  <a:cubicBezTo>
                    <a:pt x="16" y="62"/>
                    <a:pt x="13" y="59"/>
                    <a:pt x="13" y="57"/>
                  </a:cubicBezTo>
                  <a:cubicBezTo>
                    <a:pt x="13" y="55"/>
                    <a:pt x="14" y="53"/>
                    <a:pt x="15" y="53"/>
                  </a:cubicBezTo>
                  <a:cubicBezTo>
                    <a:pt x="15" y="49"/>
                    <a:pt x="15" y="49"/>
                    <a:pt x="15" y="49"/>
                  </a:cubicBezTo>
                  <a:cubicBezTo>
                    <a:pt x="13" y="49"/>
                    <a:pt x="13" y="49"/>
                    <a:pt x="13" y="49"/>
                  </a:cubicBezTo>
                  <a:cubicBezTo>
                    <a:pt x="12" y="50"/>
                    <a:pt x="11" y="51"/>
                    <a:pt x="10" y="51"/>
                  </a:cubicBezTo>
                  <a:cubicBezTo>
                    <a:pt x="8" y="51"/>
                    <a:pt x="1" y="47"/>
                    <a:pt x="1" y="44"/>
                  </a:cubicBezTo>
                  <a:cubicBezTo>
                    <a:pt x="1" y="38"/>
                    <a:pt x="0" y="30"/>
                    <a:pt x="4" y="3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3" name="Freeform 122"/>
            <p:cNvSpPr/>
            <p:nvPr/>
          </p:nvSpPr>
          <p:spPr bwMode="auto">
            <a:xfrm>
              <a:off x="6457950" y="2665413"/>
              <a:ext cx="23813" cy="41275"/>
            </a:xfrm>
            <a:custGeom>
              <a:avLst/>
              <a:gdLst/>
              <a:ahLst/>
              <a:cxnLst>
                <a:cxn ang="0">
                  <a:pos x="16" y="20"/>
                </a:cxn>
                <a:cxn ang="0">
                  <a:pos x="10" y="20"/>
                </a:cxn>
                <a:cxn ang="0">
                  <a:pos x="14" y="28"/>
                </a:cxn>
                <a:cxn ang="0">
                  <a:pos x="14" y="30"/>
                </a:cxn>
                <a:cxn ang="0">
                  <a:pos x="10" y="30"/>
                </a:cxn>
                <a:cxn ang="0">
                  <a:pos x="8" y="25"/>
                </a:cxn>
                <a:cxn ang="0">
                  <a:pos x="8" y="23"/>
                </a:cxn>
                <a:cxn ang="0">
                  <a:pos x="2" y="17"/>
                </a:cxn>
                <a:cxn ang="0">
                  <a:pos x="2" y="15"/>
                </a:cxn>
                <a:cxn ang="0">
                  <a:pos x="8" y="15"/>
                </a:cxn>
                <a:cxn ang="0">
                  <a:pos x="10" y="13"/>
                </a:cxn>
                <a:cxn ang="0">
                  <a:pos x="0" y="2"/>
                </a:cxn>
                <a:cxn ang="0">
                  <a:pos x="4" y="0"/>
                </a:cxn>
                <a:cxn ang="0">
                  <a:pos x="13" y="2"/>
                </a:cxn>
                <a:cxn ang="0">
                  <a:pos x="13" y="6"/>
                </a:cxn>
                <a:cxn ang="0">
                  <a:pos x="15" y="6"/>
                </a:cxn>
                <a:cxn ang="0">
                  <a:pos x="15" y="12"/>
                </a:cxn>
                <a:cxn ang="0">
                  <a:pos x="18" y="15"/>
                </a:cxn>
                <a:cxn ang="0">
                  <a:pos x="16" y="20"/>
                </a:cxn>
              </a:cxnLst>
              <a:rect l="0" t="0" r="r" b="b"/>
              <a:pathLst>
                <a:path w="18" h="30">
                  <a:moveTo>
                    <a:pt x="16" y="20"/>
                  </a:moveTo>
                  <a:cubicBezTo>
                    <a:pt x="10" y="20"/>
                    <a:pt x="10" y="20"/>
                    <a:pt x="10" y="20"/>
                  </a:cubicBezTo>
                  <a:cubicBezTo>
                    <a:pt x="11" y="23"/>
                    <a:pt x="12" y="27"/>
                    <a:pt x="14" y="28"/>
                  </a:cubicBezTo>
                  <a:cubicBezTo>
                    <a:pt x="14" y="30"/>
                    <a:pt x="14" y="30"/>
                    <a:pt x="14" y="30"/>
                  </a:cubicBezTo>
                  <a:cubicBezTo>
                    <a:pt x="13" y="30"/>
                    <a:pt x="11" y="30"/>
                    <a:pt x="10" y="30"/>
                  </a:cubicBezTo>
                  <a:cubicBezTo>
                    <a:pt x="7" y="30"/>
                    <a:pt x="7" y="27"/>
                    <a:pt x="8" y="25"/>
                  </a:cubicBezTo>
                  <a:cubicBezTo>
                    <a:pt x="8" y="23"/>
                    <a:pt x="8" y="23"/>
                    <a:pt x="8" y="23"/>
                  </a:cubicBezTo>
                  <a:cubicBezTo>
                    <a:pt x="5" y="23"/>
                    <a:pt x="3" y="19"/>
                    <a:pt x="2" y="17"/>
                  </a:cubicBezTo>
                  <a:cubicBezTo>
                    <a:pt x="2" y="15"/>
                    <a:pt x="2" y="15"/>
                    <a:pt x="2" y="15"/>
                  </a:cubicBezTo>
                  <a:cubicBezTo>
                    <a:pt x="4" y="15"/>
                    <a:pt x="7" y="15"/>
                    <a:pt x="8" y="15"/>
                  </a:cubicBezTo>
                  <a:cubicBezTo>
                    <a:pt x="8" y="15"/>
                    <a:pt x="10" y="14"/>
                    <a:pt x="10" y="13"/>
                  </a:cubicBezTo>
                  <a:cubicBezTo>
                    <a:pt x="10" y="8"/>
                    <a:pt x="1" y="5"/>
                    <a:pt x="0" y="2"/>
                  </a:cubicBezTo>
                  <a:cubicBezTo>
                    <a:pt x="1" y="1"/>
                    <a:pt x="3" y="0"/>
                    <a:pt x="4" y="0"/>
                  </a:cubicBezTo>
                  <a:cubicBezTo>
                    <a:pt x="7" y="0"/>
                    <a:pt x="9" y="2"/>
                    <a:pt x="13" y="2"/>
                  </a:cubicBezTo>
                  <a:cubicBezTo>
                    <a:pt x="13" y="3"/>
                    <a:pt x="13" y="5"/>
                    <a:pt x="13" y="6"/>
                  </a:cubicBezTo>
                  <a:cubicBezTo>
                    <a:pt x="13" y="6"/>
                    <a:pt x="14" y="6"/>
                    <a:pt x="15" y="6"/>
                  </a:cubicBezTo>
                  <a:cubicBezTo>
                    <a:pt x="15" y="8"/>
                    <a:pt x="15" y="12"/>
                    <a:pt x="15" y="12"/>
                  </a:cubicBezTo>
                  <a:cubicBezTo>
                    <a:pt x="15" y="12"/>
                    <a:pt x="18" y="15"/>
                    <a:pt x="18" y="15"/>
                  </a:cubicBezTo>
                  <a:cubicBezTo>
                    <a:pt x="18" y="18"/>
                    <a:pt x="17" y="19"/>
                    <a:pt x="16" y="2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4" name="Freeform 123"/>
            <p:cNvSpPr/>
            <p:nvPr/>
          </p:nvSpPr>
          <p:spPr bwMode="auto">
            <a:xfrm>
              <a:off x="6423025" y="2676525"/>
              <a:ext cx="19050" cy="25400"/>
            </a:xfrm>
            <a:custGeom>
              <a:avLst/>
              <a:gdLst/>
              <a:ahLst/>
              <a:cxnLst>
                <a:cxn ang="0">
                  <a:pos x="3" y="1"/>
                </a:cxn>
                <a:cxn ang="0">
                  <a:pos x="14" y="7"/>
                </a:cxn>
                <a:cxn ang="0">
                  <a:pos x="1" y="19"/>
                </a:cxn>
                <a:cxn ang="0">
                  <a:pos x="0" y="2"/>
                </a:cxn>
                <a:cxn ang="0">
                  <a:pos x="2" y="0"/>
                </a:cxn>
                <a:cxn ang="0">
                  <a:pos x="5" y="2"/>
                </a:cxn>
                <a:cxn ang="0">
                  <a:pos x="3" y="1"/>
                </a:cxn>
              </a:cxnLst>
              <a:rect l="0" t="0" r="r" b="b"/>
              <a:pathLst>
                <a:path w="14" h="19">
                  <a:moveTo>
                    <a:pt x="3" y="1"/>
                  </a:moveTo>
                  <a:cubicBezTo>
                    <a:pt x="4" y="3"/>
                    <a:pt x="14" y="4"/>
                    <a:pt x="14" y="7"/>
                  </a:cubicBezTo>
                  <a:cubicBezTo>
                    <a:pt x="14" y="14"/>
                    <a:pt x="5" y="17"/>
                    <a:pt x="1" y="19"/>
                  </a:cubicBezTo>
                  <a:cubicBezTo>
                    <a:pt x="1" y="13"/>
                    <a:pt x="0" y="6"/>
                    <a:pt x="0" y="2"/>
                  </a:cubicBezTo>
                  <a:cubicBezTo>
                    <a:pt x="0" y="1"/>
                    <a:pt x="2" y="0"/>
                    <a:pt x="2" y="0"/>
                  </a:cubicBezTo>
                  <a:cubicBezTo>
                    <a:pt x="3" y="0"/>
                    <a:pt x="4" y="2"/>
                    <a:pt x="5" y="2"/>
                  </a:cubicBezTo>
                  <a:lnTo>
                    <a:pt x="3" y="1"/>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5" name="Freeform 124"/>
            <p:cNvSpPr/>
            <p:nvPr/>
          </p:nvSpPr>
          <p:spPr bwMode="auto">
            <a:xfrm>
              <a:off x="6432550" y="2692400"/>
              <a:ext cx="19050" cy="31750"/>
            </a:xfrm>
            <a:custGeom>
              <a:avLst/>
              <a:gdLst/>
              <a:ahLst/>
              <a:cxnLst>
                <a:cxn ang="0">
                  <a:pos x="14" y="5"/>
                </a:cxn>
                <a:cxn ang="0">
                  <a:pos x="9" y="17"/>
                </a:cxn>
                <a:cxn ang="0">
                  <a:pos x="11" y="22"/>
                </a:cxn>
                <a:cxn ang="0">
                  <a:pos x="9" y="24"/>
                </a:cxn>
                <a:cxn ang="0">
                  <a:pos x="0" y="14"/>
                </a:cxn>
                <a:cxn ang="0">
                  <a:pos x="4" y="12"/>
                </a:cxn>
                <a:cxn ang="0">
                  <a:pos x="8" y="1"/>
                </a:cxn>
                <a:cxn ang="0">
                  <a:pos x="14" y="5"/>
                </a:cxn>
              </a:cxnLst>
              <a:rect l="0" t="0" r="r" b="b"/>
              <a:pathLst>
                <a:path w="14" h="24">
                  <a:moveTo>
                    <a:pt x="14" y="5"/>
                  </a:moveTo>
                  <a:cubicBezTo>
                    <a:pt x="14" y="10"/>
                    <a:pt x="10" y="13"/>
                    <a:pt x="9" y="17"/>
                  </a:cubicBezTo>
                  <a:cubicBezTo>
                    <a:pt x="9" y="21"/>
                    <a:pt x="11" y="20"/>
                    <a:pt x="11" y="22"/>
                  </a:cubicBezTo>
                  <a:cubicBezTo>
                    <a:pt x="11" y="23"/>
                    <a:pt x="10" y="24"/>
                    <a:pt x="9" y="24"/>
                  </a:cubicBezTo>
                  <a:cubicBezTo>
                    <a:pt x="7" y="24"/>
                    <a:pt x="0" y="17"/>
                    <a:pt x="0" y="14"/>
                  </a:cubicBezTo>
                  <a:cubicBezTo>
                    <a:pt x="0" y="13"/>
                    <a:pt x="3" y="12"/>
                    <a:pt x="4" y="12"/>
                  </a:cubicBezTo>
                  <a:cubicBezTo>
                    <a:pt x="4" y="11"/>
                    <a:pt x="6" y="1"/>
                    <a:pt x="8" y="1"/>
                  </a:cubicBezTo>
                  <a:cubicBezTo>
                    <a:pt x="12" y="0"/>
                    <a:pt x="14" y="3"/>
                    <a:pt x="14" y="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6" name="Freeform 125"/>
            <p:cNvSpPr/>
            <p:nvPr/>
          </p:nvSpPr>
          <p:spPr bwMode="auto">
            <a:xfrm>
              <a:off x="6450013" y="2693988"/>
              <a:ext cx="7938" cy="20638"/>
            </a:xfrm>
            <a:custGeom>
              <a:avLst/>
              <a:gdLst/>
              <a:ahLst/>
              <a:cxnLst>
                <a:cxn ang="0">
                  <a:pos x="7" y="0"/>
                </a:cxn>
                <a:cxn ang="0">
                  <a:pos x="2" y="15"/>
                </a:cxn>
                <a:cxn ang="0">
                  <a:pos x="0" y="15"/>
                </a:cxn>
                <a:cxn ang="0">
                  <a:pos x="4" y="0"/>
                </a:cxn>
                <a:cxn ang="0">
                  <a:pos x="7" y="0"/>
                </a:cxn>
              </a:cxnLst>
              <a:rect l="0" t="0" r="r" b="b"/>
              <a:pathLst>
                <a:path w="7" h="15">
                  <a:moveTo>
                    <a:pt x="7" y="0"/>
                  </a:moveTo>
                  <a:cubicBezTo>
                    <a:pt x="7" y="7"/>
                    <a:pt x="2" y="9"/>
                    <a:pt x="2" y="15"/>
                  </a:cubicBezTo>
                  <a:cubicBezTo>
                    <a:pt x="2" y="15"/>
                    <a:pt x="0" y="15"/>
                    <a:pt x="0" y="15"/>
                  </a:cubicBezTo>
                  <a:cubicBezTo>
                    <a:pt x="1" y="10"/>
                    <a:pt x="4" y="7"/>
                    <a:pt x="4" y="0"/>
                  </a:cubicBezTo>
                  <a:cubicBezTo>
                    <a:pt x="5" y="0"/>
                    <a:pt x="6" y="0"/>
                    <a:pt x="7"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7" name="Freeform 126"/>
            <p:cNvSpPr/>
            <p:nvPr/>
          </p:nvSpPr>
          <p:spPr bwMode="auto">
            <a:xfrm>
              <a:off x="6454775" y="2706688"/>
              <a:ext cx="11113" cy="11113"/>
            </a:xfrm>
            <a:custGeom>
              <a:avLst/>
              <a:gdLst/>
              <a:ahLst/>
              <a:cxnLst>
                <a:cxn ang="0">
                  <a:pos x="8" y="0"/>
                </a:cxn>
                <a:cxn ang="0">
                  <a:pos x="2" y="8"/>
                </a:cxn>
                <a:cxn ang="0">
                  <a:pos x="0" y="6"/>
                </a:cxn>
                <a:cxn ang="0">
                  <a:pos x="3" y="0"/>
                </a:cxn>
                <a:cxn ang="0">
                  <a:pos x="8" y="0"/>
                </a:cxn>
              </a:cxnLst>
              <a:rect l="0" t="0" r="r" b="b"/>
              <a:pathLst>
                <a:path w="8" h="8">
                  <a:moveTo>
                    <a:pt x="8" y="0"/>
                  </a:moveTo>
                  <a:cubicBezTo>
                    <a:pt x="8" y="4"/>
                    <a:pt x="6" y="8"/>
                    <a:pt x="2" y="8"/>
                  </a:cubicBezTo>
                  <a:cubicBezTo>
                    <a:pt x="1" y="8"/>
                    <a:pt x="0" y="6"/>
                    <a:pt x="0" y="6"/>
                  </a:cubicBezTo>
                  <a:cubicBezTo>
                    <a:pt x="0" y="3"/>
                    <a:pt x="2" y="2"/>
                    <a:pt x="3" y="0"/>
                  </a:cubicBezTo>
                  <a:cubicBezTo>
                    <a:pt x="5" y="1"/>
                    <a:pt x="7" y="1"/>
                    <a:pt x="8"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8" name="Freeform 127"/>
            <p:cNvSpPr/>
            <p:nvPr/>
          </p:nvSpPr>
          <p:spPr bwMode="auto">
            <a:xfrm>
              <a:off x="6442075" y="2665413"/>
              <a:ext cx="12700" cy="17463"/>
            </a:xfrm>
            <a:custGeom>
              <a:avLst/>
              <a:gdLst/>
              <a:ahLst/>
              <a:cxnLst>
                <a:cxn ang="0">
                  <a:pos x="0" y="6"/>
                </a:cxn>
                <a:cxn ang="0">
                  <a:pos x="0" y="0"/>
                </a:cxn>
                <a:cxn ang="0">
                  <a:pos x="4" y="0"/>
                </a:cxn>
                <a:cxn ang="0">
                  <a:pos x="10" y="10"/>
                </a:cxn>
                <a:cxn ang="0">
                  <a:pos x="6" y="6"/>
                </a:cxn>
                <a:cxn ang="0">
                  <a:pos x="0" y="6"/>
                </a:cxn>
              </a:cxnLst>
              <a:rect l="0" t="0" r="r" b="b"/>
              <a:pathLst>
                <a:path w="10" h="12">
                  <a:moveTo>
                    <a:pt x="0" y="6"/>
                  </a:moveTo>
                  <a:cubicBezTo>
                    <a:pt x="0" y="3"/>
                    <a:pt x="0" y="2"/>
                    <a:pt x="0" y="0"/>
                  </a:cubicBezTo>
                  <a:cubicBezTo>
                    <a:pt x="4" y="0"/>
                    <a:pt x="4" y="0"/>
                    <a:pt x="4" y="0"/>
                  </a:cubicBezTo>
                  <a:cubicBezTo>
                    <a:pt x="5" y="4"/>
                    <a:pt x="10" y="5"/>
                    <a:pt x="10" y="10"/>
                  </a:cubicBezTo>
                  <a:cubicBezTo>
                    <a:pt x="10" y="12"/>
                    <a:pt x="6" y="8"/>
                    <a:pt x="6" y="6"/>
                  </a:cubicBezTo>
                  <a:cubicBezTo>
                    <a:pt x="4" y="5"/>
                    <a:pt x="2" y="6"/>
                    <a:pt x="0" y="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09" name="Freeform 128"/>
            <p:cNvSpPr/>
            <p:nvPr/>
          </p:nvSpPr>
          <p:spPr bwMode="auto">
            <a:xfrm>
              <a:off x="6397625" y="2649538"/>
              <a:ext cx="19050" cy="20638"/>
            </a:xfrm>
            <a:custGeom>
              <a:avLst/>
              <a:gdLst/>
              <a:ahLst/>
              <a:cxnLst>
                <a:cxn ang="0">
                  <a:pos x="11" y="15"/>
                </a:cxn>
                <a:cxn ang="0">
                  <a:pos x="0" y="0"/>
                </a:cxn>
                <a:cxn ang="0">
                  <a:pos x="4" y="0"/>
                </a:cxn>
                <a:cxn ang="0">
                  <a:pos x="14" y="7"/>
                </a:cxn>
                <a:cxn ang="0">
                  <a:pos x="11" y="15"/>
                </a:cxn>
              </a:cxnLst>
              <a:rect l="0" t="0" r="r" b="b"/>
              <a:pathLst>
                <a:path w="15" h="15">
                  <a:moveTo>
                    <a:pt x="11" y="15"/>
                  </a:moveTo>
                  <a:cubicBezTo>
                    <a:pt x="9" y="15"/>
                    <a:pt x="0" y="0"/>
                    <a:pt x="0" y="0"/>
                  </a:cubicBezTo>
                  <a:cubicBezTo>
                    <a:pt x="4" y="0"/>
                    <a:pt x="4" y="0"/>
                    <a:pt x="4" y="0"/>
                  </a:cubicBezTo>
                  <a:cubicBezTo>
                    <a:pt x="8" y="3"/>
                    <a:pt x="13" y="2"/>
                    <a:pt x="14" y="7"/>
                  </a:cubicBezTo>
                  <a:cubicBezTo>
                    <a:pt x="15" y="10"/>
                    <a:pt x="13" y="15"/>
                    <a:pt x="11" y="1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0" name="Freeform 129"/>
            <p:cNvSpPr/>
            <p:nvPr/>
          </p:nvSpPr>
          <p:spPr bwMode="auto">
            <a:xfrm>
              <a:off x="6416675" y="2652713"/>
              <a:ext cx="6350" cy="1588"/>
            </a:xfrm>
            <a:custGeom>
              <a:avLst/>
              <a:gdLst/>
              <a:ahLst/>
              <a:cxnLst>
                <a:cxn ang="0">
                  <a:pos x="0" y="0"/>
                </a:cxn>
                <a:cxn ang="0">
                  <a:pos x="4" y="1"/>
                </a:cxn>
                <a:cxn ang="0">
                  <a:pos x="0" y="0"/>
                </a:cxn>
              </a:cxnLst>
              <a:rect l="0" t="0" r="r" b="b"/>
              <a:pathLst>
                <a:path w="4" h="1">
                  <a:moveTo>
                    <a:pt x="0" y="0"/>
                  </a:moveTo>
                  <a:cubicBezTo>
                    <a:pt x="1" y="1"/>
                    <a:pt x="3" y="1"/>
                    <a:pt x="4" y="1"/>
                  </a:cubicBezTo>
                  <a:cubicBezTo>
                    <a:pt x="3" y="0"/>
                    <a:pt x="1" y="0"/>
                    <a:pt x="0"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1" name="Freeform 130"/>
            <p:cNvSpPr/>
            <p:nvPr/>
          </p:nvSpPr>
          <p:spPr bwMode="auto">
            <a:xfrm>
              <a:off x="6388100" y="2441575"/>
              <a:ext cx="36513" cy="50800"/>
            </a:xfrm>
            <a:custGeom>
              <a:avLst/>
              <a:gdLst/>
              <a:ahLst/>
              <a:cxnLst>
                <a:cxn ang="0">
                  <a:pos x="8" y="39"/>
                </a:cxn>
                <a:cxn ang="0">
                  <a:pos x="1" y="26"/>
                </a:cxn>
                <a:cxn ang="0">
                  <a:pos x="16" y="0"/>
                </a:cxn>
                <a:cxn ang="0">
                  <a:pos x="8" y="39"/>
                </a:cxn>
              </a:cxnLst>
              <a:rect l="0" t="0" r="r" b="b"/>
              <a:pathLst>
                <a:path w="27" h="39">
                  <a:moveTo>
                    <a:pt x="8" y="39"/>
                  </a:moveTo>
                  <a:cubicBezTo>
                    <a:pt x="0" y="39"/>
                    <a:pt x="1" y="33"/>
                    <a:pt x="1" y="26"/>
                  </a:cubicBezTo>
                  <a:cubicBezTo>
                    <a:pt x="1" y="17"/>
                    <a:pt x="10" y="0"/>
                    <a:pt x="16" y="0"/>
                  </a:cubicBezTo>
                  <a:cubicBezTo>
                    <a:pt x="27" y="0"/>
                    <a:pt x="18" y="39"/>
                    <a:pt x="8" y="3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2" name="Freeform 131"/>
            <p:cNvSpPr/>
            <p:nvPr/>
          </p:nvSpPr>
          <p:spPr bwMode="auto">
            <a:xfrm>
              <a:off x="6194425" y="2532063"/>
              <a:ext cx="41275" cy="34925"/>
            </a:xfrm>
            <a:custGeom>
              <a:avLst/>
              <a:gdLst/>
              <a:ahLst/>
              <a:cxnLst>
                <a:cxn ang="0">
                  <a:pos x="2" y="11"/>
                </a:cxn>
                <a:cxn ang="0">
                  <a:pos x="26" y="0"/>
                </a:cxn>
                <a:cxn ang="0">
                  <a:pos x="31" y="7"/>
                </a:cxn>
                <a:cxn ang="0">
                  <a:pos x="11" y="27"/>
                </a:cxn>
                <a:cxn ang="0">
                  <a:pos x="2" y="18"/>
                </a:cxn>
                <a:cxn ang="0">
                  <a:pos x="2" y="11"/>
                </a:cxn>
              </a:cxnLst>
              <a:rect l="0" t="0" r="r" b="b"/>
              <a:pathLst>
                <a:path w="31" h="27">
                  <a:moveTo>
                    <a:pt x="2" y="11"/>
                  </a:moveTo>
                  <a:cubicBezTo>
                    <a:pt x="5" y="11"/>
                    <a:pt x="20" y="0"/>
                    <a:pt x="26" y="0"/>
                  </a:cubicBezTo>
                  <a:cubicBezTo>
                    <a:pt x="28" y="0"/>
                    <a:pt x="31" y="4"/>
                    <a:pt x="31" y="7"/>
                  </a:cubicBezTo>
                  <a:cubicBezTo>
                    <a:pt x="31" y="13"/>
                    <a:pt x="18" y="27"/>
                    <a:pt x="11" y="27"/>
                  </a:cubicBezTo>
                  <a:cubicBezTo>
                    <a:pt x="5" y="27"/>
                    <a:pt x="2" y="24"/>
                    <a:pt x="2" y="18"/>
                  </a:cubicBezTo>
                  <a:cubicBezTo>
                    <a:pt x="2" y="15"/>
                    <a:pt x="0" y="11"/>
                    <a:pt x="2" y="1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3" name="Freeform 132"/>
            <p:cNvSpPr/>
            <p:nvPr/>
          </p:nvSpPr>
          <p:spPr bwMode="auto">
            <a:xfrm>
              <a:off x="6015038" y="2476500"/>
              <a:ext cx="195263" cy="374650"/>
            </a:xfrm>
            <a:custGeom>
              <a:avLst/>
              <a:gdLst/>
              <a:ahLst/>
              <a:cxnLst>
                <a:cxn ang="0">
                  <a:pos x="12" y="172"/>
                </a:cxn>
                <a:cxn ang="0">
                  <a:pos x="21" y="152"/>
                </a:cxn>
                <a:cxn ang="0">
                  <a:pos x="25" y="147"/>
                </a:cxn>
                <a:cxn ang="0">
                  <a:pos x="15" y="119"/>
                </a:cxn>
                <a:cxn ang="0">
                  <a:pos x="8" y="109"/>
                </a:cxn>
                <a:cxn ang="0">
                  <a:pos x="8" y="105"/>
                </a:cxn>
                <a:cxn ang="0">
                  <a:pos x="8" y="106"/>
                </a:cxn>
                <a:cxn ang="0">
                  <a:pos x="12" y="96"/>
                </a:cxn>
                <a:cxn ang="0">
                  <a:pos x="9" y="77"/>
                </a:cxn>
                <a:cxn ang="0">
                  <a:pos x="0" y="65"/>
                </a:cxn>
                <a:cxn ang="0">
                  <a:pos x="8" y="47"/>
                </a:cxn>
                <a:cxn ang="0">
                  <a:pos x="19" y="43"/>
                </a:cxn>
                <a:cxn ang="0">
                  <a:pos x="45" y="19"/>
                </a:cxn>
                <a:cxn ang="0">
                  <a:pos x="47" y="19"/>
                </a:cxn>
                <a:cxn ang="0">
                  <a:pos x="50" y="24"/>
                </a:cxn>
                <a:cxn ang="0">
                  <a:pos x="52" y="20"/>
                </a:cxn>
                <a:cxn ang="0">
                  <a:pos x="52" y="9"/>
                </a:cxn>
                <a:cxn ang="0">
                  <a:pos x="64" y="6"/>
                </a:cxn>
                <a:cxn ang="0">
                  <a:pos x="78" y="6"/>
                </a:cxn>
                <a:cxn ang="0">
                  <a:pos x="96" y="0"/>
                </a:cxn>
                <a:cxn ang="0">
                  <a:pos x="115" y="5"/>
                </a:cxn>
                <a:cxn ang="0">
                  <a:pos x="130" y="22"/>
                </a:cxn>
                <a:cxn ang="0">
                  <a:pos x="100" y="58"/>
                </a:cxn>
                <a:cxn ang="0">
                  <a:pos x="104" y="64"/>
                </a:cxn>
                <a:cxn ang="0">
                  <a:pos x="129" y="93"/>
                </a:cxn>
                <a:cxn ang="0">
                  <a:pos x="147" y="134"/>
                </a:cxn>
                <a:cxn ang="0">
                  <a:pos x="142" y="156"/>
                </a:cxn>
                <a:cxn ang="0">
                  <a:pos x="115" y="170"/>
                </a:cxn>
                <a:cxn ang="0">
                  <a:pos x="105" y="180"/>
                </a:cxn>
                <a:cxn ang="0">
                  <a:pos x="104" y="176"/>
                </a:cxn>
                <a:cxn ang="0">
                  <a:pos x="104" y="181"/>
                </a:cxn>
                <a:cxn ang="0">
                  <a:pos x="93" y="192"/>
                </a:cxn>
                <a:cxn ang="0">
                  <a:pos x="90" y="183"/>
                </a:cxn>
                <a:cxn ang="0">
                  <a:pos x="91" y="177"/>
                </a:cxn>
                <a:cxn ang="0">
                  <a:pos x="88" y="170"/>
                </a:cxn>
                <a:cxn ang="0">
                  <a:pos x="73" y="161"/>
                </a:cxn>
                <a:cxn ang="0">
                  <a:pos x="63" y="149"/>
                </a:cxn>
                <a:cxn ang="0">
                  <a:pos x="43" y="141"/>
                </a:cxn>
                <a:cxn ang="0">
                  <a:pos x="41" y="135"/>
                </a:cxn>
                <a:cxn ang="0">
                  <a:pos x="30" y="129"/>
                </a:cxn>
                <a:cxn ang="0">
                  <a:pos x="27" y="134"/>
                </a:cxn>
                <a:cxn ang="0">
                  <a:pos x="29" y="142"/>
                </a:cxn>
                <a:cxn ang="0">
                  <a:pos x="16" y="171"/>
                </a:cxn>
                <a:cxn ang="0">
                  <a:pos x="31" y="192"/>
                </a:cxn>
                <a:cxn ang="0">
                  <a:pos x="30" y="192"/>
                </a:cxn>
                <a:cxn ang="0">
                  <a:pos x="35" y="206"/>
                </a:cxn>
                <a:cxn ang="0">
                  <a:pos x="73" y="243"/>
                </a:cxn>
                <a:cxn ang="0">
                  <a:pos x="71" y="251"/>
                </a:cxn>
                <a:cxn ang="0">
                  <a:pos x="80" y="267"/>
                </a:cxn>
                <a:cxn ang="0">
                  <a:pos x="84" y="280"/>
                </a:cxn>
                <a:cxn ang="0">
                  <a:pos x="78" y="280"/>
                </a:cxn>
                <a:cxn ang="0">
                  <a:pos x="75" y="282"/>
                </a:cxn>
                <a:cxn ang="0">
                  <a:pos x="68" y="278"/>
                </a:cxn>
                <a:cxn ang="0">
                  <a:pos x="37" y="246"/>
                </a:cxn>
                <a:cxn ang="0">
                  <a:pos x="27" y="214"/>
                </a:cxn>
                <a:cxn ang="0">
                  <a:pos x="14" y="192"/>
                </a:cxn>
                <a:cxn ang="0">
                  <a:pos x="8" y="192"/>
                </a:cxn>
                <a:cxn ang="0">
                  <a:pos x="8" y="189"/>
                </a:cxn>
                <a:cxn ang="0">
                  <a:pos x="10" y="172"/>
                </a:cxn>
                <a:cxn ang="0">
                  <a:pos x="11" y="172"/>
                </a:cxn>
                <a:cxn ang="0">
                  <a:pos x="12" y="172"/>
                </a:cxn>
              </a:cxnLst>
              <a:rect l="0" t="0" r="r" b="b"/>
              <a:pathLst>
                <a:path w="147" h="282">
                  <a:moveTo>
                    <a:pt x="12" y="172"/>
                  </a:moveTo>
                  <a:cubicBezTo>
                    <a:pt x="16" y="165"/>
                    <a:pt x="17" y="160"/>
                    <a:pt x="21" y="152"/>
                  </a:cubicBezTo>
                  <a:cubicBezTo>
                    <a:pt x="22" y="150"/>
                    <a:pt x="25" y="149"/>
                    <a:pt x="25" y="147"/>
                  </a:cubicBezTo>
                  <a:cubicBezTo>
                    <a:pt x="25" y="143"/>
                    <a:pt x="19" y="123"/>
                    <a:pt x="15" y="119"/>
                  </a:cubicBezTo>
                  <a:cubicBezTo>
                    <a:pt x="12" y="116"/>
                    <a:pt x="8" y="114"/>
                    <a:pt x="8" y="109"/>
                  </a:cubicBezTo>
                  <a:cubicBezTo>
                    <a:pt x="8" y="108"/>
                    <a:pt x="8" y="107"/>
                    <a:pt x="8" y="105"/>
                  </a:cubicBezTo>
                  <a:cubicBezTo>
                    <a:pt x="8" y="106"/>
                    <a:pt x="8" y="106"/>
                    <a:pt x="8" y="106"/>
                  </a:cubicBezTo>
                  <a:cubicBezTo>
                    <a:pt x="9" y="105"/>
                    <a:pt x="12" y="100"/>
                    <a:pt x="12" y="96"/>
                  </a:cubicBezTo>
                  <a:cubicBezTo>
                    <a:pt x="12" y="91"/>
                    <a:pt x="12" y="82"/>
                    <a:pt x="9" y="77"/>
                  </a:cubicBezTo>
                  <a:cubicBezTo>
                    <a:pt x="6" y="73"/>
                    <a:pt x="0" y="73"/>
                    <a:pt x="0" y="65"/>
                  </a:cubicBezTo>
                  <a:cubicBezTo>
                    <a:pt x="0" y="57"/>
                    <a:pt x="3" y="51"/>
                    <a:pt x="8" y="47"/>
                  </a:cubicBezTo>
                  <a:cubicBezTo>
                    <a:pt x="10" y="44"/>
                    <a:pt x="15" y="45"/>
                    <a:pt x="19" y="43"/>
                  </a:cubicBezTo>
                  <a:cubicBezTo>
                    <a:pt x="29" y="36"/>
                    <a:pt x="36" y="33"/>
                    <a:pt x="45" y="19"/>
                  </a:cubicBezTo>
                  <a:cubicBezTo>
                    <a:pt x="47" y="19"/>
                    <a:pt x="47" y="19"/>
                    <a:pt x="47" y="19"/>
                  </a:cubicBezTo>
                  <a:cubicBezTo>
                    <a:pt x="47" y="23"/>
                    <a:pt x="49" y="24"/>
                    <a:pt x="50" y="24"/>
                  </a:cubicBezTo>
                  <a:cubicBezTo>
                    <a:pt x="51" y="24"/>
                    <a:pt x="52" y="22"/>
                    <a:pt x="52" y="20"/>
                  </a:cubicBezTo>
                  <a:cubicBezTo>
                    <a:pt x="52" y="16"/>
                    <a:pt x="52" y="13"/>
                    <a:pt x="52" y="9"/>
                  </a:cubicBezTo>
                  <a:cubicBezTo>
                    <a:pt x="52" y="9"/>
                    <a:pt x="62" y="6"/>
                    <a:pt x="64" y="6"/>
                  </a:cubicBezTo>
                  <a:cubicBezTo>
                    <a:pt x="78" y="6"/>
                    <a:pt x="78" y="6"/>
                    <a:pt x="78" y="6"/>
                  </a:cubicBezTo>
                  <a:cubicBezTo>
                    <a:pt x="84" y="9"/>
                    <a:pt x="89" y="0"/>
                    <a:pt x="96" y="0"/>
                  </a:cubicBezTo>
                  <a:cubicBezTo>
                    <a:pt x="103" y="0"/>
                    <a:pt x="107" y="5"/>
                    <a:pt x="115" y="5"/>
                  </a:cubicBezTo>
                  <a:cubicBezTo>
                    <a:pt x="115" y="16"/>
                    <a:pt x="123" y="20"/>
                    <a:pt x="130" y="22"/>
                  </a:cubicBezTo>
                  <a:cubicBezTo>
                    <a:pt x="121" y="36"/>
                    <a:pt x="100" y="39"/>
                    <a:pt x="100" y="58"/>
                  </a:cubicBezTo>
                  <a:cubicBezTo>
                    <a:pt x="100" y="62"/>
                    <a:pt x="102" y="63"/>
                    <a:pt x="104" y="64"/>
                  </a:cubicBezTo>
                  <a:cubicBezTo>
                    <a:pt x="114" y="74"/>
                    <a:pt x="118" y="86"/>
                    <a:pt x="129" y="93"/>
                  </a:cubicBezTo>
                  <a:cubicBezTo>
                    <a:pt x="140" y="100"/>
                    <a:pt x="147" y="119"/>
                    <a:pt x="147" y="134"/>
                  </a:cubicBezTo>
                  <a:cubicBezTo>
                    <a:pt x="147" y="144"/>
                    <a:pt x="142" y="148"/>
                    <a:pt x="142" y="156"/>
                  </a:cubicBezTo>
                  <a:cubicBezTo>
                    <a:pt x="127" y="160"/>
                    <a:pt x="126" y="164"/>
                    <a:pt x="115" y="170"/>
                  </a:cubicBezTo>
                  <a:cubicBezTo>
                    <a:pt x="109" y="173"/>
                    <a:pt x="110" y="180"/>
                    <a:pt x="105" y="180"/>
                  </a:cubicBezTo>
                  <a:cubicBezTo>
                    <a:pt x="104" y="180"/>
                    <a:pt x="104" y="177"/>
                    <a:pt x="104" y="176"/>
                  </a:cubicBezTo>
                  <a:cubicBezTo>
                    <a:pt x="104" y="179"/>
                    <a:pt x="104" y="180"/>
                    <a:pt x="104" y="181"/>
                  </a:cubicBezTo>
                  <a:cubicBezTo>
                    <a:pt x="104" y="185"/>
                    <a:pt x="95" y="192"/>
                    <a:pt x="93" y="192"/>
                  </a:cubicBezTo>
                  <a:cubicBezTo>
                    <a:pt x="91" y="192"/>
                    <a:pt x="90" y="186"/>
                    <a:pt x="90" y="183"/>
                  </a:cubicBezTo>
                  <a:cubicBezTo>
                    <a:pt x="90" y="179"/>
                    <a:pt x="90" y="178"/>
                    <a:pt x="91" y="177"/>
                  </a:cubicBezTo>
                  <a:cubicBezTo>
                    <a:pt x="90" y="176"/>
                    <a:pt x="89" y="172"/>
                    <a:pt x="88" y="170"/>
                  </a:cubicBezTo>
                  <a:cubicBezTo>
                    <a:pt x="82" y="170"/>
                    <a:pt x="73" y="168"/>
                    <a:pt x="73" y="161"/>
                  </a:cubicBezTo>
                  <a:cubicBezTo>
                    <a:pt x="63" y="161"/>
                    <a:pt x="68" y="155"/>
                    <a:pt x="63" y="149"/>
                  </a:cubicBezTo>
                  <a:cubicBezTo>
                    <a:pt x="56" y="143"/>
                    <a:pt x="50" y="143"/>
                    <a:pt x="43" y="141"/>
                  </a:cubicBezTo>
                  <a:cubicBezTo>
                    <a:pt x="42" y="141"/>
                    <a:pt x="41" y="135"/>
                    <a:pt x="41" y="135"/>
                  </a:cubicBezTo>
                  <a:cubicBezTo>
                    <a:pt x="40" y="130"/>
                    <a:pt x="34" y="129"/>
                    <a:pt x="30" y="129"/>
                  </a:cubicBezTo>
                  <a:cubicBezTo>
                    <a:pt x="26" y="129"/>
                    <a:pt x="27" y="132"/>
                    <a:pt x="27" y="134"/>
                  </a:cubicBezTo>
                  <a:cubicBezTo>
                    <a:pt x="27" y="138"/>
                    <a:pt x="29" y="139"/>
                    <a:pt x="29" y="142"/>
                  </a:cubicBezTo>
                  <a:cubicBezTo>
                    <a:pt x="29" y="156"/>
                    <a:pt x="16" y="159"/>
                    <a:pt x="16" y="171"/>
                  </a:cubicBezTo>
                  <a:cubicBezTo>
                    <a:pt x="16" y="185"/>
                    <a:pt x="31" y="179"/>
                    <a:pt x="31" y="192"/>
                  </a:cubicBezTo>
                  <a:cubicBezTo>
                    <a:pt x="30" y="192"/>
                    <a:pt x="30" y="192"/>
                    <a:pt x="30" y="192"/>
                  </a:cubicBezTo>
                  <a:cubicBezTo>
                    <a:pt x="32" y="195"/>
                    <a:pt x="32" y="203"/>
                    <a:pt x="35" y="206"/>
                  </a:cubicBezTo>
                  <a:cubicBezTo>
                    <a:pt x="47" y="218"/>
                    <a:pt x="73" y="221"/>
                    <a:pt x="73" y="243"/>
                  </a:cubicBezTo>
                  <a:cubicBezTo>
                    <a:pt x="73" y="247"/>
                    <a:pt x="71" y="247"/>
                    <a:pt x="71" y="251"/>
                  </a:cubicBezTo>
                  <a:cubicBezTo>
                    <a:pt x="71" y="259"/>
                    <a:pt x="78" y="262"/>
                    <a:pt x="80" y="267"/>
                  </a:cubicBezTo>
                  <a:cubicBezTo>
                    <a:pt x="82" y="273"/>
                    <a:pt x="82" y="275"/>
                    <a:pt x="84" y="280"/>
                  </a:cubicBezTo>
                  <a:cubicBezTo>
                    <a:pt x="80" y="280"/>
                    <a:pt x="80" y="280"/>
                    <a:pt x="78" y="280"/>
                  </a:cubicBezTo>
                  <a:cubicBezTo>
                    <a:pt x="77" y="280"/>
                    <a:pt x="76" y="282"/>
                    <a:pt x="75" y="282"/>
                  </a:cubicBezTo>
                  <a:cubicBezTo>
                    <a:pt x="71" y="282"/>
                    <a:pt x="70" y="279"/>
                    <a:pt x="68" y="278"/>
                  </a:cubicBezTo>
                  <a:cubicBezTo>
                    <a:pt x="54" y="274"/>
                    <a:pt x="41" y="261"/>
                    <a:pt x="37" y="246"/>
                  </a:cubicBezTo>
                  <a:cubicBezTo>
                    <a:pt x="33" y="233"/>
                    <a:pt x="32" y="224"/>
                    <a:pt x="27" y="214"/>
                  </a:cubicBezTo>
                  <a:cubicBezTo>
                    <a:pt x="24" y="208"/>
                    <a:pt x="21" y="192"/>
                    <a:pt x="14" y="192"/>
                  </a:cubicBezTo>
                  <a:cubicBezTo>
                    <a:pt x="9" y="192"/>
                    <a:pt x="12" y="194"/>
                    <a:pt x="8" y="192"/>
                  </a:cubicBezTo>
                  <a:cubicBezTo>
                    <a:pt x="7" y="192"/>
                    <a:pt x="8" y="190"/>
                    <a:pt x="8" y="189"/>
                  </a:cubicBezTo>
                  <a:cubicBezTo>
                    <a:pt x="8" y="183"/>
                    <a:pt x="9" y="179"/>
                    <a:pt x="10" y="172"/>
                  </a:cubicBezTo>
                  <a:cubicBezTo>
                    <a:pt x="11" y="172"/>
                    <a:pt x="11" y="172"/>
                    <a:pt x="11" y="172"/>
                  </a:cubicBezTo>
                  <a:lnTo>
                    <a:pt x="12" y="172"/>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4" name="Freeform 133"/>
            <p:cNvSpPr/>
            <p:nvPr/>
          </p:nvSpPr>
          <p:spPr bwMode="auto">
            <a:xfrm>
              <a:off x="6142038" y="2898775"/>
              <a:ext cx="26988" cy="25400"/>
            </a:xfrm>
            <a:custGeom>
              <a:avLst/>
              <a:gdLst/>
              <a:ahLst/>
              <a:cxnLst>
                <a:cxn ang="0">
                  <a:pos x="12" y="17"/>
                </a:cxn>
                <a:cxn ang="0">
                  <a:pos x="9" y="11"/>
                </a:cxn>
                <a:cxn ang="0">
                  <a:pos x="0" y="6"/>
                </a:cxn>
                <a:cxn ang="0">
                  <a:pos x="9" y="0"/>
                </a:cxn>
                <a:cxn ang="0">
                  <a:pos x="20" y="15"/>
                </a:cxn>
                <a:cxn ang="0">
                  <a:pos x="21" y="19"/>
                </a:cxn>
                <a:cxn ang="0">
                  <a:pos x="17" y="19"/>
                </a:cxn>
                <a:cxn ang="0">
                  <a:pos x="12" y="17"/>
                </a:cxn>
              </a:cxnLst>
              <a:rect l="0" t="0" r="r" b="b"/>
              <a:pathLst>
                <a:path w="21" h="19">
                  <a:moveTo>
                    <a:pt x="12" y="17"/>
                  </a:moveTo>
                  <a:cubicBezTo>
                    <a:pt x="11" y="17"/>
                    <a:pt x="9" y="12"/>
                    <a:pt x="9" y="11"/>
                  </a:cubicBezTo>
                  <a:cubicBezTo>
                    <a:pt x="7" y="7"/>
                    <a:pt x="0" y="9"/>
                    <a:pt x="0" y="6"/>
                  </a:cubicBezTo>
                  <a:cubicBezTo>
                    <a:pt x="0" y="3"/>
                    <a:pt x="6" y="0"/>
                    <a:pt x="9" y="0"/>
                  </a:cubicBezTo>
                  <a:cubicBezTo>
                    <a:pt x="11" y="7"/>
                    <a:pt x="14" y="15"/>
                    <a:pt x="20" y="15"/>
                  </a:cubicBezTo>
                  <a:cubicBezTo>
                    <a:pt x="20" y="16"/>
                    <a:pt x="20" y="18"/>
                    <a:pt x="21" y="19"/>
                  </a:cubicBezTo>
                  <a:cubicBezTo>
                    <a:pt x="20" y="19"/>
                    <a:pt x="18" y="19"/>
                    <a:pt x="17" y="19"/>
                  </a:cubicBezTo>
                  <a:cubicBezTo>
                    <a:pt x="15" y="19"/>
                    <a:pt x="14" y="17"/>
                    <a:pt x="12" y="17"/>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5" name="Freeform 134"/>
            <p:cNvSpPr/>
            <p:nvPr/>
          </p:nvSpPr>
          <p:spPr bwMode="auto">
            <a:xfrm>
              <a:off x="6183313" y="2917825"/>
              <a:ext cx="11113" cy="11113"/>
            </a:xfrm>
            <a:custGeom>
              <a:avLst/>
              <a:gdLst/>
              <a:ahLst/>
              <a:cxnLst>
                <a:cxn ang="0">
                  <a:pos x="1" y="0"/>
                </a:cxn>
                <a:cxn ang="0">
                  <a:pos x="5" y="0"/>
                </a:cxn>
                <a:cxn ang="0">
                  <a:pos x="9" y="3"/>
                </a:cxn>
                <a:cxn ang="0">
                  <a:pos x="4" y="8"/>
                </a:cxn>
                <a:cxn ang="0">
                  <a:pos x="1" y="3"/>
                </a:cxn>
                <a:cxn ang="0">
                  <a:pos x="1" y="0"/>
                </a:cxn>
              </a:cxnLst>
              <a:rect l="0" t="0" r="r" b="b"/>
              <a:pathLst>
                <a:path w="9" h="8">
                  <a:moveTo>
                    <a:pt x="1" y="0"/>
                  </a:moveTo>
                  <a:cubicBezTo>
                    <a:pt x="2" y="0"/>
                    <a:pt x="4" y="0"/>
                    <a:pt x="5" y="0"/>
                  </a:cubicBezTo>
                  <a:cubicBezTo>
                    <a:pt x="6" y="0"/>
                    <a:pt x="8" y="2"/>
                    <a:pt x="9" y="3"/>
                  </a:cubicBezTo>
                  <a:cubicBezTo>
                    <a:pt x="9" y="5"/>
                    <a:pt x="7" y="8"/>
                    <a:pt x="4" y="8"/>
                  </a:cubicBezTo>
                  <a:cubicBezTo>
                    <a:pt x="1" y="8"/>
                    <a:pt x="1" y="5"/>
                    <a:pt x="1" y="3"/>
                  </a:cubicBezTo>
                  <a:cubicBezTo>
                    <a:pt x="1" y="2"/>
                    <a:pt x="0" y="0"/>
                    <a:pt x="1"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6" name="Freeform 135"/>
            <p:cNvSpPr/>
            <p:nvPr/>
          </p:nvSpPr>
          <p:spPr bwMode="auto">
            <a:xfrm>
              <a:off x="6035675" y="2892425"/>
              <a:ext cx="9525" cy="15875"/>
            </a:xfrm>
            <a:custGeom>
              <a:avLst/>
              <a:gdLst/>
              <a:ahLst/>
              <a:cxnLst>
                <a:cxn ang="0">
                  <a:pos x="1" y="0"/>
                </a:cxn>
                <a:cxn ang="0">
                  <a:pos x="8" y="12"/>
                </a:cxn>
                <a:cxn ang="0">
                  <a:pos x="0" y="2"/>
                </a:cxn>
                <a:cxn ang="0">
                  <a:pos x="0" y="0"/>
                </a:cxn>
                <a:cxn ang="0">
                  <a:pos x="3" y="0"/>
                </a:cxn>
                <a:cxn ang="0">
                  <a:pos x="3" y="2"/>
                </a:cxn>
                <a:cxn ang="0">
                  <a:pos x="1" y="0"/>
                </a:cxn>
              </a:cxnLst>
              <a:rect l="0" t="0" r="r" b="b"/>
              <a:pathLst>
                <a:path w="8" h="12">
                  <a:moveTo>
                    <a:pt x="1" y="0"/>
                  </a:moveTo>
                  <a:cubicBezTo>
                    <a:pt x="5" y="4"/>
                    <a:pt x="8" y="7"/>
                    <a:pt x="8" y="12"/>
                  </a:cubicBezTo>
                  <a:cubicBezTo>
                    <a:pt x="5" y="12"/>
                    <a:pt x="0" y="5"/>
                    <a:pt x="0" y="2"/>
                  </a:cubicBezTo>
                  <a:cubicBezTo>
                    <a:pt x="0" y="1"/>
                    <a:pt x="0" y="1"/>
                    <a:pt x="0" y="0"/>
                  </a:cubicBezTo>
                  <a:cubicBezTo>
                    <a:pt x="3" y="0"/>
                    <a:pt x="3" y="0"/>
                    <a:pt x="3" y="0"/>
                  </a:cubicBezTo>
                  <a:cubicBezTo>
                    <a:pt x="3" y="1"/>
                    <a:pt x="3" y="2"/>
                    <a:pt x="3" y="2"/>
                  </a:cubicBezTo>
                  <a:lnTo>
                    <a:pt x="1" y="0"/>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7" name="Freeform 136"/>
            <p:cNvSpPr/>
            <p:nvPr/>
          </p:nvSpPr>
          <p:spPr bwMode="auto">
            <a:xfrm>
              <a:off x="6013450" y="2855913"/>
              <a:ext cx="15875" cy="15875"/>
            </a:xfrm>
            <a:custGeom>
              <a:avLst/>
              <a:gdLst/>
              <a:ahLst/>
              <a:cxnLst>
                <a:cxn ang="0">
                  <a:pos x="2" y="0"/>
                </a:cxn>
                <a:cxn ang="0">
                  <a:pos x="8" y="11"/>
                </a:cxn>
                <a:cxn ang="0">
                  <a:pos x="0" y="1"/>
                </a:cxn>
                <a:cxn ang="0">
                  <a:pos x="0" y="1"/>
                </a:cxn>
                <a:cxn ang="0">
                  <a:pos x="2" y="0"/>
                </a:cxn>
              </a:cxnLst>
              <a:rect l="0" t="0" r="r" b="b"/>
              <a:pathLst>
                <a:path w="12" h="11">
                  <a:moveTo>
                    <a:pt x="2" y="0"/>
                  </a:moveTo>
                  <a:cubicBezTo>
                    <a:pt x="5" y="2"/>
                    <a:pt x="12" y="11"/>
                    <a:pt x="8" y="11"/>
                  </a:cubicBezTo>
                  <a:cubicBezTo>
                    <a:pt x="6" y="11"/>
                    <a:pt x="1" y="4"/>
                    <a:pt x="0" y="1"/>
                  </a:cubicBezTo>
                  <a:cubicBezTo>
                    <a:pt x="0" y="1"/>
                    <a:pt x="0" y="1"/>
                    <a:pt x="0" y="1"/>
                  </a:cubicBezTo>
                  <a:lnTo>
                    <a:pt x="2" y="0"/>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8" name="Freeform 137"/>
            <p:cNvSpPr/>
            <p:nvPr/>
          </p:nvSpPr>
          <p:spPr bwMode="auto">
            <a:xfrm>
              <a:off x="6548438" y="2284413"/>
              <a:ext cx="41275" cy="49213"/>
            </a:xfrm>
            <a:custGeom>
              <a:avLst/>
              <a:gdLst/>
              <a:ahLst/>
              <a:cxnLst>
                <a:cxn ang="0">
                  <a:pos x="12" y="22"/>
                </a:cxn>
                <a:cxn ang="0">
                  <a:pos x="14" y="16"/>
                </a:cxn>
                <a:cxn ang="0">
                  <a:pos x="10" y="10"/>
                </a:cxn>
                <a:cxn ang="0">
                  <a:pos x="10" y="14"/>
                </a:cxn>
                <a:cxn ang="0">
                  <a:pos x="5" y="16"/>
                </a:cxn>
                <a:cxn ang="0">
                  <a:pos x="0" y="11"/>
                </a:cxn>
                <a:cxn ang="0">
                  <a:pos x="14" y="0"/>
                </a:cxn>
                <a:cxn ang="0">
                  <a:pos x="26" y="3"/>
                </a:cxn>
                <a:cxn ang="0">
                  <a:pos x="26" y="8"/>
                </a:cxn>
                <a:cxn ang="0">
                  <a:pos x="30" y="11"/>
                </a:cxn>
                <a:cxn ang="0">
                  <a:pos x="30" y="16"/>
                </a:cxn>
                <a:cxn ang="0">
                  <a:pos x="26" y="16"/>
                </a:cxn>
                <a:cxn ang="0">
                  <a:pos x="15" y="37"/>
                </a:cxn>
                <a:cxn ang="0">
                  <a:pos x="14" y="33"/>
                </a:cxn>
                <a:cxn ang="0">
                  <a:pos x="14" y="36"/>
                </a:cxn>
                <a:cxn ang="0">
                  <a:pos x="7" y="29"/>
                </a:cxn>
                <a:cxn ang="0">
                  <a:pos x="12" y="22"/>
                </a:cxn>
              </a:cxnLst>
              <a:rect l="0" t="0" r="r" b="b"/>
              <a:pathLst>
                <a:path w="30" h="37">
                  <a:moveTo>
                    <a:pt x="12" y="22"/>
                  </a:moveTo>
                  <a:cubicBezTo>
                    <a:pt x="14" y="16"/>
                    <a:pt x="14" y="16"/>
                    <a:pt x="14" y="16"/>
                  </a:cubicBezTo>
                  <a:cubicBezTo>
                    <a:pt x="11" y="15"/>
                    <a:pt x="11" y="12"/>
                    <a:pt x="10" y="10"/>
                  </a:cubicBezTo>
                  <a:cubicBezTo>
                    <a:pt x="10" y="11"/>
                    <a:pt x="9" y="13"/>
                    <a:pt x="10" y="14"/>
                  </a:cubicBezTo>
                  <a:cubicBezTo>
                    <a:pt x="8" y="14"/>
                    <a:pt x="6" y="16"/>
                    <a:pt x="5" y="16"/>
                  </a:cubicBezTo>
                  <a:cubicBezTo>
                    <a:pt x="3" y="16"/>
                    <a:pt x="0" y="13"/>
                    <a:pt x="0" y="11"/>
                  </a:cubicBezTo>
                  <a:cubicBezTo>
                    <a:pt x="0" y="8"/>
                    <a:pt x="13" y="0"/>
                    <a:pt x="14" y="0"/>
                  </a:cubicBezTo>
                  <a:cubicBezTo>
                    <a:pt x="18" y="0"/>
                    <a:pt x="20" y="3"/>
                    <a:pt x="26" y="3"/>
                  </a:cubicBezTo>
                  <a:cubicBezTo>
                    <a:pt x="26" y="5"/>
                    <a:pt x="25" y="8"/>
                    <a:pt x="26" y="8"/>
                  </a:cubicBezTo>
                  <a:cubicBezTo>
                    <a:pt x="30" y="11"/>
                    <a:pt x="30" y="11"/>
                    <a:pt x="30" y="11"/>
                  </a:cubicBezTo>
                  <a:cubicBezTo>
                    <a:pt x="30" y="13"/>
                    <a:pt x="29" y="14"/>
                    <a:pt x="30" y="16"/>
                  </a:cubicBezTo>
                  <a:cubicBezTo>
                    <a:pt x="29" y="16"/>
                    <a:pt x="27" y="16"/>
                    <a:pt x="26" y="16"/>
                  </a:cubicBezTo>
                  <a:cubicBezTo>
                    <a:pt x="25" y="24"/>
                    <a:pt x="21" y="37"/>
                    <a:pt x="15" y="37"/>
                  </a:cubicBezTo>
                  <a:cubicBezTo>
                    <a:pt x="14" y="37"/>
                    <a:pt x="14" y="35"/>
                    <a:pt x="14" y="33"/>
                  </a:cubicBezTo>
                  <a:cubicBezTo>
                    <a:pt x="14" y="36"/>
                    <a:pt x="14" y="36"/>
                    <a:pt x="14" y="36"/>
                  </a:cubicBezTo>
                  <a:cubicBezTo>
                    <a:pt x="10" y="36"/>
                    <a:pt x="7" y="31"/>
                    <a:pt x="7" y="29"/>
                  </a:cubicBezTo>
                  <a:cubicBezTo>
                    <a:pt x="7" y="28"/>
                    <a:pt x="12" y="22"/>
                    <a:pt x="12" y="2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19" name="Freeform 138"/>
            <p:cNvSpPr/>
            <p:nvPr/>
          </p:nvSpPr>
          <p:spPr bwMode="auto">
            <a:xfrm>
              <a:off x="6596063" y="2271713"/>
              <a:ext cx="42863" cy="30163"/>
            </a:xfrm>
            <a:custGeom>
              <a:avLst/>
              <a:gdLst/>
              <a:ahLst/>
              <a:cxnLst>
                <a:cxn ang="0">
                  <a:pos x="23" y="15"/>
                </a:cxn>
                <a:cxn ang="0">
                  <a:pos x="17" y="12"/>
                </a:cxn>
                <a:cxn ang="0">
                  <a:pos x="6" y="23"/>
                </a:cxn>
                <a:cxn ang="0">
                  <a:pos x="3" y="17"/>
                </a:cxn>
                <a:cxn ang="0">
                  <a:pos x="0" y="12"/>
                </a:cxn>
                <a:cxn ang="0">
                  <a:pos x="8" y="5"/>
                </a:cxn>
                <a:cxn ang="0">
                  <a:pos x="23" y="0"/>
                </a:cxn>
                <a:cxn ang="0">
                  <a:pos x="23" y="15"/>
                </a:cxn>
              </a:cxnLst>
              <a:rect l="0" t="0" r="r" b="b"/>
              <a:pathLst>
                <a:path w="33" h="23">
                  <a:moveTo>
                    <a:pt x="23" y="15"/>
                  </a:moveTo>
                  <a:cubicBezTo>
                    <a:pt x="20" y="15"/>
                    <a:pt x="18" y="13"/>
                    <a:pt x="17" y="12"/>
                  </a:cubicBezTo>
                  <a:cubicBezTo>
                    <a:pt x="13" y="16"/>
                    <a:pt x="12" y="23"/>
                    <a:pt x="6" y="23"/>
                  </a:cubicBezTo>
                  <a:cubicBezTo>
                    <a:pt x="4" y="23"/>
                    <a:pt x="3" y="19"/>
                    <a:pt x="3" y="17"/>
                  </a:cubicBezTo>
                  <a:cubicBezTo>
                    <a:pt x="1" y="15"/>
                    <a:pt x="0" y="14"/>
                    <a:pt x="0" y="12"/>
                  </a:cubicBezTo>
                  <a:cubicBezTo>
                    <a:pt x="0" y="12"/>
                    <a:pt x="8" y="6"/>
                    <a:pt x="8" y="5"/>
                  </a:cubicBezTo>
                  <a:cubicBezTo>
                    <a:pt x="16" y="7"/>
                    <a:pt x="17" y="0"/>
                    <a:pt x="23" y="0"/>
                  </a:cubicBezTo>
                  <a:cubicBezTo>
                    <a:pt x="33" y="0"/>
                    <a:pt x="28" y="15"/>
                    <a:pt x="23" y="1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0" name="Freeform 139"/>
            <p:cNvSpPr/>
            <p:nvPr/>
          </p:nvSpPr>
          <p:spPr bwMode="auto">
            <a:xfrm>
              <a:off x="6572250" y="2136775"/>
              <a:ext cx="185738" cy="153988"/>
            </a:xfrm>
            <a:custGeom>
              <a:avLst/>
              <a:gdLst/>
              <a:ahLst/>
              <a:cxnLst>
                <a:cxn ang="0">
                  <a:pos x="55" y="110"/>
                </a:cxn>
                <a:cxn ang="0">
                  <a:pos x="55" y="107"/>
                </a:cxn>
                <a:cxn ang="0">
                  <a:pos x="56" y="99"/>
                </a:cxn>
                <a:cxn ang="0">
                  <a:pos x="43" y="95"/>
                </a:cxn>
                <a:cxn ang="0">
                  <a:pos x="39" y="99"/>
                </a:cxn>
                <a:cxn ang="0">
                  <a:pos x="29" y="100"/>
                </a:cxn>
                <a:cxn ang="0">
                  <a:pos x="6" y="106"/>
                </a:cxn>
                <a:cxn ang="0">
                  <a:pos x="0" y="104"/>
                </a:cxn>
                <a:cxn ang="0">
                  <a:pos x="5" y="101"/>
                </a:cxn>
                <a:cxn ang="0">
                  <a:pos x="30" y="84"/>
                </a:cxn>
                <a:cxn ang="0">
                  <a:pos x="57" y="84"/>
                </a:cxn>
                <a:cxn ang="0">
                  <a:pos x="72" y="70"/>
                </a:cxn>
                <a:cxn ang="0">
                  <a:pos x="79" y="59"/>
                </a:cxn>
                <a:cxn ang="0">
                  <a:pos x="77" y="64"/>
                </a:cxn>
                <a:cxn ang="0">
                  <a:pos x="79" y="66"/>
                </a:cxn>
                <a:cxn ang="0">
                  <a:pos x="92" y="60"/>
                </a:cxn>
                <a:cxn ang="0">
                  <a:pos x="116" y="25"/>
                </a:cxn>
                <a:cxn ang="0">
                  <a:pos x="114" y="19"/>
                </a:cxn>
                <a:cxn ang="0">
                  <a:pos x="125" y="3"/>
                </a:cxn>
                <a:cxn ang="0">
                  <a:pos x="130" y="4"/>
                </a:cxn>
                <a:cxn ang="0">
                  <a:pos x="129" y="4"/>
                </a:cxn>
                <a:cxn ang="0">
                  <a:pos x="128" y="0"/>
                </a:cxn>
                <a:cxn ang="0">
                  <a:pos x="133" y="2"/>
                </a:cxn>
                <a:cxn ang="0">
                  <a:pos x="134" y="11"/>
                </a:cxn>
                <a:cxn ang="0">
                  <a:pos x="140" y="26"/>
                </a:cxn>
                <a:cxn ang="0">
                  <a:pos x="134" y="40"/>
                </a:cxn>
                <a:cxn ang="0">
                  <a:pos x="134" y="43"/>
                </a:cxn>
                <a:cxn ang="0">
                  <a:pos x="130" y="44"/>
                </a:cxn>
                <a:cxn ang="0">
                  <a:pos x="127" y="63"/>
                </a:cxn>
                <a:cxn ang="0">
                  <a:pos x="122" y="76"/>
                </a:cxn>
                <a:cxn ang="0">
                  <a:pos x="125" y="84"/>
                </a:cxn>
                <a:cxn ang="0">
                  <a:pos x="114" y="93"/>
                </a:cxn>
                <a:cxn ang="0">
                  <a:pos x="114" y="86"/>
                </a:cxn>
                <a:cxn ang="0">
                  <a:pos x="102" y="96"/>
                </a:cxn>
                <a:cxn ang="0">
                  <a:pos x="100" y="94"/>
                </a:cxn>
                <a:cxn ang="0">
                  <a:pos x="96" y="94"/>
                </a:cxn>
                <a:cxn ang="0">
                  <a:pos x="87" y="100"/>
                </a:cxn>
                <a:cxn ang="0">
                  <a:pos x="74" y="92"/>
                </a:cxn>
                <a:cxn ang="0">
                  <a:pos x="72" y="96"/>
                </a:cxn>
                <a:cxn ang="0">
                  <a:pos x="76" y="103"/>
                </a:cxn>
                <a:cxn ang="0">
                  <a:pos x="72" y="103"/>
                </a:cxn>
                <a:cxn ang="0">
                  <a:pos x="61" y="115"/>
                </a:cxn>
                <a:cxn ang="0">
                  <a:pos x="55" y="110"/>
                </a:cxn>
              </a:cxnLst>
              <a:rect l="0" t="0" r="r" b="b"/>
              <a:pathLst>
                <a:path w="140" h="115">
                  <a:moveTo>
                    <a:pt x="55" y="110"/>
                  </a:moveTo>
                  <a:cubicBezTo>
                    <a:pt x="53" y="110"/>
                    <a:pt x="55" y="108"/>
                    <a:pt x="55" y="107"/>
                  </a:cubicBezTo>
                  <a:cubicBezTo>
                    <a:pt x="55" y="104"/>
                    <a:pt x="56" y="101"/>
                    <a:pt x="56" y="99"/>
                  </a:cubicBezTo>
                  <a:cubicBezTo>
                    <a:pt x="51" y="98"/>
                    <a:pt x="48" y="95"/>
                    <a:pt x="43" y="95"/>
                  </a:cubicBezTo>
                  <a:cubicBezTo>
                    <a:pt x="40" y="95"/>
                    <a:pt x="40" y="98"/>
                    <a:pt x="39" y="99"/>
                  </a:cubicBezTo>
                  <a:cubicBezTo>
                    <a:pt x="35" y="100"/>
                    <a:pt x="32" y="98"/>
                    <a:pt x="29" y="100"/>
                  </a:cubicBezTo>
                  <a:cubicBezTo>
                    <a:pt x="23" y="103"/>
                    <a:pt x="15" y="106"/>
                    <a:pt x="6" y="106"/>
                  </a:cubicBezTo>
                  <a:cubicBezTo>
                    <a:pt x="3" y="106"/>
                    <a:pt x="0" y="106"/>
                    <a:pt x="0" y="104"/>
                  </a:cubicBezTo>
                  <a:cubicBezTo>
                    <a:pt x="0" y="103"/>
                    <a:pt x="4" y="102"/>
                    <a:pt x="5" y="101"/>
                  </a:cubicBezTo>
                  <a:cubicBezTo>
                    <a:pt x="15" y="95"/>
                    <a:pt x="19" y="84"/>
                    <a:pt x="30" y="84"/>
                  </a:cubicBezTo>
                  <a:cubicBezTo>
                    <a:pt x="43" y="84"/>
                    <a:pt x="47" y="84"/>
                    <a:pt x="57" y="84"/>
                  </a:cubicBezTo>
                  <a:cubicBezTo>
                    <a:pt x="65" y="84"/>
                    <a:pt x="68" y="70"/>
                    <a:pt x="72" y="70"/>
                  </a:cubicBezTo>
                  <a:cubicBezTo>
                    <a:pt x="72" y="70"/>
                    <a:pt x="78" y="60"/>
                    <a:pt x="79" y="59"/>
                  </a:cubicBezTo>
                  <a:cubicBezTo>
                    <a:pt x="78" y="61"/>
                    <a:pt x="77" y="62"/>
                    <a:pt x="77" y="64"/>
                  </a:cubicBezTo>
                  <a:cubicBezTo>
                    <a:pt x="77" y="65"/>
                    <a:pt x="78" y="66"/>
                    <a:pt x="79" y="66"/>
                  </a:cubicBezTo>
                  <a:cubicBezTo>
                    <a:pt x="86" y="66"/>
                    <a:pt x="87" y="62"/>
                    <a:pt x="92" y="60"/>
                  </a:cubicBezTo>
                  <a:cubicBezTo>
                    <a:pt x="101" y="57"/>
                    <a:pt x="116" y="39"/>
                    <a:pt x="116" y="25"/>
                  </a:cubicBezTo>
                  <a:cubicBezTo>
                    <a:pt x="116" y="22"/>
                    <a:pt x="114" y="22"/>
                    <a:pt x="114" y="19"/>
                  </a:cubicBezTo>
                  <a:cubicBezTo>
                    <a:pt x="114" y="14"/>
                    <a:pt x="119" y="3"/>
                    <a:pt x="125" y="3"/>
                  </a:cubicBezTo>
                  <a:cubicBezTo>
                    <a:pt x="125" y="3"/>
                    <a:pt x="125" y="9"/>
                    <a:pt x="130" y="4"/>
                  </a:cubicBezTo>
                  <a:cubicBezTo>
                    <a:pt x="130" y="4"/>
                    <a:pt x="129" y="4"/>
                    <a:pt x="129" y="4"/>
                  </a:cubicBezTo>
                  <a:cubicBezTo>
                    <a:pt x="128" y="4"/>
                    <a:pt x="127" y="0"/>
                    <a:pt x="128" y="0"/>
                  </a:cubicBezTo>
                  <a:cubicBezTo>
                    <a:pt x="131" y="0"/>
                    <a:pt x="133" y="1"/>
                    <a:pt x="133" y="2"/>
                  </a:cubicBezTo>
                  <a:cubicBezTo>
                    <a:pt x="135" y="5"/>
                    <a:pt x="134" y="8"/>
                    <a:pt x="134" y="11"/>
                  </a:cubicBezTo>
                  <a:cubicBezTo>
                    <a:pt x="134" y="17"/>
                    <a:pt x="140" y="20"/>
                    <a:pt x="140" y="26"/>
                  </a:cubicBezTo>
                  <a:cubicBezTo>
                    <a:pt x="140" y="33"/>
                    <a:pt x="134" y="34"/>
                    <a:pt x="134" y="40"/>
                  </a:cubicBezTo>
                  <a:cubicBezTo>
                    <a:pt x="134" y="41"/>
                    <a:pt x="134" y="42"/>
                    <a:pt x="134" y="43"/>
                  </a:cubicBezTo>
                  <a:cubicBezTo>
                    <a:pt x="133" y="44"/>
                    <a:pt x="132" y="43"/>
                    <a:pt x="130" y="44"/>
                  </a:cubicBezTo>
                  <a:cubicBezTo>
                    <a:pt x="126" y="45"/>
                    <a:pt x="127" y="59"/>
                    <a:pt x="127" y="63"/>
                  </a:cubicBezTo>
                  <a:cubicBezTo>
                    <a:pt x="127" y="67"/>
                    <a:pt x="122" y="70"/>
                    <a:pt x="122" y="76"/>
                  </a:cubicBezTo>
                  <a:cubicBezTo>
                    <a:pt x="122" y="80"/>
                    <a:pt x="124" y="81"/>
                    <a:pt x="125" y="84"/>
                  </a:cubicBezTo>
                  <a:cubicBezTo>
                    <a:pt x="119" y="87"/>
                    <a:pt x="119" y="91"/>
                    <a:pt x="114" y="93"/>
                  </a:cubicBezTo>
                  <a:cubicBezTo>
                    <a:pt x="112" y="89"/>
                    <a:pt x="114" y="89"/>
                    <a:pt x="114" y="86"/>
                  </a:cubicBezTo>
                  <a:cubicBezTo>
                    <a:pt x="108" y="90"/>
                    <a:pt x="104" y="90"/>
                    <a:pt x="102" y="96"/>
                  </a:cubicBezTo>
                  <a:cubicBezTo>
                    <a:pt x="102" y="96"/>
                    <a:pt x="100" y="95"/>
                    <a:pt x="100" y="94"/>
                  </a:cubicBezTo>
                  <a:cubicBezTo>
                    <a:pt x="96" y="94"/>
                    <a:pt x="96" y="94"/>
                    <a:pt x="96" y="94"/>
                  </a:cubicBezTo>
                  <a:cubicBezTo>
                    <a:pt x="93" y="97"/>
                    <a:pt x="91" y="100"/>
                    <a:pt x="87" y="100"/>
                  </a:cubicBezTo>
                  <a:cubicBezTo>
                    <a:pt x="78" y="100"/>
                    <a:pt x="78" y="92"/>
                    <a:pt x="74" y="92"/>
                  </a:cubicBezTo>
                  <a:cubicBezTo>
                    <a:pt x="73" y="92"/>
                    <a:pt x="72" y="94"/>
                    <a:pt x="72" y="96"/>
                  </a:cubicBezTo>
                  <a:cubicBezTo>
                    <a:pt x="72" y="97"/>
                    <a:pt x="76" y="103"/>
                    <a:pt x="76" y="103"/>
                  </a:cubicBezTo>
                  <a:cubicBezTo>
                    <a:pt x="75" y="103"/>
                    <a:pt x="73" y="103"/>
                    <a:pt x="72" y="103"/>
                  </a:cubicBezTo>
                  <a:cubicBezTo>
                    <a:pt x="68" y="103"/>
                    <a:pt x="63" y="110"/>
                    <a:pt x="61" y="115"/>
                  </a:cubicBezTo>
                  <a:cubicBezTo>
                    <a:pt x="57" y="114"/>
                    <a:pt x="58" y="110"/>
                    <a:pt x="55" y="11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1" name="Freeform 140"/>
            <p:cNvSpPr/>
            <p:nvPr/>
          </p:nvSpPr>
          <p:spPr bwMode="auto">
            <a:xfrm>
              <a:off x="6721475" y="2054225"/>
              <a:ext cx="96838" cy="80963"/>
            </a:xfrm>
            <a:custGeom>
              <a:avLst/>
              <a:gdLst/>
              <a:ahLst/>
              <a:cxnLst>
                <a:cxn ang="0">
                  <a:pos x="11" y="33"/>
                </a:cxn>
                <a:cxn ang="0">
                  <a:pos x="15" y="33"/>
                </a:cxn>
                <a:cxn ang="0">
                  <a:pos x="26" y="10"/>
                </a:cxn>
                <a:cxn ang="0">
                  <a:pos x="23" y="6"/>
                </a:cxn>
                <a:cxn ang="0">
                  <a:pos x="26" y="0"/>
                </a:cxn>
                <a:cxn ang="0">
                  <a:pos x="60" y="22"/>
                </a:cxn>
                <a:cxn ang="0">
                  <a:pos x="70" y="21"/>
                </a:cxn>
                <a:cxn ang="0">
                  <a:pos x="67" y="26"/>
                </a:cxn>
                <a:cxn ang="0">
                  <a:pos x="72" y="32"/>
                </a:cxn>
                <a:cxn ang="0">
                  <a:pos x="59" y="36"/>
                </a:cxn>
                <a:cxn ang="0">
                  <a:pos x="43" y="51"/>
                </a:cxn>
                <a:cxn ang="0">
                  <a:pos x="24" y="41"/>
                </a:cxn>
                <a:cxn ang="0">
                  <a:pos x="21" y="45"/>
                </a:cxn>
                <a:cxn ang="0">
                  <a:pos x="8" y="48"/>
                </a:cxn>
                <a:cxn ang="0">
                  <a:pos x="16" y="54"/>
                </a:cxn>
                <a:cxn ang="0">
                  <a:pos x="5" y="61"/>
                </a:cxn>
                <a:cxn ang="0">
                  <a:pos x="3" y="61"/>
                </a:cxn>
                <a:cxn ang="0">
                  <a:pos x="3" y="51"/>
                </a:cxn>
                <a:cxn ang="0">
                  <a:pos x="0" y="46"/>
                </a:cxn>
                <a:cxn ang="0">
                  <a:pos x="8" y="35"/>
                </a:cxn>
                <a:cxn ang="0">
                  <a:pos x="8" y="32"/>
                </a:cxn>
                <a:cxn ang="0">
                  <a:pos x="12" y="34"/>
                </a:cxn>
                <a:cxn ang="0">
                  <a:pos x="11" y="33"/>
                </a:cxn>
              </a:cxnLst>
              <a:rect l="0" t="0" r="r" b="b"/>
              <a:pathLst>
                <a:path w="72" h="61">
                  <a:moveTo>
                    <a:pt x="11" y="33"/>
                  </a:moveTo>
                  <a:cubicBezTo>
                    <a:pt x="12" y="33"/>
                    <a:pt x="14" y="33"/>
                    <a:pt x="15" y="33"/>
                  </a:cubicBezTo>
                  <a:cubicBezTo>
                    <a:pt x="23" y="33"/>
                    <a:pt x="26" y="16"/>
                    <a:pt x="26" y="10"/>
                  </a:cubicBezTo>
                  <a:cubicBezTo>
                    <a:pt x="26" y="8"/>
                    <a:pt x="23" y="7"/>
                    <a:pt x="23" y="6"/>
                  </a:cubicBezTo>
                  <a:cubicBezTo>
                    <a:pt x="23" y="2"/>
                    <a:pt x="25" y="1"/>
                    <a:pt x="26" y="0"/>
                  </a:cubicBezTo>
                  <a:cubicBezTo>
                    <a:pt x="38" y="8"/>
                    <a:pt x="43" y="22"/>
                    <a:pt x="60" y="22"/>
                  </a:cubicBezTo>
                  <a:cubicBezTo>
                    <a:pt x="64" y="22"/>
                    <a:pt x="67" y="19"/>
                    <a:pt x="70" y="21"/>
                  </a:cubicBezTo>
                  <a:cubicBezTo>
                    <a:pt x="69" y="23"/>
                    <a:pt x="67" y="24"/>
                    <a:pt x="67" y="26"/>
                  </a:cubicBezTo>
                  <a:cubicBezTo>
                    <a:pt x="67" y="29"/>
                    <a:pt x="71" y="32"/>
                    <a:pt x="72" y="32"/>
                  </a:cubicBezTo>
                  <a:cubicBezTo>
                    <a:pt x="68" y="35"/>
                    <a:pt x="65" y="36"/>
                    <a:pt x="59" y="36"/>
                  </a:cubicBezTo>
                  <a:cubicBezTo>
                    <a:pt x="49" y="36"/>
                    <a:pt x="46" y="46"/>
                    <a:pt x="43" y="51"/>
                  </a:cubicBezTo>
                  <a:cubicBezTo>
                    <a:pt x="36" y="47"/>
                    <a:pt x="31" y="46"/>
                    <a:pt x="24" y="41"/>
                  </a:cubicBezTo>
                  <a:cubicBezTo>
                    <a:pt x="23" y="42"/>
                    <a:pt x="21" y="43"/>
                    <a:pt x="21" y="45"/>
                  </a:cubicBezTo>
                  <a:cubicBezTo>
                    <a:pt x="15" y="45"/>
                    <a:pt x="8" y="40"/>
                    <a:pt x="8" y="48"/>
                  </a:cubicBezTo>
                  <a:cubicBezTo>
                    <a:pt x="8" y="52"/>
                    <a:pt x="14" y="52"/>
                    <a:pt x="16" y="54"/>
                  </a:cubicBezTo>
                  <a:cubicBezTo>
                    <a:pt x="12" y="59"/>
                    <a:pt x="9" y="57"/>
                    <a:pt x="5" y="61"/>
                  </a:cubicBezTo>
                  <a:cubicBezTo>
                    <a:pt x="3" y="61"/>
                    <a:pt x="3" y="61"/>
                    <a:pt x="3" y="61"/>
                  </a:cubicBezTo>
                  <a:cubicBezTo>
                    <a:pt x="3" y="58"/>
                    <a:pt x="3" y="51"/>
                    <a:pt x="3" y="51"/>
                  </a:cubicBezTo>
                  <a:cubicBezTo>
                    <a:pt x="3" y="49"/>
                    <a:pt x="0" y="48"/>
                    <a:pt x="0" y="46"/>
                  </a:cubicBezTo>
                  <a:cubicBezTo>
                    <a:pt x="0" y="41"/>
                    <a:pt x="8" y="38"/>
                    <a:pt x="8" y="35"/>
                  </a:cubicBezTo>
                  <a:cubicBezTo>
                    <a:pt x="8" y="32"/>
                    <a:pt x="8" y="32"/>
                    <a:pt x="8" y="32"/>
                  </a:cubicBezTo>
                  <a:cubicBezTo>
                    <a:pt x="9" y="32"/>
                    <a:pt x="10" y="33"/>
                    <a:pt x="12" y="34"/>
                  </a:cubicBezTo>
                  <a:lnTo>
                    <a:pt x="11" y="33"/>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2" name="Freeform 141"/>
            <p:cNvSpPr/>
            <p:nvPr/>
          </p:nvSpPr>
          <p:spPr bwMode="auto">
            <a:xfrm>
              <a:off x="6816725" y="2073275"/>
              <a:ext cx="15875" cy="14288"/>
            </a:xfrm>
            <a:custGeom>
              <a:avLst/>
              <a:gdLst/>
              <a:ahLst/>
              <a:cxnLst>
                <a:cxn ang="0">
                  <a:pos x="10" y="0"/>
                </a:cxn>
                <a:cxn ang="0">
                  <a:pos x="12" y="2"/>
                </a:cxn>
                <a:cxn ang="0">
                  <a:pos x="1" y="11"/>
                </a:cxn>
                <a:cxn ang="0">
                  <a:pos x="1" y="7"/>
                </a:cxn>
                <a:cxn ang="0">
                  <a:pos x="11" y="0"/>
                </a:cxn>
                <a:cxn ang="0">
                  <a:pos x="10" y="0"/>
                </a:cxn>
              </a:cxnLst>
              <a:rect l="0" t="0" r="r" b="b"/>
              <a:pathLst>
                <a:path w="12" h="11">
                  <a:moveTo>
                    <a:pt x="10" y="0"/>
                  </a:moveTo>
                  <a:cubicBezTo>
                    <a:pt x="12" y="2"/>
                    <a:pt x="12" y="2"/>
                    <a:pt x="12" y="2"/>
                  </a:cubicBezTo>
                  <a:cubicBezTo>
                    <a:pt x="10" y="4"/>
                    <a:pt x="5" y="11"/>
                    <a:pt x="1" y="11"/>
                  </a:cubicBezTo>
                  <a:cubicBezTo>
                    <a:pt x="0" y="11"/>
                    <a:pt x="0" y="8"/>
                    <a:pt x="1" y="7"/>
                  </a:cubicBezTo>
                  <a:cubicBezTo>
                    <a:pt x="3" y="4"/>
                    <a:pt x="8" y="0"/>
                    <a:pt x="11" y="0"/>
                  </a:cubicBezTo>
                  <a:lnTo>
                    <a:pt x="10" y="0"/>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3" name="Freeform 142"/>
            <p:cNvSpPr/>
            <p:nvPr/>
          </p:nvSpPr>
          <p:spPr bwMode="auto">
            <a:xfrm>
              <a:off x="6848475" y="2052638"/>
              <a:ext cx="22225" cy="15875"/>
            </a:xfrm>
            <a:custGeom>
              <a:avLst/>
              <a:gdLst/>
              <a:ahLst/>
              <a:cxnLst>
                <a:cxn ang="0">
                  <a:pos x="17" y="3"/>
                </a:cxn>
                <a:cxn ang="0">
                  <a:pos x="1" y="12"/>
                </a:cxn>
                <a:cxn ang="0">
                  <a:pos x="1" y="10"/>
                </a:cxn>
                <a:cxn ang="0">
                  <a:pos x="10" y="0"/>
                </a:cxn>
                <a:cxn ang="0">
                  <a:pos x="17" y="0"/>
                </a:cxn>
                <a:cxn ang="0">
                  <a:pos x="17" y="3"/>
                </a:cxn>
              </a:cxnLst>
              <a:rect l="0" t="0" r="r" b="b"/>
              <a:pathLst>
                <a:path w="17" h="12">
                  <a:moveTo>
                    <a:pt x="17" y="3"/>
                  </a:moveTo>
                  <a:cubicBezTo>
                    <a:pt x="7" y="3"/>
                    <a:pt x="7" y="12"/>
                    <a:pt x="1" y="12"/>
                  </a:cubicBezTo>
                  <a:cubicBezTo>
                    <a:pt x="0" y="12"/>
                    <a:pt x="1" y="10"/>
                    <a:pt x="1" y="10"/>
                  </a:cubicBezTo>
                  <a:cubicBezTo>
                    <a:pt x="1" y="10"/>
                    <a:pt x="5" y="0"/>
                    <a:pt x="10" y="0"/>
                  </a:cubicBezTo>
                  <a:cubicBezTo>
                    <a:pt x="13" y="0"/>
                    <a:pt x="15" y="0"/>
                    <a:pt x="17" y="0"/>
                  </a:cubicBezTo>
                  <a:lnTo>
                    <a:pt x="17" y="3"/>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4" name="Freeform 143"/>
            <p:cNvSpPr/>
            <p:nvPr/>
          </p:nvSpPr>
          <p:spPr bwMode="auto">
            <a:xfrm>
              <a:off x="6888163" y="2035175"/>
              <a:ext cx="12700" cy="11113"/>
            </a:xfrm>
            <a:custGeom>
              <a:avLst/>
              <a:gdLst/>
              <a:ahLst/>
              <a:cxnLst>
                <a:cxn ang="0">
                  <a:pos x="1" y="6"/>
                </a:cxn>
                <a:cxn ang="0">
                  <a:pos x="2" y="3"/>
                </a:cxn>
                <a:cxn ang="0">
                  <a:pos x="9" y="0"/>
                </a:cxn>
                <a:cxn ang="0">
                  <a:pos x="1" y="9"/>
                </a:cxn>
                <a:cxn ang="0">
                  <a:pos x="1" y="6"/>
                </a:cxn>
              </a:cxnLst>
              <a:rect l="0" t="0" r="r" b="b"/>
              <a:pathLst>
                <a:path w="9" h="9">
                  <a:moveTo>
                    <a:pt x="1" y="6"/>
                  </a:moveTo>
                  <a:cubicBezTo>
                    <a:pt x="3" y="6"/>
                    <a:pt x="1" y="4"/>
                    <a:pt x="2" y="3"/>
                  </a:cubicBezTo>
                  <a:cubicBezTo>
                    <a:pt x="3" y="0"/>
                    <a:pt x="8" y="0"/>
                    <a:pt x="9" y="0"/>
                  </a:cubicBezTo>
                  <a:cubicBezTo>
                    <a:pt x="8" y="3"/>
                    <a:pt x="5" y="9"/>
                    <a:pt x="1" y="9"/>
                  </a:cubicBezTo>
                  <a:cubicBezTo>
                    <a:pt x="0" y="9"/>
                    <a:pt x="0" y="6"/>
                    <a:pt x="1" y="6"/>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5" name="Freeform 144"/>
            <p:cNvSpPr/>
            <p:nvPr/>
          </p:nvSpPr>
          <p:spPr bwMode="auto">
            <a:xfrm>
              <a:off x="6753225" y="1855788"/>
              <a:ext cx="47625" cy="184150"/>
            </a:xfrm>
            <a:custGeom>
              <a:avLst/>
              <a:gdLst/>
              <a:ahLst/>
              <a:cxnLst>
                <a:cxn ang="0">
                  <a:pos x="26" y="84"/>
                </a:cxn>
                <a:cxn ang="0">
                  <a:pos x="13" y="109"/>
                </a:cxn>
                <a:cxn ang="0">
                  <a:pos x="26" y="132"/>
                </a:cxn>
                <a:cxn ang="0">
                  <a:pos x="25" y="132"/>
                </a:cxn>
                <a:cxn ang="0">
                  <a:pos x="20" y="128"/>
                </a:cxn>
                <a:cxn ang="0">
                  <a:pos x="16" y="128"/>
                </a:cxn>
                <a:cxn ang="0">
                  <a:pos x="5" y="138"/>
                </a:cxn>
                <a:cxn ang="0">
                  <a:pos x="5" y="125"/>
                </a:cxn>
                <a:cxn ang="0">
                  <a:pos x="7" y="105"/>
                </a:cxn>
                <a:cxn ang="0">
                  <a:pos x="4" y="93"/>
                </a:cxn>
                <a:cxn ang="0">
                  <a:pos x="7" y="79"/>
                </a:cxn>
                <a:cxn ang="0">
                  <a:pos x="7" y="53"/>
                </a:cxn>
                <a:cxn ang="0">
                  <a:pos x="0" y="37"/>
                </a:cxn>
                <a:cxn ang="0">
                  <a:pos x="9" y="15"/>
                </a:cxn>
                <a:cxn ang="0">
                  <a:pos x="11" y="9"/>
                </a:cxn>
                <a:cxn ang="0">
                  <a:pos x="11" y="0"/>
                </a:cxn>
                <a:cxn ang="0">
                  <a:pos x="14" y="0"/>
                </a:cxn>
                <a:cxn ang="0">
                  <a:pos x="19" y="20"/>
                </a:cxn>
                <a:cxn ang="0">
                  <a:pos x="21" y="37"/>
                </a:cxn>
                <a:cxn ang="0">
                  <a:pos x="21" y="47"/>
                </a:cxn>
                <a:cxn ang="0">
                  <a:pos x="24" y="59"/>
                </a:cxn>
                <a:cxn ang="0">
                  <a:pos x="36" y="90"/>
                </a:cxn>
                <a:cxn ang="0">
                  <a:pos x="26" y="84"/>
                </a:cxn>
              </a:cxnLst>
              <a:rect l="0" t="0" r="r" b="b"/>
              <a:pathLst>
                <a:path w="36" h="138">
                  <a:moveTo>
                    <a:pt x="26" y="84"/>
                  </a:moveTo>
                  <a:cubicBezTo>
                    <a:pt x="15" y="84"/>
                    <a:pt x="13" y="98"/>
                    <a:pt x="13" y="109"/>
                  </a:cubicBezTo>
                  <a:cubicBezTo>
                    <a:pt x="13" y="120"/>
                    <a:pt x="22" y="124"/>
                    <a:pt x="26" y="132"/>
                  </a:cubicBezTo>
                  <a:cubicBezTo>
                    <a:pt x="26" y="132"/>
                    <a:pt x="25" y="132"/>
                    <a:pt x="25" y="132"/>
                  </a:cubicBezTo>
                  <a:cubicBezTo>
                    <a:pt x="23" y="133"/>
                    <a:pt x="21" y="130"/>
                    <a:pt x="20" y="128"/>
                  </a:cubicBezTo>
                  <a:cubicBezTo>
                    <a:pt x="19" y="128"/>
                    <a:pt x="17" y="128"/>
                    <a:pt x="16" y="128"/>
                  </a:cubicBezTo>
                  <a:cubicBezTo>
                    <a:pt x="11" y="128"/>
                    <a:pt x="11" y="138"/>
                    <a:pt x="5" y="138"/>
                  </a:cubicBezTo>
                  <a:cubicBezTo>
                    <a:pt x="4" y="138"/>
                    <a:pt x="5" y="127"/>
                    <a:pt x="5" y="125"/>
                  </a:cubicBezTo>
                  <a:cubicBezTo>
                    <a:pt x="5" y="117"/>
                    <a:pt x="7" y="112"/>
                    <a:pt x="7" y="105"/>
                  </a:cubicBezTo>
                  <a:cubicBezTo>
                    <a:pt x="7" y="99"/>
                    <a:pt x="4" y="98"/>
                    <a:pt x="4" y="93"/>
                  </a:cubicBezTo>
                  <a:cubicBezTo>
                    <a:pt x="4" y="86"/>
                    <a:pt x="7" y="84"/>
                    <a:pt x="7" y="79"/>
                  </a:cubicBezTo>
                  <a:cubicBezTo>
                    <a:pt x="7" y="68"/>
                    <a:pt x="7" y="64"/>
                    <a:pt x="7" y="53"/>
                  </a:cubicBezTo>
                  <a:cubicBezTo>
                    <a:pt x="7" y="46"/>
                    <a:pt x="0" y="44"/>
                    <a:pt x="0" y="37"/>
                  </a:cubicBezTo>
                  <a:cubicBezTo>
                    <a:pt x="0" y="28"/>
                    <a:pt x="3" y="16"/>
                    <a:pt x="9" y="15"/>
                  </a:cubicBezTo>
                  <a:cubicBezTo>
                    <a:pt x="9" y="12"/>
                    <a:pt x="11" y="11"/>
                    <a:pt x="11" y="9"/>
                  </a:cubicBezTo>
                  <a:cubicBezTo>
                    <a:pt x="11" y="4"/>
                    <a:pt x="11" y="3"/>
                    <a:pt x="11" y="0"/>
                  </a:cubicBezTo>
                  <a:cubicBezTo>
                    <a:pt x="12" y="0"/>
                    <a:pt x="13" y="0"/>
                    <a:pt x="14" y="0"/>
                  </a:cubicBezTo>
                  <a:cubicBezTo>
                    <a:pt x="14" y="8"/>
                    <a:pt x="18" y="14"/>
                    <a:pt x="19" y="20"/>
                  </a:cubicBezTo>
                  <a:cubicBezTo>
                    <a:pt x="21" y="26"/>
                    <a:pt x="18" y="30"/>
                    <a:pt x="21" y="37"/>
                  </a:cubicBezTo>
                  <a:cubicBezTo>
                    <a:pt x="21" y="47"/>
                    <a:pt x="21" y="47"/>
                    <a:pt x="21" y="47"/>
                  </a:cubicBezTo>
                  <a:cubicBezTo>
                    <a:pt x="20" y="52"/>
                    <a:pt x="23" y="57"/>
                    <a:pt x="24" y="59"/>
                  </a:cubicBezTo>
                  <a:cubicBezTo>
                    <a:pt x="27" y="70"/>
                    <a:pt x="33" y="79"/>
                    <a:pt x="36" y="90"/>
                  </a:cubicBezTo>
                  <a:cubicBezTo>
                    <a:pt x="34" y="86"/>
                    <a:pt x="30" y="84"/>
                    <a:pt x="26" y="8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6" name="Freeform 145"/>
            <p:cNvSpPr/>
            <p:nvPr/>
          </p:nvSpPr>
          <p:spPr bwMode="auto">
            <a:xfrm>
              <a:off x="5241925" y="1219200"/>
              <a:ext cx="292100" cy="214313"/>
            </a:xfrm>
            <a:custGeom>
              <a:avLst/>
              <a:gdLst/>
              <a:ahLst/>
              <a:cxnLst>
                <a:cxn ang="0">
                  <a:pos x="76" y="161"/>
                </a:cxn>
                <a:cxn ang="0">
                  <a:pos x="50" y="131"/>
                </a:cxn>
                <a:cxn ang="0">
                  <a:pos x="103" y="67"/>
                </a:cxn>
                <a:cxn ang="0">
                  <a:pos x="125" y="55"/>
                </a:cxn>
                <a:cxn ang="0">
                  <a:pos x="134" y="45"/>
                </a:cxn>
                <a:cxn ang="0">
                  <a:pos x="175" y="34"/>
                </a:cxn>
                <a:cxn ang="0">
                  <a:pos x="220" y="11"/>
                </a:cxn>
                <a:cxn ang="0">
                  <a:pos x="203" y="0"/>
                </a:cxn>
                <a:cxn ang="0">
                  <a:pos x="136" y="25"/>
                </a:cxn>
                <a:cxn ang="0">
                  <a:pos x="123" y="19"/>
                </a:cxn>
                <a:cxn ang="0">
                  <a:pos x="109" y="25"/>
                </a:cxn>
                <a:cxn ang="0">
                  <a:pos x="69" y="46"/>
                </a:cxn>
                <a:cxn ang="0">
                  <a:pos x="52" y="49"/>
                </a:cxn>
                <a:cxn ang="0">
                  <a:pos x="47" y="53"/>
                </a:cxn>
                <a:cxn ang="0">
                  <a:pos x="50" y="61"/>
                </a:cxn>
                <a:cxn ang="0">
                  <a:pos x="27" y="88"/>
                </a:cxn>
                <a:cxn ang="0">
                  <a:pos x="34" y="98"/>
                </a:cxn>
                <a:cxn ang="0">
                  <a:pos x="13" y="110"/>
                </a:cxn>
                <a:cxn ang="0">
                  <a:pos x="13" y="117"/>
                </a:cxn>
                <a:cxn ang="0">
                  <a:pos x="0" y="134"/>
                </a:cxn>
                <a:cxn ang="0">
                  <a:pos x="8" y="143"/>
                </a:cxn>
                <a:cxn ang="0">
                  <a:pos x="21" y="143"/>
                </a:cxn>
                <a:cxn ang="0">
                  <a:pos x="27" y="158"/>
                </a:cxn>
                <a:cxn ang="0">
                  <a:pos x="39" y="158"/>
                </a:cxn>
                <a:cxn ang="0">
                  <a:pos x="42" y="161"/>
                </a:cxn>
                <a:cxn ang="0">
                  <a:pos x="76" y="161"/>
                </a:cxn>
                <a:cxn ang="0">
                  <a:pos x="72" y="156"/>
                </a:cxn>
                <a:cxn ang="0">
                  <a:pos x="76" y="161"/>
                </a:cxn>
              </a:cxnLst>
              <a:rect l="0" t="0" r="r" b="b"/>
              <a:pathLst>
                <a:path w="220" h="161">
                  <a:moveTo>
                    <a:pt x="76" y="161"/>
                  </a:moveTo>
                  <a:cubicBezTo>
                    <a:pt x="66" y="151"/>
                    <a:pt x="50" y="147"/>
                    <a:pt x="50" y="131"/>
                  </a:cubicBezTo>
                  <a:cubicBezTo>
                    <a:pt x="50" y="102"/>
                    <a:pt x="81" y="73"/>
                    <a:pt x="103" y="67"/>
                  </a:cubicBezTo>
                  <a:cubicBezTo>
                    <a:pt x="111" y="64"/>
                    <a:pt x="113" y="55"/>
                    <a:pt x="125" y="55"/>
                  </a:cubicBezTo>
                  <a:cubicBezTo>
                    <a:pt x="130" y="55"/>
                    <a:pt x="132" y="46"/>
                    <a:pt x="134" y="45"/>
                  </a:cubicBezTo>
                  <a:cubicBezTo>
                    <a:pt x="149" y="38"/>
                    <a:pt x="160" y="41"/>
                    <a:pt x="175" y="34"/>
                  </a:cubicBezTo>
                  <a:cubicBezTo>
                    <a:pt x="186" y="28"/>
                    <a:pt x="220" y="26"/>
                    <a:pt x="220" y="11"/>
                  </a:cubicBezTo>
                  <a:cubicBezTo>
                    <a:pt x="220" y="6"/>
                    <a:pt x="208" y="0"/>
                    <a:pt x="203" y="0"/>
                  </a:cubicBezTo>
                  <a:cubicBezTo>
                    <a:pt x="181" y="0"/>
                    <a:pt x="160" y="25"/>
                    <a:pt x="136" y="25"/>
                  </a:cubicBezTo>
                  <a:cubicBezTo>
                    <a:pt x="131" y="25"/>
                    <a:pt x="128" y="19"/>
                    <a:pt x="123" y="19"/>
                  </a:cubicBezTo>
                  <a:cubicBezTo>
                    <a:pt x="115" y="19"/>
                    <a:pt x="115" y="25"/>
                    <a:pt x="109" y="25"/>
                  </a:cubicBezTo>
                  <a:cubicBezTo>
                    <a:pt x="93" y="25"/>
                    <a:pt x="80" y="46"/>
                    <a:pt x="69" y="46"/>
                  </a:cubicBezTo>
                  <a:cubicBezTo>
                    <a:pt x="63" y="46"/>
                    <a:pt x="58" y="49"/>
                    <a:pt x="52" y="49"/>
                  </a:cubicBezTo>
                  <a:cubicBezTo>
                    <a:pt x="49" y="49"/>
                    <a:pt x="47" y="52"/>
                    <a:pt x="47" y="53"/>
                  </a:cubicBezTo>
                  <a:cubicBezTo>
                    <a:pt x="47" y="56"/>
                    <a:pt x="50" y="58"/>
                    <a:pt x="50" y="61"/>
                  </a:cubicBezTo>
                  <a:cubicBezTo>
                    <a:pt x="50" y="74"/>
                    <a:pt x="27" y="80"/>
                    <a:pt x="27" y="88"/>
                  </a:cubicBezTo>
                  <a:cubicBezTo>
                    <a:pt x="27" y="91"/>
                    <a:pt x="34" y="92"/>
                    <a:pt x="34" y="98"/>
                  </a:cubicBezTo>
                  <a:cubicBezTo>
                    <a:pt x="27" y="99"/>
                    <a:pt x="13" y="102"/>
                    <a:pt x="13" y="110"/>
                  </a:cubicBezTo>
                  <a:cubicBezTo>
                    <a:pt x="13" y="115"/>
                    <a:pt x="13" y="117"/>
                    <a:pt x="13" y="117"/>
                  </a:cubicBezTo>
                  <a:cubicBezTo>
                    <a:pt x="13" y="124"/>
                    <a:pt x="0" y="124"/>
                    <a:pt x="0" y="134"/>
                  </a:cubicBezTo>
                  <a:cubicBezTo>
                    <a:pt x="0" y="139"/>
                    <a:pt x="8" y="143"/>
                    <a:pt x="8" y="143"/>
                  </a:cubicBezTo>
                  <a:cubicBezTo>
                    <a:pt x="8" y="143"/>
                    <a:pt x="20" y="143"/>
                    <a:pt x="21" y="143"/>
                  </a:cubicBezTo>
                  <a:cubicBezTo>
                    <a:pt x="28" y="145"/>
                    <a:pt x="24" y="152"/>
                    <a:pt x="27" y="158"/>
                  </a:cubicBezTo>
                  <a:cubicBezTo>
                    <a:pt x="28" y="161"/>
                    <a:pt x="35" y="158"/>
                    <a:pt x="39" y="158"/>
                  </a:cubicBezTo>
                  <a:cubicBezTo>
                    <a:pt x="40" y="158"/>
                    <a:pt x="41" y="161"/>
                    <a:pt x="42" y="161"/>
                  </a:cubicBezTo>
                  <a:cubicBezTo>
                    <a:pt x="76" y="161"/>
                    <a:pt x="76" y="161"/>
                    <a:pt x="76" y="161"/>
                  </a:cubicBezTo>
                  <a:cubicBezTo>
                    <a:pt x="75" y="159"/>
                    <a:pt x="73" y="157"/>
                    <a:pt x="72" y="156"/>
                  </a:cubicBezTo>
                  <a:lnTo>
                    <a:pt x="76" y="161"/>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7" name="Freeform 146"/>
            <p:cNvSpPr/>
            <p:nvPr/>
          </p:nvSpPr>
          <p:spPr bwMode="auto">
            <a:xfrm>
              <a:off x="4713288" y="1196975"/>
              <a:ext cx="2847975" cy="1058863"/>
            </a:xfrm>
            <a:custGeom>
              <a:avLst/>
              <a:gdLst/>
              <a:ahLst/>
              <a:cxnLst>
                <a:cxn ang="0">
                  <a:pos x="1515" y="585"/>
                </a:cxn>
                <a:cxn ang="0">
                  <a:pos x="1460" y="485"/>
                </a:cxn>
                <a:cxn ang="0">
                  <a:pos x="1665" y="408"/>
                </a:cxn>
                <a:cxn ang="0">
                  <a:pos x="1804" y="346"/>
                </a:cxn>
                <a:cxn ang="0">
                  <a:pos x="1709" y="465"/>
                </a:cxn>
                <a:cxn ang="0">
                  <a:pos x="1793" y="452"/>
                </a:cxn>
                <a:cxn ang="0">
                  <a:pos x="1989" y="313"/>
                </a:cxn>
                <a:cxn ang="0">
                  <a:pos x="2112" y="287"/>
                </a:cxn>
                <a:cxn ang="0">
                  <a:pos x="1892" y="194"/>
                </a:cxn>
                <a:cxn ang="0">
                  <a:pos x="1660" y="159"/>
                </a:cxn>
                <a:cxn ang="0">
                  <a:pos x="1435" y="157"/>
                </a:cxn>
                <a:cxn ang="0">
                  <a:pos x="1314" y="97"/>
                </a:cxn>
                <a:cxn ang="0">
                  <a:pos x="1102" y="104"/>
                </a:cxn>
                <a:cxn ang="0">
                  <a:pos x="1016" y="27"/>
                </a:cxn>
                <a:cxn ang="0">
                  <a:pos x="758" y="117"/>
                </a:cxn>
                <a:cxn ang="0">
                  <a:pos x="668" y="148"/>
                </a:cxn>
                <a:cxn ang="0">
                  <a:pos x="644" y="121"/>
                </a:cxn>
                <a:cxn ang="0">
                  <a:pos x="511" y="207"/>
                </a:cxn>
                <a:cxn ang="0">
                  <a:pos x="322" y="247"/>
                </a:cxn>
                <a:cxn ang="0">
                  <a:pos x="214" y="296"/>
                </a:cxn>
                <a:cxn ang="0">
                  <a:pos x="229" y="227"/>
                </a:cxn>
                <a:cxn ang="0">
                  <a:pos x="127" y="236"/>
                </a:cxn>
                <a:cxn ang="0">
                  <a:pos x="136" y="312"/>
                </a:cxn>
                <a:cxn ang="0">
                  <a:pos x="117" y="395"/>
                </a:cxn>
                <a:cxn ang="0">
                  <a:pos x="50" y="446"/>
                </a:cxn>
                <a:cxn ang="0">
                  <a:pos x="16" y="495"/>
                </a:cxn>
                <a:cxn ang="0">
                  <a:pos x="54" y="558"/>
                </a:cxn>
                <a:cxn ang="0">
                  <a:pos x="88" y="597"/>
                </a:cxn>
                <a:cxn ang="0">
                  <a:pos x="112" y="644"/>
                </a:cxn>
                <a:cxn ang="0">
                  <a:pos x="208" y="647"/>
                </a:cxn>
                <a:cxn ang="0">
                  <a:pos x="225" y="626"/>
                </a:cxn>
                <a:cxn ang="0">
                  <a:pos x="284" y="701"/>
                </a:cxn>
                <a:cxn ang="0">
                  <a:pos x="350" y="732"/>
                </a:cxn>
                <a:cxn ang="0">
                  <a:pos x="366" y="742"/>
                </a:cxn>
                <a:cxn ang="0">
                  <a:pos x="349" y="634"/>
                </a:cxn>
                <a:cxn ang="0">
                  <a:pos x="412" y="645"/>
                </a:cxn>
                <a:cxn ang="0">
                  <a:pos x="427" y="700"/>
                </a:cxn>
                <a:cxn ang="0">
                  <a:pos x="428" y="746"/>
                </a:cxn>
                <a:cxn ang="0">
                  <a:pos x="447" y="755"/>
                </a:cxn>
                <a:cxn ang="0">
                  <a:pos x="522" y="777"/>
                </a:cxn>
                <a:cxn ang="0">
                  <a:pos x="559" y="781"/>
                </a:cxn>
                <a:cxn ang="0">
                  <a:pos x="608" y="770"/>
                </a:cxn>
                <a:cxn ang="0">
                  <a:pos x="654" y="772"/>
                </a:cxn>
                <a:cxn ang="0">
                  <a:pos x="677" y="748"/>
                </a:cxn>
                <a:cxn ang="0">
                  <a:pos x="829" y="593"/>
                </a:cxn>
                <a:cxn ang="0">
                  <a:pos x="994" y="534"/>
                </a:cxn>
                <a:cxn ang="0">
                  <a:pos x="1224" y="569"/>
                </a:cxn>
                <a:cxn ang="0">
                  <a:pos x="1411" y="607"/>
                </a:cxn>
                <a:cxn ang="0">
                  <a:pos x="1400" y="655"/>
                </a:cxn>
              </a:cxnLst>
              <a:rect l="0" t="0" r="r" b="b"/>
              <a:pathLst>
                <a:path w="2139" h="795">
                  <a:moveTo>
                    <a:pt x="1398" y="684"/>
                  </a:moveTo>
                  <a:cubicBezTo>
                    <a:pt x="1398" y="684"/>
                    <a:pt x="1415" y="688"/>
                    <a:pt x="1429" y="688"/>
                  </a:cubicBezTo>
                  <a:cubicBezTo>
                    <a:pt x="1454" y="688"/>
                    <a:pt x="1478" y="635"/>
                    <a:pt x="1495" y="618"/>
                  </a:cubicBezTo>
                  <a:cubicBezTo>
                    <a:pt x="1502" y="610"/>
                    <a:pt x="1512" y="596"/>
                    <a:pt x="1515" y="585"/>
                  </a:cubicBezTo>
                  <a:cubicBezTo>
                    <a:pt x="1518" y="572"/>
                    <a:pt x="1513" y="564"/>
                    <a:pt x="1520" y="551"/>
                  </a:cubicBezTo>
                  <a:cubicBezTo>
                    <a:pt x="1522" y="547"/>
                    <a:pt x="1527" y="537"/>
                    <a:pt x="1527" y="527"/>
                  </a:cubicBezTo>
                  <a:cubicBezTo>
                    <a:pt x="1527" y="515"/>
                    <a:pt x="1508" y="492"/>
                    <a:pt x="1499" y="499"/>
                  </a:cubicBezTo>
                  <a:cubicBezTo>
                    <a:pt x="1473" y="518"/>
                    <a:pt x="1460" y="488"/>
                    <a:pt x="1460" y="485"/>
                  </a:cubicBezTo>
                  <a:cubicBezTo>
                    <a:pt x="1460" y="473"/>
                    <a:pt x="1483" y="459"/>
                    <a:pt x="1493" y="450"/>
                  </a:cubicBezTo>
                  <a:cubicBezTo>
                    <a:pt x="1506" y="436"/>
                    <a:pt x="1524" y="413"/>
                    <a:pt x="1543" y="408"/>
                  </a:cubicBezTo>
                  <a:cubicBezTo>
                    <a:pt x="1560" y="404"/>
                    <a:pt x="1613" y="399"/>
                    <a:pt x="1627" y="399"/>
                  </a:cubicBezTo>
                  <a:cubicBezTo>
                    <a:pt x="1645" y="399"/>
                    <a:pt x="1654" y="408"/>
                    <a:pt x="1665" y="408"/>
                  </a:cubicBezTo>
                  <a:cubicBezTo>
                    <a:pt x="1671" y="408"/>
                    <a:pt x="1675" y="408"/>
                    <a:pt x="1689" y="408"/>
                  </a:cubicBezTo>
                  <a:cubicBezTo>
                    <a:pt x="1696" y="379"/>
                    <a:pt x="1709" y="362"/>
                    <a:pt x="1740" y="362"/>
                  </a:cubicBezTo>
                  <a:cubicBezTo>
                    <a:pt x="1748" y="362"/>
                    <a:pt x="1751" y="360"/>
                    <a:pt x="1766" y="362"/>
                  </a:cubicBezTo>
                  <a:cubicBezTo>
                    <a:pt x="1759" y="368"/>
                    <a:pt x="1756" y="406"/>
                    <a:pt x="1804" y="346"/>
                  </a:cubicBezTo>
                  <a:cubicBezTo>
                    <a:pt x="1809" y="346"/>
                    <a:pt x="1832" y="355"/>
                    <a:pt x="1797" y="377"/>
                  </a:cubicBezTo>
                  <a:cubicBezTo>
                    <a:pt x="1785" y="385"/>
                    <a:pt x="1774" y="381"/>
                    <a:pt x="1766" y="393"/>
                  </a:cubicBezTo>
                  <a:cubicBezTo>
                    <a:pt x="1757" y="406"/>
                    <a:pt x="1749" y="423"/>
                    <a:pt x="1735" y="430"/>
                  </a:cubicBezTo>
                  <a:cubicBezTo>
                    <a:pt x="1724" y="436"/>
                    <a:pt x="1709" y="447"/>
                    <a:pt x="1709" y="465"/>
                  </a:cubicBezTo>
                  <a:cubicBezTo>
                    <a:pt x="1709" y="482"/>
                    <a:pt x="1714" y="535"/>
                    <a:pt x="1726" y="545"/>
                  </a:cubicBezTo>
                  <a:cubicBezTo>
                    <a:pt x="1735" y="532"/>
                    <a:pt x="1741" y="507"/>
                    <a:pt x="1760" y="503"/>
                  </a:cubicBezTo>
                  <a:cubicBezTo>
                    <a:pt x="1757" y="491"/>
                    <a:pt x="1777" y="488"/>
                    <a:pt x="1777" y="479"/>
                  </a:cubicBezTo>
                  <a:cubicBezTo>
                    <a:pt x="1777" y="464"/>
                    <a:pt x="1793" y="460"/>
                    <a:pt x="1793" y="452"/>
                  </a:cubicBezTo>
                  <a:cubicBezTo>
                    <a:pt x="1793" y="447"/>
                    <a:pt x="1788" y="442"/>
                    <a:pt x="1793" y="432"/>
                  </a:cubicBezTo>
                  <a:cubicBezTo>
                    <a:pt x="1828" y="356"/>
                    <a:pt x="1861" y="397"/>
                    <a:pt x="1874" y="397"/>
                  </a:cubicBezTo>
                  <a:cubicBezTo>
                    <a:pt x="1914" y="397"/>
                    <a:pt x="1941" y="347"/>
                    <a:pt x="1976" y="346"/>
                  </a:cubicBezTo>
                  <a:cubicBezTo>
                    <a:pt x="2041" y="345"/>
                    <a:pt x="1989" y="320"/>
                    <a:pt x="1989" y="313"/>
                  </a:cubicBezTo>
                  <a:cubicBezTo>
                    <a:pt x="1989" y="294"/>
                    <a:pt x="2015" y="297"/>
                    <a:pt x="2020" y="287"/>
                  </a:cubicBezTo>
                  <a:cubicBezTo>
                    <a:pt x="2022" y="282"/>
                    <a:pt x="2018" y="271"/>
                    <a:pt x="2026" y="271"/>
                  </a:cubicBezTo>
                  <a:cubicBezTo>
                    <a:pt x="2054" y="271"/>
                    <a:pt x="2077" y="309"/>
                    <a:pt x="2097" y="309"/>
                  </a:cubicBezTo>
                  <a:cubicBezTo>
                    <a:pt x="2106" y="309"/>
                    <a:pt x="2108" y="293"/>
                    <a:pt x="2112" y="287"/>
                  </a:cubicBezTo>
                  <a:cubicBezTo>
                    <a:pt x="2120" y="278"/>
                    <a:pt x="2127" y="279"/>
                    <a:pt x="2139" y="275"/>
                  </a:cubicBezTo>
                  <a:cubicBezTo>
                    <a:pt x="2123" y="254"/>
                    <a:pt x="2071" y="242"/>
                    <a:pt x="2046" y="227"/>
                  </a:cubicBezTo>
                  <a:cubicBezTo>
                    <a:pt x="2011" y="207"/>
                    <a:pt x="1965" y="185"/>
                    <a:pt x="1914" y="185"/>
                  </a:cubicBezTo>
                  <a:cubicBezTo>
                    <a:pt x="1900" y="185"/>
                    <a:pt x="1890" y="188"/>
                    <a:pt x="1892" y="194"/>
                  </a:cubicBezTo>
                  <a:cubicBezTo>
                    <a:pt x="1906" y="237"/>
                    <a:pt x="1872" y="194"/>
                    <a:pt x="1863" y="194"/>
                  </a:cubicBezTo>
                  <a:cubicBezTo>
                    <a:pt x="1762" y="192"/>
                    <a:pt x="1762" y="192"/>
                    <a:pt x="1762" y="192"/>
                  </a:cubicBezTo>
                  <a:cubicBezTo>
                    <a:pt x="1756" y="169"/>
                    <a:pt x="1741" y="161"/>
                    <a:pt x="1711" y="161"/>
                  </a:cubicBezTo>
                  <a:cubicBezTo>
                    <a:pt x="1695" y="161"/>
                    <a:pt x="1670" y="167"/>
                    <a:pt x="1660" y="159"/>
                  </a:cubicBezTo>
                  <a:cubicBezTo>
                    <a:pt x="1652" y="151"/>
                    <a:pt x="1651" y="141"/>
                    <a:pt x="1638" y="137"/>
                  </a:cubicBezTo>
                  <a:cubicBezTo>
                    <a:pt x="1611" y="128"/>
                    <a:pt x="1582" y="121"/>
                    <a:pt x="1548" y="121"/>
                  </a:cubicBezTo>
                  <a:cubicBezTo>
                    <a:pt x="1513" y="121"/>
                    <a:pt x="1509" y="140"/>
                    <a:pt x="1506" y="157"/>
                  </a:cubicBezTo>
                  <a:cubicBezTo>
                    <a:pt x="1473" y="157"/>
                    <a:pt x="1457" y="157"/>
                    <a:pt x="1435" y="157"/>
                  </a:cubicBezTo>
                  <a:cubicBezTo>
                    <a:pt x="1423" y="157"/>
                    <a:pt x="1421" y="147"/>
                    <a:pt x="1407" y="146"/>
                  </a:cubicBezTo>
                  <a:cubicBezTo>
                    <a:pt x="1405" y="152"/>
                    <a:pt x="1403" y="166"/>
                    <a:pt x="1396" y="166"/>
                  </a:cubicBezTo>
                  <a:cubicBezTo>
                    <a:pt x="1377" y="166"/>
                    <a:pt x="1369" y="143"/>
                    <a:pt x="1369" y="130"/>
                  </a:cubicBezTo>
                  <a:cubicBezTo>
                    <a:pt x="1369" y="127"/>
                    <a:pt x="1405" y="105"/>
                    <a:pt x="1314" y="97"/>
                  </a:cubicBezTo>
                  <a:cubicBezTo>
                    <a:pt x="1303" y="96"/>
                    <a:pt x="1296" y="101"/>
                    <a:pt x="1296" y="115"/>
                  </a:cubicBezTo>
                  <a:cubicBezTo>
                    <a:pt x="1248" y="115"/>
                    <a:pt x="1248" y="115"/>
                    <a:pt x="1248" y="115"/>
                  </a:cubicBezTo>
                  <a:cubicBezTo>
                    <a:pt x="1233" y="111"/>
                    <a:pt x="1157" y="102"/>
                    <a:pt x="1147" y="86"/>
                  </a:cubicBezTo>
                  <a:cubicBezTo>
                    <a:pt x="1089" y="133"/>
                    <a:pt x="1102" y="104"/>
                    <a:pt x="1102" y="104"/>
                  </a:cubicBezTo>
                  <a:cubicBezTo>
                    <a:pt x="1116" y="87"/>
                    <a:pt x="1249" y="51"/>
                    <a:pt x="1140" y="24"/>
                  </a:cubicBezTo>
                  <a:cubicBezTo>
                    <a:pt x="1094" y="24"/>
                    <a:pt x="1094" y="24"/>
                    <a:pt x="1094" y="24"/>
                  </a:cubicBezTo>
                  <a:cubicBezTo>
                    <a:pt x="1089" y="12"/>
                    <a:pt x="1079" y="0"/>
                    <a:pt x="1060" y="0"/>
                  </a:cubicBezTo>
                  <a:cubicBezTo>
                    <a:pt x="1038" y="0"/>
                    <a:pt x="1028" y="17"/>
                    <a:pt x="1016" y="27"/>
                  </a:cubicBezTo>
                  <a:cubicBezTo>
                    <a:pt x="1008" y="33"/>
                    <a:pt x="951" y="56"/>
                    <a:pt x="956" y="35"/>
                  </a:cubicBezTo>
                  <a:cubicBezTo>
                    <a:pt x="941" y="40"/>
                    <a:pt x="879" y="44"/>
                    <a:pt x="847" y="73"/>
                  </a:cubicBezTo>
                  <a:cubicBezTo>
                    <a:pt x="840" y="79"/>
                    <a:pt x="838" y="97"/>
                    <a:pt x="828" y="97"/>
                  </a:cubicBezTo>
                  <a:cubicBezTo>
                    <a:pt x="813" y="97"/>
                    <a:pt x="758" y="92"/>
                    <a:pt x="758" y="117"/>
                  </a:cubicBezTo>
                  <a:cubicBezTo>
                    <a:pt x="758" y="122"/>
                    <a:pt x="763" y="128"/>
                    <a:pt x="765" y="135"/>
                  </a:cubicBezTo>
                  <a:cubicBezTo>
                    <a:pt x="755" y="141"/>
                    <a:pt x="752" y="135"/>
                    <a:pt x="721" y="135"/>
                  </a:cubicBezTo>
                  <a:cubicBezTo>
                    <a:pt x="695" y="170"/>
                    <a:pt x="697" y="129"/>
                    <a:pt x="691" y="121"/>
                  </a:cubicBezTo>
                  <a:cubicBezTo>
                    <a:pt x="689" y="136"/>
                    <a:pt x="679" y="142"/>
                    <a:pt x="668" y="148"/>
                  </a:cubicBezTo>
                  <a:cubicBezTo>
                    <a:pt x="671" y="160"/>
                    <a:pt x="690" y="173"/>
                    <a:pt x="677" y="188"/>
                  </a:cubicBezTo>
                  <a:cubicBezTo>
                    <a:pt x="667" y="198"/>
                    <a:pt x="695" y="230"/>
                    <a:pt x="680" y="230"/>
                  </a:cubicBezTo>
                  <a:cubicBezTo>
                    <a:pt x="662" y="230"/>
                    <a:pt x="657" y="164"/>
                    <a:pt x="657" y="150"/>
                  </a:cubicBezTo>
                  <a:cubicBezTo>
                    <a:pt x="657" y="135"/>
                    <a:pt x="681" y="129"/>
                    <a:pt x="644" y="121"/>
                  </a:cubicBezTo>
                  <a:cubicBezTo>
                    <a:pt x="625" y="118"/>
                    <a:pt x="589" y="149"/>
                    <a:pt x="589" y="166"/>
                  </a:cubicBezTo>
                  <a:cubicBezTo>
                    <a:pt x="589" y="186"/>
                    <a:pt x="598" y="199"/>
                    <a:pt x="608" y="210"/>
                  </a:cubicBezTo>
                  <a:cubicBezTo>
                    <a:pt x="633" y="248"/>
                    <a:pt x="574" y="205"/>
                    <a:pt x="552" y="200"/>
                  </a:cubicBezTo>
                  <a:cubicBezTo>
                    <a:pt x="492" y="184"/>
                    <a:pt x="512" y="204"/>
                    <a:pt x="511" y="207"/>
                  </a:cubicBezTo>
                  <a:cubicBezTo>
                    <a:pt x="509" y="241"/>
                    <a:pt x="495" y="214"/>
                    <a:pt x="487" y="214"/>
                  </a:cubicBezTo>
                  <a:cubicBezTo>
                    <a:pt x="473" y="214"/>
                    <a:pt x="445" y="233"/>
                    <a:pt x="425" y="223"/>
                  </a:cubicBezTo>
                  <a:cubicBezTo>
                    <a:pt x="415" y="197"/>
                    <a:pt x="349" y="256"/>
                    <a:pt x="333" y="256"/>
                  </a:cubicBezTo>
                  <a:cubicBezTo>
                    <a:pt x="327" y="256"/>
                    <a:pt x="320" y="252"/>
                    <a:pt x="322" y="247"/>
                  </a:cubicBezTo>
                  <a:cubicBezTo>
                    <a:pt x="329" y="229"/>
                    <a:pt x="319" y="191"/>
                    <a:pt x="300" y="249"/>
                  </a:cubicBezTo>
                  <a:cubicBezTo>
                    <a:pt x="298" y="253"/>
                    <a:pt x="306" y="255"/>
                    <a:pt x="306" y="263"/>
                  </a:cubicBezTo>
                  <a:cubicBezTo>
                    <a:pt x="306" y="278"/>
                    <a:pt x="283" y="267"/>
                    <a:pt x="271" y="271"/>
                  </a:cubicBezTo>
                  <a:cubicBezTo>
                    <a:pt x="259" y="275"/>
                    <a:pt x="265" y="318"/>
                    <a:pt x="214" y="296"/>
                  </a:cubicBezTo>
                  <a:cubicBezTo>
                    <a:pt x="214" y="313"/>
                    <a:pt x="214" y="313"/>
                    <a:pt x="214" y="313"/>
                  </a:cubicBezTo>
                  <a:cubicBezTo>
                    <a:pt x="189" y="311"/>
                    <a:pt x="192" y="284"/>
                    <a:pt x="183" y="271"/>
                  </a:cubicBezTo>
                  <a:cubicBezTo>
                    <a:pt x="202" y="271"/>
                    <a:pt x="212" y="271"/>
                    <a:pt x="230" y="276"/>
                  </a:cubicBezTo>
                  <a:cubicBezTo>
                    <a:pt x="255" y="282"/>
                    <a:pt x="304" y="251"/>
                    <a:pt x="229" y="227"/>
                  </a:cubicBezTo>
                  <a:cubicBezTo>
                    <a:pt x="208" y="220"/>
                    <a:pt x="160" y="196"/>
                    <a:pt x="145" y="196"/>
                  </a:cubicBezTo>
                  <a:cubicBezTo>
                    <a:pt x="144" y="196"/>
                    <a:pt x="144" y="195"/>
                    <a:pt x="133" y="196"/>
                  </a:cubicBezTo>
                  <a:cubicBezTo>
                    <a:pt x="127" y="200"/>
                    <a:pt x="111" y="208"/>
                    <a:pt x="111" y="219"/>
                  </a:cubicBezTo>
                  <a:cubicBezTo>
                    <a:pt x="111" y="227"/>
                    <a:pt x="127" y="226"/>
                    <a:pt x="127" y="236"/>
                  </a:cubicBezTo>
                  <a:cubicBezTo>
                    <a:pt x="127" y="244"/>
                    <a:pt x="119" y="247"/>
                    <a:pt x="119" y="255"/>
                  </a:cubicBezTo>
                  <a:cubicBezTo>
                    <a:pt x="119" y="263"/>
                    <a:pt x="128" y="268"/>
                    <a:pt x="128" y="277"/>
                  </a:cubicBezTo>
                  <a:cubicBezTo>
                    <a:pt x="128" y="282"/>
                    <a:pt x="123" y="285"/>
                    <a:pt x="123" y="290"/>
                  </a:cubicBezTo>
                  <a:cubicBezTo>
                    <a:pt x="123" y="300"/>
                    <a:pt x="136" y="302"/>
                    <a:pt x="136" y="312"/>
                  </a:cubicBezTo>
                  <a:cubicBezTo>
                    <a:pt x="136" y="315"/>
                    <a:pt x="132" y="317"/>
                    <a:pt x="131" y="318"/>
                  </a:cubicBezTo>
                  <a:cubicBezTo>
                    <a:pt x="135" y="325"/>
                    <a:pt x="145" y="327"/>
                    <a:pt x="145" y="336"/>
                  </a:cubicBezTo>
                  <a:cubicBezTo>
                    <a:pt x="145" y="351"/>
                    <a:pt x="115" y="367"/>
                    <a:pt x="106" y="379"/>
                  </a:cubicBezTo>
                  <a:cubicBezTo>
                    <a:pt x="109" y="384"/>
                    <a:pt x="114" y="387"/>
                    <a:pt x="117" y="395"/>
                  </a:cubicBezTo>
                  <a:cubicBezTo>
                    <a:pt x="111" y="398"/>
                    <a:pt x="98" y="405"/>
                    <a:pt x="92" y="405"/>
                  </a:cubicBezTo>
                  <a:cubicBezTo>
                    <a:pt x="85" y="405"/>
                    <a:pt x="80" y="402"/>
                    <a:pt x="70" y="402"/>
                  </a:cubicBezTo>
                  <a:cubicBezTo>
                    <a:pt x="61" y="402"/>
                    <a:pt x="38" y="410"/>
                    <a:pt x="45" y="417"/>
                  </a:cubicBezTo>
                  <a:cubicBezTo>
                    <a:pt x="67" y="438"/>
                    <a:pt x="56" y="446"/>
                    <a:pt x="50" y="446"/>
                  </a:cubicBezTo>
                  <a:cubicBezTo>
                    <a:pt x="42" y="446"/>
                    <a:pt x="40" y="435"/>
                    <a:pt x="33" y="435"/>
                  </a:cubicBezTo>
                  <a:cubicBezTo>
                    <a:pt x="25" y="435"/>
                    <a:pt x="15" y="455"/>
                    <a:pt x="15" y="465"/>
                  </a:cubicBezTo>
                  <a:cubicBezTo>
                    <a:pt x="15" y="483"/>
                    <a:pt x="1" y="480"/>
                    <a:pt x="0" y="496"/>
                  </a:cubicBezTo>
                  <a:cubicBezTo>
                    <a:pt x="6" y="495"/>
                    <a:pt x="11" y="495"/>
                    <a:pt x="16" y="495"/>
                  </a:cubicBezTo>
                  <a:cubicBezTo>
                    <a:pt x="24" y="495"/>
                    <a:pt x="30" y="494"/>
                    <a:pt x="39" y="494"/>
                  </a:cubicBezTo>
                  <a:cubicBezTo>
                    <a:pt x="48" y="494"/>
                    <a:pt x="52" y="510"/>
                    <a:pt x="52" y="520"/>
                  </a:cubicBezTo>
                  <a:cubicBezTo>
                    <a:pt x="52" y="526"/>
                    <a:pt x="46" y="529"/>
                    <a:pt x="46" y="535"/>
                  </a:cubicBezTo>
                  <a:cubicBezTo>
                    <a:pt x="46" y="544"/>
                    <a:pt x="54" y="550"/>
                    <a:pt x="54" y="558"/>
                  </a:cubicBezTo>
                  <a:cubicBezTo>
                    <a:pt x="54" y="563"/>
                    <a:pt x="46" y="565"/>
                    <a:pt x="44" y="568"/>
                  </a:cubicBezTo>
                  <a:cubicBezTo>
                    <a:pt x="39" y="576"/>
                    <a:pt x="37" y="583"/>
                    <a:pt x="37" y="593"/>
                  </a:cubicBezTo>
                  <a:cubicBezTo>
                    <a:pt x="37" y="606"/>
                    <a:pt x="46" y="603"/>
                    <a:pt x="56" y="603"/>
                  </a:cubicBezTo>
                  <a:cubicBezTo>
                    <a:pt x="70" y="603"/>
                    <a:pt x="77" y="597"/>
                    <a:pt x="88" y="597"/>
                  </a:cubicBezTo>
                  <a:cubicBezTo>
                    <a:pt x="99" y="597"/>
                    <a:pt x="97" y="620"/>
                    <a:pt x="108" y="620"/>
                  </a:cubicBezTo>
                  <a:cubicBezTo>
                    <a:pt x="108" y="638"/>
                    <a:pt x="108" y="638"/>
                    <a:pt x="108" y="638"/>
                  </a:cubicBezTo>
                  <a:cubicBezTo>
                    <a:pt x="108" y="640"/>
                    <a:pt x="109" y="641"/>
                    <a:pt x="110" y="641"/>
                  </a:cubicBezTo>
                  <a:cubicBezTo>
                    <a:pt x="112" y="644"/>
                    <a:pt x="112" y="644"/>
                    <a:pt x="112" y="644"/>
                  </a:cubicBezTo>
                  <a:cubicBezTo>
                    <a:pt x="114" y="644"/>
                    <a:pt x="120" y="642"/>
                    <a:pt x="123" y="641"/>
                  </a:cubicBezTo>
                  <a:cubicBezTo>
                    <a:pt x="132" y="639"/>
                    <a:pt x="133" y="627"/>
                    <a:pt x="143" y="627"/>
                  </a:cubicBezTo>
                  <a:cubicBezTo>
                    <a:pt x="151" y="627"/>
                    <a:pt x="171" y="660"/>
                    <a:pt x="177" y="660"/>
                  </a:cubicBezTo>
                  <a:cubicBezTo>
                    <a:pt x="184" y="660"/>
                    <a:pt x="205" y="651"/>
                    <a:pt x="208" y="647"/>
                  </a:cubicBezTo>
                  <a:cubicBezTo>
                    <a:pt x="207" y="647"/>
                    <a:pt x="196" y="645"/>
                    <a:pt x="196" y="645"/>
                  </a:cubicBezTo>
                  <a:cubicBezTo>
                    <a:pt x="194" y="645"/>
                    <a:pt x="189" y="644"/>
                    <a:pt x="189" y="638"/>
                  </a:cubicBezTo>
                  <a:cubicBezTo>
                    <a:pt x="189" y="635"/>
                    <a:pt x="221" y="623"/>
                    <a:pt x="233" y="619"/>
                  </a:cubicBezTo>
                  <a:cubicBezTo>
                    <a:pt x="233" y="619"/>
                    <a:pt x="227" y="625"/>
                    <a:pt x="225" y="626"/>
                  </a:cubicBezTo>
                  <a:cubicBezTo>
                    <a:pt x="226" y="629"/>
                    <a:pt x="237" y="641"/>
                    <a:pt x="211" y="647"/>
                  </a:cubicBezTo>
                  <a:cubicBezTo>
                    <a:pt x="223" y="673"/>
                    <a:pt x="273" y="669"/>
                    <a:pt x="273" y="704"/>
                  </a:cubicBezTo>
                  <a:cubicBezTo>
                    <a:pt x="275" y="703"/>
                    <a:pt x="275" y="703"/>
                    <a:pt x="275" y="703"/>
                  </a:cubicBezTo>
                  <a:cubicBezTo>
                    <a:pt x="278" y="702"/>
                    <a:pt x="280" y="701"/>
                    <a:pt x="284" y="701"/>
                  </a:cubicBezTo>
                  <a:cubicBezTo>
                    <a:pt x="298" y="701"/>
                    <a:pt x="297" y="710"/>
                    <a:pt x="302" y="719"/>
                  </a:cubicBezTo>
                  <a:cubicBezTo>
                    <a:pt x="303" y="721"/>
                    <a:pt x="312" y="726"/>
                    <a:pt x="312" y="726"/>
                  </a:cubicBezTo>
                  <a:cubicBezTo>
                    <a:pt x="320" y="729"/>
                    <a:pt x="322" y="742"/>
                    <a:pt x="335" y="742"/>
                  </a:cubicBezTo>
                  <a:cubicBezTo>
                    <a:pt x="344" y="742"/>
                    <a:pt x="344" y="734"/>
                    <a:pt x="350" y="732"/>
                  </a:cubicBezTo>
                  <a:cubicBezTo>
                    <a:pt x="354" y="731"/>
                    <a:pt x="353" y="731"/>
                    <a:pt x="357" y="731"/>
                  </a:cubicBezTo>
                  <a:cubicBezTo>
                    <a:pt x="358" y="733"/>
                    <a:pt x="358" y="737"/>
                    <a:pt x="360" y="739"/>
                  </a:cubicBezTo>
                  <a:cubicBezTo>
                    <a:pt x="359" y="739"/>
                    <a:pt x="360" y="740"/>
                    <a:pt x="360" y="741"/>
                  </a:cubicBezTo>
                  <a:cubicBezTo>
                    <a:pt x="366" y="742"/>
                    <a:pt x="366" y="742"/>
                    <a:pt x="366" y="742"/>
                  </a:cubicBezTo>
                  <a:cubicBezTo>
                    <a:pt x="371" y="735"/>
                    <a:pt x="371" y="724"/>
                    <a:pt x="378" y="721"/>
                  </a:cubicBezTo>
                  <a:cubicBezTo>
                    <a:pt x="366" y="714"/>
                    <a:pt x="348" y="688"/>
                    <a:pt x="348" y="673"/>
                  </a:cubicBezTo>
                  <a:cubicBezTo>
                    <a:pt x="348" y="668"/>
                    <a:pt x="338" y="662"/>
                    <a:pt x="338" y="655"/>
                  </a:cubicBezTo>
                  <a:cubicBezTo>
                    <a:pt x="338" y="653"/>
                    <a:pt x="347" y="637"/>
                    <a:pt x="349" y="634"/>
                  </a:cubicBezTo>
                  <a:cubicBezTo>
                    <a:pt x="351" y="635"/>
                    <a:pt x="365" y="628"/>
                    <a:pt x="366" y="627"/>
                  </a:cubicBezTo>
                  <a:cubicBezTo>
                    <a:pt x="377" y="623"/>
                    <a:pt x="384" y="620"/>
                    <a:pt x="399" y="620"/>
                  </a:cubicBezTo>
                  <a:cubicBezTo>
                    <a:pt x="423" y="620"/>
                    <a:pt x="427" y="631"/>
                    <a:pt x="436" y="645"/>
                  </a:cubicBezTo>
                  <a:cubicBezTo>
                    <a:pt x="429" y="650"/>
                    <a:pt x="420" y="645"/>
                    <a:pt x="412" y="645"/>
                  </a:cubicBezTo>
                  <a:cubicBezTo>
                    <a:pt x="400" y="645"/>
                    <a:pt x="383" y="656"/>
                    <a:pt x="381" y="656"/>
                  </a:cubicBezTo>
                  <a:cubicBezTo>
                    <a:pt x="382" y="665"/>
                    <a:pt x="389" y="664"/>
                    <a:pt x="391" y="669"/>
                  </a:cubicBezTo>
                  <a:cubicBezTo>
                    <a:pt x="400" y="684"/>
                    <a:pt x="412" y="690"/>
                    <a:pt x="412" y="707"/>
                  </a:cubicBezTo>
                  <a:cubicBezTo>
                    <a:pt x="415" y="705"/>
                    <a:pt x="424" y="701"/>
                    <a:pt x="427" y="700"/>
                  </a:cubicBezTo>
                  <a:cubicBezTo>
                    <a:pt x="427" y="707"/>
                    <a:pt x="434" y="710"/>
                    <a:pt x="434" y="717"/>
                  </a:cubicBezTo>
                  <a:cubicBezTo>
                    <a:pt x="421" y="717"/>
                    <a:pt x="421" y="717"/>
                    <a:pt x="421" y="717"/>
                  </a:cubicBezTo>
                  <a:cubicBezTo>
                    <a:pt x="417" y="717"/>
                    <a:pt x="413" y="721"/>
                    <a:pt x="412" y="728"/>
                  </a:cubicBezTo>
                  <a:cubicBezTo>
                    <a:pt x="421" y="729"/>
                    <a:pt x="428" y="738"/>
                    <a:pt x="428" y="746"/>
                  </a:cubicBezTo>
                  <a:cubicBezTo>
                    <a:pt x="428" y="751"/>
                    <a:pt x="424" y="753"/>
                    <a:pt x="424" y="757"/>
                  </a:cubicBezTo>
                  <a:cubicBezTo>
                    <a:pt x="424" y="761"/>
                    <a:pt x="428" y="765"/>
                    <a:pt x="429" y="766"/>
                  </a:cubicBezTo>
                  <a:cubicBezTo>
                    <a:pt x="429" y="762"/>
                    <a:pt x="434" y="762"/>
                    <a:pt x="438" y="761"/>
                  </a:cubicBezTo>
                  <a:cubicBezTo>
                    <a:pt x="443" y="759"/>
                    <a:pt x="442" y="757"/>
                    <a:pt x="447" y="755"/>
                  </a:cubicBezTo>
                  <a:cubicBezTo>
                    <a:pt x="455" y="752"/>
                    <a:pt x="460" y="754"/>
                    <a:pt x="466" y="749"/>
                  </a:cubicBezTo>
                  <a:cubicBezTo>
                    <a:pt x="476" y="755"/>
                    <a:pt x="482" y="755"/>
                    <a:pt x="491" y="758"/>
                  </a:cubicBezTo>
                  <a:cubicBezTo>
                    <a:pt x="502" y="762"/>
                    <a:pt x="505" y="772"/>
                    <a:pt x="518" y="772"/>
                  </a:cubicBezTo>
                  <a:cubicBezTo>
                    <a:pt x="518" y="774"/>
                    <a:pt x="521" y="775"/>
                    <a:pt x="522" y="777"/>
                  </a:cubicBezTo>
                  <a:cubicBezTo>
                    <a:pt x="523" y="781"/>
                    <a:pt x="522" y="787"/>
                    <a:pt x="524" y="793"/>
                  </a:cubicBezTo>
                  <a:cubicBezTo>
                    <a:pt x="529" y="787"/>
                    <a:pt x="533" y="795"/>
                    <a:pt x="537" y="795"/>
                  </a:cubicBezTo>
                  <a:cubicBezTo>
                    <a:pt x="542" y="795"/>
                    <a:pt x="544" y="791"/>
                    <a:pt x="547" y="788"/>
                  </a:cubicBezTo>
                  <a:cubicBezTo>
                    <a:pt x="551" y="784"/>
                    <a:pt x="556" y="784"/>
                    <a:pt x="559" y="781"/>
                  </a:cubicBezTo>
                  <a:cubicBezTo>
                    <a:pt x="567" y="773"/>
                    <a:pt x="568" y="762"/>
                    <a:pt x="579" y="762"/>
                  </a:cubicBezTo>
                  <a:cubicBezTo>
                    <a:pt x="583" y="762"/>
                    <a:pt x="582" y="764"/>
                    <a:pt x="586" y="764"/>
                  </a:cubicBezTo>
                  <a:cubicBezTo>
                    <a:pt x="587" y="769"/>
                    <a:pt x="597" y="765"/>
                    <a:pt x="600" y="765"/>
                  </a:cubicBezTo>
                  <a:cubicBezTo>
                    <a:pt x="604" y="765"/>
                    <a:pt x="605" y="770"/>
                    <a:pt x="608" y="770"/>
                  </a:cubicBezTo>
                  <a:cubicBezTo>
                    <a:pt x="617" y="770"/>
                    <a:pt x="624" y="765"/>
                    <a:pt x="627" y="759"/>
                  </a:cubicBezTo>
                  <a:cubicBezTo>
                    <a:pt x="628" y="760"/>
                    <a:pt x="629" y="759"/>
                    <a:pt x="630" y="759"/>
                  </a:cubicBezTo>
                  <a:cubicBezTo>
                    <a:pt x="634" y="759"/>
                    <a:pt x="636" y="749"/>
                    <a:pt x="645" y="749"/>
                  </a:cubicBezTo>
                  <a:cubicBezTo>
                    <a:pt x="654" y="749"/>
                    <a:pt x="644" y="772"/>
                    <a:pt x="654" y="772"/>
                  </a:cubicBezTo>
                  <a:cubicBezTo>
                    <a:pt x="664" y="772"/>
                    <a:pt x="668" y="764"/>
                    <a:pt x="677" y="764"/>
                  </a:cubicBezTo>
                  <a:cubicBezTo>
                    <a:pt x="682" y="764"/>
                    <a:pt x="686" y="764"/>
                    <a:pt x="692" y="765"/>
                  </a:cubicBezTo>
                  <a:cubicBezTo>
                    <a:pt x="692" y="763"/>
                    <a:pt x="692" y="763"/>
                    <a:pt x="692" y="763"/>
                  </a:cubicBezTo>
                  <a:cubicBezTo>
                    <a:pt x="690" y="753"/>
                    <a:pt x="688" y="750"/>
                    <a:pt x="677" y="748"/>
                  </a:cubicBezTo>
                  <a:cubicBezTo>
                    <a:pt x="678" y="739"/>
                    <a:pt x="687" y="719"/>
                    <a:pt x="694" y="719"/>
                  </a:cubicBezTo>
                  <a:cubicBezTo>
                    <a:pt x="735" y="719"/>
                    <a:pt x="763" y="698"/>
                    <a:pt x="763" y="649"/>
                  </a:cubicBezTo>
                  <a:cubicBezTo>
                    <a:pt x="785" y="645"/>
                    <a:pt x="787" y="618"/>
                    <a:pt x="800" y="620"/>
                  </a:cubicBezTo>
                  <a:cubicBezTo>
                    <a:pt x="836" y="624"/>
                    <a:pt x="822" y="600"/>
                    <a:pt x="829" y="593"/>
                  </a:cubicBezTo>
                  <a:cubicBezTo>
                    <a:pt x="847" y="578"/>
                    <a:pt x="873" y="578"/>
                    <a:pt x="895" y="565"/>
                  </a:cubicBezTo>
                  <a:cubicBezTo>
                    <a:pt x="898" y="563"/>
                    <a:pt x="906" y="554"/>
                    <a:pt x="913" y="554"/>
                  </a:cubicBezTo>
                  <a:cubicBezTo>
                    <a:pt x="924" y="554"/>
                    <a:pt x="943" y="567"/>
                    <a:pt x="961" y="567"/>
                  </a:cubicBezTo>
                  <a:cubicBezTo>
                    <a:pt x="986" y="567"/>
                    <a:pt x="981" y="534"/>
                    <a:pt x="994" y="534"/>
                  </a:cubicBezTo>
                  <a:cubicBezTo>
                    <a:pt x="1002" y="534"/>
                    <a:pt x="1029" y="538"/>
                    <a:pt x="1032" y="545"/>
                  </a:cubicBezTo>
                  <a:cubicBezTo>
                    <a:pt x="1042" y="573"/>
                    <a:pt x="1060" y="558"/>
                    <a:pt x="1072" y="558"/>
                  </a:cubicBezTo>
                  <a:cubicBezTo>
                    <a:pt x="1099" y="558"/>
                    <a:pt x="1107" y="580"/>
                    <a:pt x="1135" y="580"/>
                  </a:cubicBezTo>
                  <a:cubicBezTo>
                    <a:pt x="1160" y="580"/>
                    <a:pt x="1192" y="557"/>
                    <a:pt x="1224" y="569"/>
                  </a:cubicBezTo>
                  <a:cubicBezTo>
                    <a:pt x="1266" y="586"/>
                    <a:pt x="1245" y="512"/>
                    <a:pt x="1301" y="512"/>
                  </a:cubicBezTo>
                  <a:cubicBezTo>
                    <a:pt x="1340" y="512"/>
                    <a:pt x="1339" y="543"/>
                    <a:pt x="1354" y="567"/>
                  </a:cubicBezTo>
                  <a:cubicBezTo>
                    <a:pt x="1360" y="576"/>
                    <a:pt x="1379" y="577"/>
                    <a:pt x="1387" y="585"/>
                  </a:cubicBezTo>
                  <a:cubicBezTo>
                    <a:pt x="1393" y="590"/>
                    <a:pt x="1398" y="607"/>
                    <a:pt x="1411" y="607"/>
                  </a:cubicBezTo>
                  <a:cubicBezTo>
                    <a:pt x="1426" y="607"/>
                    <a:pt x="1428" y="593"/>
                    <a:pt x="1446" y="593"/>
                  </a:cubicBezTo>
                  <a:cubicBezTo>
                    <a:pt x="1446" y="604"/>
                    <a:pt x="1446" y="604"/>
                    <a:pt x="1446" y="604"/>
                  </a:cubicBezTo>
                  <a:cubicBezTo>
                    <a:pt x="1437" y="614"/>
                    <a:pt x="1433" y="638"/>
                    <a:pt x="1422" y="644"/>
                  </a:cubicBezTo>
                  <a:cubicBezTo>
                    <a:pt x="1412" y="650"/>
                    <a:pt x="1394" y="651"/>
                    <a:pt x="1400" y="655"/>
                  </a:cubicBezTo>
                  <a:cubicBezTo>
                    <a:pt x="1415" y="665"/>
                    <a:pt x="1398" y="684"/>
                    <a:pt x="1398" y="68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8" name="Freeform 147"/>
            <p:cNvSpPr/>
            <p:nvPr/>
          </p:nvSpPr>
          <p:spPr bwMode="auto">
            <a:xfrm>
              <a:off x="5614988" y="1879600"/>
              <a:ext cx="1023938" cy="646113"/>
            </a:xfrm>
            <a:custGeom>
              <a:avLst/>
              <a:gdLst/>
              <a:ahLst/>
              <a:cxnLst>
                <a:cxn ang="0">
                  <a:pos x="585" y="307"/>
                </a:cxn>
                <a:cxn ang="0">
                  <a:pos x="573" y="287"/>
                </a:cxn>
                <a:cxn ang="0">
                  <a:pos x="614" y="256"/>
                </a:cxn>
                <a:cxn ang="0">
                  <a:pos x="588" y="246"/>
                </a:cxn>
                <a:cxn ang="0">
                  <a:pos x="570" y="255"/>
                </a:cxn>
                <a:cxn ang="0">
                  <a:pos x="552" y="236"/>
                </a:cxn>
                <a:cxn ang="0">
                  <a:pos x="590" y="209"/>
                </a:cxn>
                <a:cxn ang="0">
                  <a:pos x="606" y="212"/>
                </a:cxn>
                <a:cxn ang="0">
                  <a:pos x="634" y="216"/>
                </a:cxn>
                <a:cxn ang="0">
                  <a:pos x="648" y="231"/>
                </a:cxn>
                <a:cxn ang="0">
                  <a:pos x="648" y="248"/>
                </a:cxn>
                <a:cxn ang="0">
                  <a:pos x="666" y="254"/>
                </a:cxn>
                <a:cxn ang="0">
                  <a:pos x="659" y="264"/>
                </a:cxn>
                <a:cxn ang="0">
                  <a:pos x="665" y="275"/>
                </a:cxn>
                <a:cxn ang="0">
                  <a:pos x="664" y="290"/>
                </a:cxn>
                <a:cxn ang="0">
                  <a:pos x="668" y="295"/>
                </a:cxn>
                <a:cxn ang="0">
                  <a:pos x="690" y="286"/>
                </a:cxn>
                <a:cxn ang="0">
                  <a:pos x="683" y="232"/>
                </a:cxn>
                <a:cxn ang="0">
                  <a:pos x="688" y="210"/>
                </a:cxn>
                <a:cxn ang="0">
                  <a:pos x="721" y="172"/>
                </a:cxn>
                <a:cxn ang="0">
                  <a:pos x="745" y="132"/>
                </a:cxn>
                <a:cxn ang="0">
                  <a:pos x="769" y="81"/>
                </a:cxn>
                <a:cxn ang="0">
                  <a:pos x="710" y="73"/>
                </a:cxn>
                <a:cxn ang="0">
                  <a:pos x="624" y="0"/>
                </a:cxn>
                <a:cxn ang="0">
                  <a:pos x="458" y="68"/>
                </a:cxn>
                <a:cxn ang="0">
                  <a:pos x="355" y="33"/>
                </a:cxn>
                <a:cxn ang="0">
                  <a:pos x="284" y="55"/>
                </a:cxn>
                <a:cxn ang="0">
                  <a:pos x="218" y="53"/>
                </a:cxn>
                <a:cxn ang="0">
                  <a:pos x="123" y="108"/>
                </a:cxn>
                <a:cxn ang="0">
                  <a:pos x="17" y="207"/>
                </a:cxn>
                <a:cxn ang="0">
                  <a:pos x="15" y="251"/>
                </a:cxn>
                <a:cxn ang="0">
                  <a:pos x="25" y="261"/>
                </a:cxn>
                <a:cxn ang="0">
                  <a:pos x="50" y="280"/>
                </a:cxn>
                <a:cxn ang="0">
                  <a:pos x="83" y="284"/>
                </a:cxn>
                <a:cxn ang="0">
                  <a:pos x="73" y="317"/>
                </a:cxn>
                <a:cxn ang="0">
                  <a:pos x="63" y="326"/>
                </a:cxn>
                <a:cxn ang="0">
                  <a:pos x="73" y="343"/>
                </a:cxn>
                <a:cxn ang="0">
                  <a:pos x="110" y="357"/>
                </a:cxn>
                <a:cxn ang="0">
                  <a:pos x="132" y="373"/>
                </a:cxn>
                <a:cxn ang="0">
                  <a:pos x="160" y="384"/>
                </a:cxn>
                <a:cxn ang="0">
                  <a:pos x="186" y="382"/>
                </a:cxn>
                <a:cxn ang="0">
                  <a:pos x="210" y="381"/>
                </a:cxn>
                <a:cxn ang="0">
                  <a:pos x="255" y="372"/>
                </a:cxn>
                <a:cxn ang="0">
                  <a:pos x="275" y="366"/>
                </a:cxn>
                <a:cxn ang="0">
                  <a:pos x="282" y="362"/>
                </a:cxn>
                <a:cxn ang="0">
                  <a:pos x="316" y="400"/>
                </a:cxn>
                <a:cxn ang="0">
                  <a:pos x="306" y="439"/>
                </a:cxn>
                <a:cxn ang="0">
                  <a:pos x="324" y="450"/>
                </a:cxn>
                <a:cxn ang="0">
                  <a:pos x="346" y="467"/>
                </a:cxn>
                <a:cxn ang="0">
                  <a:pos x="351" y="472"/>
                </a:cxn>
                <a:cxn ang="0">
                  <a:pos x="353" y="457"/>
                </a:cxn>
                <a:cxn ang="0">
                  <a:pos x="379" y="454"/>
                </a:cxn>
                <a:cxn ang="0">
                  <a:pos x="416" y="453"/>
                </a:cxn>
                <a:cxn ang="0">
                  <a:pos x="431" y="470"/>
                </a:cxn>
                <a:cxn ang="0">
                  <a:pos x="454" y="486"/>
                </a:cxn>
                <a:cxn ang="0">
                  <a:pos x="476" y="470"/>
                </a:cxn>
                <a:cxn ang="0">
                  <a:pos x="503" y="455"/>
                </a:cxn>
                <a:cxn ang="0">
                  <a:pos x="552" y="439"/>
                </a:cxn>
                <a:cxn ang="0">
                  <a:pos x="576" y="406"/>
                </a:cxn>
                <a:cxn ang="0">
                  <a:pos x="604" y="355"/>
                </a:cxn>
                <a:cxn ang="0">
                  <a:pos x="586" y="307"/>
                </a:cxn>
              </a:cxnLst>
              <a:rect l="0" t="0" r="r" b="b"/>
              <a:pathLst>
                <a:path w="769" h="486">
                  <a:moveTo>
                    <a:pt x="586" y="307"/>
                  </a:moveTo>
                  <a:cubicBezTo>
                    <a:pt x="585" y="307"/>
                    <a:pt x="585" y="307"/>
                    <a:pt x="585" y="307"/>
                  </a:cubicBezTo>
                  <a:cubicBezTo>
                    <a:pt x="585" y="307"/>
                    <a:pt x="585" y="300"/>
                    <a:pt x="585" y="298"/>
                  </a:cubicBezTo>
                  <a:cubicBezTo>
                    <a:pt x="582" y="298"/>
                    <a:pt x="573" y="294"/>
                    <a:pt x="573" y="287"/>
                  </a:cubicBezTo>
                  <a:cubicBezTo>
                    <a:pt x="573" y="282"/>
                    <a:pt x="581" y="282"/>
                    <a:pt x="582" y="276"/>
                  </a:cubicBezTo>
                  <a:cubicBezTo>
                    <a:pt x="586" y="264"/>
                    <a:pt x="605" y="264"/>
                    <a:pt x="614" y="256"/>
                  </a:cubicBezTo>
                  <a:cubicBezTo>
                    <a:pt x="611" y="251"/>
                    <a:pt x="604" y="256"/>
                    <a:pt x="598" y="252"/>
                  </a:cubicBezTo>
                  <a:cubicBezTo>
                    <a:pt x="595" y="250"/>
                    <a:pt x="593" y="246"/>
                    <a:pt x="588" y="246"/>
                  </a:cubicBezTo>
                  <a:cubicBezTo>
                    <a:pt x="585" y="246"/>
                    <a:pt x="585" y="256"/>
                    <a:pt x="582" y="256"/>
                  </a:cubicBezTo>
                  <a:cubicBezTo>
                    <a:pt x="578" y="256"/>
                    <a:pt x="574" y="257"/>
                    <a:pt x="570" y="255"/>
                  </a:cubicBezTo>
                  <a:cubicBezTo>
                    <a:pt x="565" y="252"/>
                    <a:pt x="567" y="247"/>
                    <a:pt x="562" y="243"/>
                  </a:cubicBezTo>
                  <a:cubicBezTo>
                    <a:pt x="560" y="242"/>
                    <a:pt x="552" y="240"/>
                    <a:pt x="552" y="236"/>
                  </a:cubicBezTo>
                  <a:cubicBezTo>
                    <a:pt x="552" y="227"/>
                    <a:pt x="565" y="230"/>
                    <a:pt x="571" y="225"/>
                  </a:cubicBezTo>
                  <a:cubicBezTo>
                    <a:pt x="577" y="221"/>
                    <a:pt x="587" y="215"/>
                    <a:pt x="590" y="209"/>
                  </a:cubicBezTo>
                  <a:cubicBezTo>
                    <a:pt x="591" y="208"/>
                    <a:pt x="593" y="203"/>
                    <a:pt x="597" y="203"/>
                  </a:cubicBezTo>
                  <a:cubicBezTo>
                    <a:pt x="601" y="203"/>
                    <a:pt x="606" y="209"/>
                    <a:pt x="606" y="212"/>
                  </a:cubicBezTo>
                  <a:cubicBezTo>
                    <a:pt x="606" y="219"/>
                    <a:pt x="597" y="222"/>
                    <a:pt x="597" y="230"/>
                  </a:cubicBezTo>
                  <a:cubicBezTo>
                    <a:pt x="610" y="230"/>
                    <a:pt x="620" y="216"/>
                    <a:pt x="634" y="216"/>
                  </a:cubicBezTo>
                  <a:cubicBezTo>
                    <a:pt x="639" y="216"/>
                    <a:pt x="641" y="221"/>
                    <a:pt x="648" y="221"/>
                  </a:cubicBezTo>
                  <a:cubicBezTo>
                    <a:pt x="646" y="226"/>
                    <a:pt x="648" y="226"/>
                    <a:pt x="648" y="231"/>
                  </a:cubicBezTo>
                  <a:cubicBezTo>
                    <a:pt x="648" y="235"/>
                    <a:pt x="643" y="235"/>
                    <a:pt x="643" y="240"/>
                  </a:cubicBezTo>
                  <a:cubicBezTo>
                    <a:pt x="643" y="242"/>
                    <a:pt x="645" y="248"/>
                    <a:pt x="648" y="248"/>
                  </a:cubicBezTo>
                  <a:cubicBezTo>
                    <a:pt x="649" y="248"/>
                    <a:pt x="651" y="245"/>
                    <a:pt x="654" y="245"/>
                  </a:cubicBezTo>
                  <a:cubicBezTo>
                    <a:pt x="659" y="245"/>
                    <a:pt x="666" y="249"/>
                    <a:pt x="666" y="254"/>
                  </a:cubicBezTo>
                  <a:cubicBezTo>
                    <a:pt x="666" y="257"/>
                    <a:pt x="662" y="260"/>
                    <a:pt x="659" y="260"/>
                  </a:cubicBezTo>
                  <a:cubicBezTo>
                    <a:pt x="659" y="264"/>
                    <a:pt x="659" y="264"/>
                    <a:pt x="659" y="264"/>
                  </a:cubicBezTo>
                  <a:cubicBezTo>
                    <a:pt x="660" y="265"/>
                    <a:pt x="660" y="267"/>
                    <a:pt x="663" y="268"/>
                  </a:cubicBezTo>
                  <a:cubicBezTo>
                    <a:pt x="663" y="270"/>
                    <a:pt x="665" y="272"/>
                    <a:pt x="665" y="275"/>
                  </a:cubicBezTo>
                  <a:cubicBezTo>
                    <a:pt x="665" y="276"/>
                    <a:pt x="661" y="282"/>
                    <a:pt x="661" y="285"/>
                  </a:cubicBezTo>
                  <a:cubicBezTo>
                    <a:pt x="661" y="287"/>
                    <a:pt x="661" y="289"/>
                    <a:pt x="664" y="290"/>
                  </a:cubicBezTo>
                  <a:cubicBezTo>
                    <a:pt x="663" y="292"/>
                    <a:pt x="661" y="293"/>
                    <a:pt x="661" y="295"/>
                  </a:cubicBezTo>
                  <a:cubicBezTo>
                    <a:pt x="668" y="295"/>
                    <a:pt x="668" y="295"/>
                    <a:pt x="668" y="295"/>
                  </a:cubicBezTo>
                  <a:cubicBezTo>
                    <a:pt x="670" y="293"/>
                    <a:pt x="671" y="293"/>
                    <a:pt x="676" y="291"/>
                  </a:cubicBezTo>
                  <a:cubicBezTo>
                    <a:pt x="676" y="287"/>
                    <a:pt x="687" y="287"/>
                    <a:pt x="690" y="286"/>
                  </a:cubicBezTo>
                  <a:cubicBezTo>
                    <a:pt x="696" y="284"/>
                    <a:pt x="699" y="279"/>
                    <a:pt x="699" y="269"/>
                  </a:cubicBezTo>
                  <a:cubicBezTo>
                    <a:pt x="699" y="252"/>
                    <a:pt x="692" y="242"/>
                    <a:pt x="683" y="232"/>
                  </a:cubicBezTo>
                  <a:cubicBezTo>
                    <a:pt x="679" y="228"/>
                    <a:pt x="674" y="224"/>
                    <a:pt x="675" y="217"/>
                  </a:cubicBezTo>
                  <a:cubicBezTo>
                    <a:pt x="680" y="217"/>
                    <a:pt x="685" y="214"/>
                    <a:pt x="688" y="210"/>
                  </a:cubicBezTo>
                  <a:cubicBezTo>
                    <a:pt x="691" y="207"/>
                    <a:pt x="699" y="203"/>
                    <a:pt x="701" y="199"/>
                  </a:cubicBezTo>
                  <a:cubicBezTo>
                    <a:pt x="707" y="187"/>
                    <a:pt x="710" y="180"/>
                    <a:pt x="721" y="172"/>
                  </a:cubicBezTo>
                  <a:cubicBezTo>
                    <a:pt x="721" y="172"/>
                    <a:pt x="738" y="153"/>
                    <a:pt x="723" y="143"/>
                  </a:cubicBezTo>
                  <a:cubicBezTo>
                    <a:pt x="717" y="139"/>
                    <a:pt x="735" y="138"/>
                    <a:pt x="745" y="132"/>
                  </a:cubicBezTo>
                  <a:cubicBezTo>
                    <a:pt x="756" y="126"/>
                    <a:pt x="760" y="102"/>
                    <a:pt x="769" y="92"/>
                  </a:cubicBezTo>
                  <a:cubicBezTo>
                    <a:pt x="769" y="81"/>
                    <a:pt x="769" y="81"/>
                    <a:pt x="769" y="81"/>
                  </a:cubicBezTo>
                  <a:cubicBezTo>
                    <a:pt x="751" y="81"/>
                    <a:pt x="749" y="95"/>
                    <a:pt x="734" y="95"/>
                  </a:cubicBezTo>
                  <a:cubicBezTo>
                    <a:pt x="721" y="95"/>
                    <a:pt x="716" y="78"/>
                    <a:pt x="710" y="73"/>
                  </a:cubicBezTo>
                  <a:cubicBezTo>
                    <a:pt x="702" y="65"/>
                    <a:pt x="683" y="64"/>
                    <a:pt x="677" y="55"/>
                  </a:cubicBezTo>
                  <a:cubicBezTo>
                    <a:pt x="662" y="31"/>
                    <a:pt x="663" y="0"/>
                    <a:pt x="624" y="0"/>
                  </a:cubicBezTo>
                  <a:cubicBezTo>
                    <a:pt x="568" y="0"/>
                    <a:pt x="589" y="74"/>
                    <a:pt x="547" y="57"/>
                  </a:cubicBezTo>
                  <a:cubicBezTo>
                    <a:pt x="515" y="45"/>
                    <a:pt x="483" y="68"/>
                    <a:pt x="458" y="68"/>
                  </a:cubicBezTo>
                  <a:cubicBezTo>
                    <a:pt x="430" y="68"/>
                    <a:pt x="422" y="46"/>
                    <a:pt x="395" y="46"/>
                  </a:cubicBezTo>
                  <a:cubicBezTo>
                    <a:pt x="383" y="46"/>
                    <a:pt x="365" y="61"/>
                    <a:pt x="355" y="33"/>
                  </a:cubicBezTo>
                  <a:cubicBezTo>
                    <a:pt x="352" y="26"/>
                    <a:pt x="325" y="22"/>
                    <a:pt x="317" y="22"/>
                  </a:cubicBezTo>
                  <a:cubicBezTo>
                    <a:pt x="304" y="22"/>
                    <a:pt x="309" y="55"/>
                    <a:pt x="284" y="55"/>
                  </a:cubicBezTo>
                  <a:cubicBezTo>
                    <a:pt x="266" y="55"/>
                    <a:pt x="247" y="42"/>
                    <a:pt x="236" y="42"/>
                  </a:cubicBezTo>
                  <a:cubicBezTo>
                    <a:pt x="229" y="42"/>
                    <a:pt x="221" y="51"/>
                    <a:pt x="218" y="53"/>
                  </a:cubicBezTo>
                  <a:cubicBezTo>
                    <a:pt x="196" y="66"/>
                    <a:pt x="170" y="66"/>
                    <a:pt x="152" y="81"/>
                  </a:cubicBezTo>
                  <a:cubicBezTo>
                    <a:pt x="145" y="88"/>
                    <a:pt x="159" y="112"/>
                    <a:pt x="123" y="108"/>
                  </a:cubicBezTo>
                  <a:cubicBezTo>
                    <a:pt x="110" y="106"/>
                    <a:pt x="108" y="133"/>
                    <a:pt x="86" y="137"/>
                  </a:cubicBezTo>
                  <a:cubicBezTo>
                    <a:pt x="86" y="186"/>
                    <a:pt x="58" y="207"/>
                    <a:pt x="17" y="207"/>
                  </a:cubicBezTo>
                  <a:cubicBezTo>
                    <a:pt x="10" y="207"/>
                    <a:pt x="1" y="227"/>
                    <a:pt x="0" y="236"/>
                  </a:cubicBezTo>
                  <a:cubicBezTo>
                    <a:pt x="11" y="238"/>
                    <a:pt x="13" y="241"/>
                    <a:pt x="15" y="251"/>
                  </a:cubicBezTo>
                  <a:cubicBezTo>
                    <a:pt x="15" y="253"/>
                    <a:pt x="15" y="253"/>
                    <a:pt x="15" y="253"/>
                  </a:cubicBezTo>
                  <a:cubicBezTo>
                    <a:pt x="15" y="261"/>
                    <a:pt x="19" y="259"/>
                    <a:pt x="25" y="261"/>
                  </a:cubicBezTo>
                  <a:cubicBezTo>
                    <a:pt x="30" y="262"/>
                    <a:pt x="28" y="268"/>
                    <a:pt x="31" y="271"/>
                  </a:cubicBezTo>
                  <a:cubicBezTo>
                    <a:pt x="37" y="277"/>
                    <a:pt x="42" y="277"/>
                    <a:pt x="50" y="280"/>
                  </a:cubicBezTo>
                  <a:cubicBezTo>
                    <a:pt x="58" y="279"/>
                    <a:pt x="61" y="272"/>
                    <a:pt x="69" y="272"/>
                  </a:cubicBezTo>
                  <a:cubicBezTo>
                    <a:pt x="73" y="272"/>
                    <a:pt x="83" y="280"/>
                    <a:pt x="83" y="284"/>
                  </a:cubicBezTo>
                  <a:cubicBezTo>
                    <a:pt x="83" y="296"/>
                    <a:pt x="66" y="294"/>
                    <a:pt x="66" y="306"/>
                  </a:cubicBezTo>
                  <a:cubicBezTo>
                    <a:pt x="66" y="311"/>
                    <a:pt x="73" y="312"/>
                    <a:pt x="73" y="317"/>
                  </a:cubicBezTo>
                  <a:cubicBezTo>
                    <a:pt x="73" y="323"/>
                    <a:pt x="68" y="322"/>
                    <a:pt x="63" y="322"/>
                  </a:cubicBezTo>
                  <a:cubicBezTo>
                    <a:pt x="63" y="326"/>
                    <a:pt x="63" y="326"/>
                    <a:pt x="63" y="326"/>
                  </a:cubicBezTo>
                  <a:cubicBezTo>
                    <a:pt x="64" y="331"/>
                    <a:pt x="64" y="335"/>
                    <a:pt x="65" y="340"/>
                  </a:cubicBezTo>
                  <a:cubicBezTo>
                    <a:pt x="66" y="343"/>
                    <a:pt x="71" y="342"/>
                    <a:pt x="73" y="343"/>
                  </a:cubicBezTo>
                  <a:cubicBezTo>
                    <a:pt x="80" y="345"/>
                    <a:pt x="83" y="351"/>
                    <a:pt x="91" y="353"/>
                  </a:cubicBezTo>
                  <a:cubicBezTo>
                    <a:pt x="100" y="355"/>
                    <a:pt x="105" y="352"/>
                    <a:pt x="110" y="357"/>
                  </a:cubicBezTo>
                  <a:cubicBezTo>
                    <a:pt x="116" y="363"/>
                    <a:pt x="120" y="361"/>
                    <a:pt x="127" y="364"/>
                  </a:cubicBezTo>
                  <a:cubicBezTo>
                    <a:pt x="130" y="366"/>
                    <a:pt x="130" y="369"/>
                    <a:pt x="132" y="373"/>
                  </a:cubicBezTo>
                  <a:cubicBezTo>
                    <a:pt x="133" y="376"/>
                    <a:pt x="137" y="372"/>
                    <a:pt x="139" y="373"/>
                  </a:cubicBezTo>
                  <a:cubicBezTo>
                    <a:pt x="146" y="378"/>
                    <a:pt x="150" y="384"/>
                    <a:pt x="160" y="384"/>
                  </a:cubicBezTo>
                  <a:cubicBezTo>
                    <a:pt x="166" y="384"/>
                    <a:pt x="172" y="384"/>
                    <a:pt x="178" y="384"/>
                  </a:cubicBezTo>
                  <a:cubicBezTo>
                    <a:pt x="182" y="384"/>
                    <a:pt x="184" y="382"/>
                    <a:pt x="186" y="382"/>
                  </a:cubicBezTo>
                  <a:cubicBezTo>
                    <a:pt x="189" y="382"/>
                    <a:pt x="190" y="389"/>
                    <a:pt x="191" y="392"/>
                  </a:cubicBezTo>
                  <a:cubicBezTo>
                    <a:pt x="197" y="389"/>
                    <a:pt x="199" y="381"/>
                    <a:pt x="210" y="381"/>
                  </a:cubicBezTo>
                  <a:cubicBezTo>
                    <a:pt x="219" y="381"/>
                    <a:pt x="224" y="386"/>
                    <a:pt x="231" y="386"/>
                  </a:cubicBezTo>
                  <a:cubicBezTo>
                    <a:pt x="238" y="386"/>
                    <a:pt x="252" y="374"/>
                    <a:pt x="255" y="372"/>
                  </a:cubicBezTo>
                  <a:cubicBezTo>
                    <a:pt x="258" y="370"/>
                    <a:pt x="259" y="369"/>
                    <a:pt x="260" y="367"/>
                  </a:cubicBezTo>
                  <a:cubicBezTo>
                    <a:pt x="264" y="363"/>
                    <a:pt x="270" y="368"/>
                    <a:pt x="275" y="366"/>
                  </a:cubicBezTo>
                  <a:cubicBezTo>
                    <a:pt x="279" y="362"/>
                    <a:pt x="279" y="362"/>
                    <a:pt x="279" y="362"/>
                  </a:cubicBezTo>
                  <a:cubicBezTo>
                    <a:pt x="282" y="362"/>
                    <a:pt x="282" y="362"/>
                    <a:pt x="282" y="362"/>
                  </a:cubicBezTo>
                  <a:cubicBezTo>
                    <a:pt x="285" y="377"/>
                    <a:pt x="294" y="376"/>
                    <a:pt x="305" y="381"/>
                  </a:cubicBezTo>
                  <a:cubicBezTo>
                    <a:pt x="309" y="388"/>
                    <a:pt x="316" y="391"/>
                    <a:pt x="316" y="400"/>
                  </a:cubicBezTo>
                  <a:cubicBezTo>
                    <a:pt x="316" y="417"/>
                    <a:pt x="304" y="418"/>
                    <a:pt x="304" y="434"/>
                  </a:cubicBezTo>
                  <a:cubicBezTo>
                    <a:pt x="304" y="436"/>
                    <a:pt x="305" y="439"/>
                    <a:pt x="306" y="439"/>
                  </a:cubicBezTo>
                  <a:cubicBezTo>
                    <a:pt x="309" y="439"/>
                    <a:pt x="312" y="436"/>
                    <a:pt x="315" y="436"/>
                  </a:cubicBezTo>
                  <a:cubicBezTo>
                    <a:pt x="319" y="436"/>
                    <a:pt x="320" y="449"/>
                    <a:pt x="324" y="450"/>
                  </a:cubicBezTo>
                  <a:cubicBezTo>
                    <a:pt x="324" y="459"/>
                    <a:pt x="330" y="468"/>
                    <a:pt x="338" y="468"/>
                  </a:cubicBezTo>
                  <a:cubicBezTo>
                    <a:pt x="342" y="468"/>
                    <a:pt x="343" y="467"/>
                    <a:pt x="346" y="467"/>
                  </a:cubicBezTo>
                  <a:cubicBezTo>
                    <a:pt x="348" y="467"/>
                    <a:pt x="348" y="467"/>
                    <a:pt x="348" y="467"/>
                  </a:cubicBezTo>
                  <a:cubicBezTo>
                    <a:pt x="348" y="471"/>
                    <a:pt x="350" y="472"/>
                    <a:pt x="351" y="472"/>
                  </a:cubicBezTo>
                  <a:cubicBezTo>
                    <a:pt x="352" y="472"/>
                    <a:pt x="353" y="470"/>
                    <a:pt x="353" y="468"/>
                  </a:cubicBezTo>
                  <a:cubicBezTo>
                    <a:pt x="353" y="464"/>
                    <a:pt x="353" y="461"/>
                    <a:pt x="353" y="457"/>
                  </a:cubicBezTo>
                  <a:cubicBezTo>
                    <a:pt x="353" y="457"/>
                    <a:pt x="363" y="454"/>
                    <a:pt x="365" y="454"/>
                  </a:cubicBezTo>
                  <a:cubicBezTo>
                    <a:pt x="379" y="454"/>
                    <a:pt x="379" y="454"/>
                    <a:pt x="379" y="454"/>
                  </a:cubicBezTo>
                  <a:cubicBezTo>
                    <a:pt x="385" y="457"/>
                    <a:pt x="390" y="448"/>
                    <a:pt x="397" y="448"/>
                  </a:cubicBezTo>
                  <a:cubicBezTo>
                    <a:pt x="404" y="448"/>
                    <a:pt x="408" y="453"/>
                    <a:pt x="416" y="453"/>
                  </a:cubicBezTo>
                  <a:cubicBezTo>
                    <a:pt x="416" y="464"/>
                    <a:pt x="424" y="468"/>
                    <a:pt x="431" y="470"/>
                  </a:cubicBezTo>
                  <a:cubicBezTo>
                    <a:pt x="431" y="470"/>
                    <a:pt x="431" y="470"/>
                    <a:pt x="431" y="470"/>
                  </a:cubicBezTo>
                  <a:cubicBezTo>
                    <a:pt x="439" y="474"/>
                    <a:pt x="444" y="471"/>
                    <a:pt x="452" y="475"/>
                  </a:cubicBezTo>
                  <a:cubicBezTo>
                    <a:pt x="452" y="477"/>
                    <a:pt x="451" y="486"/>
                    <a:pt x="454" y="486"/>
                  </a:cubicBezTo>
                  <a:cubicBezTo>
                    <a:pt x="459" y="486"/>
                    <a:pt x="457" y="480"/>
                    <a:pt x="460" y="477"/>
                  </a:cubicBezTo>
                  <a:cubicBezTo>
                    <a:pt x="463" y="474"/>
                    <a:pt x="472" y="472"/>
                    <a:pt x="476" y="470"/>
                  </a:cubicBezTo>
                  <a:cubicBezTo>
                    <a:pt x="484" y="466"/>
                    <a:pt x="492" y="468"/>
                    <a:pt x="498" y="463"/>
                  </a:cubicBezTo>
                  <a:cubicBezTo>
                    <a:pt x="498" y="463"/>
                    <a:pt x="502" y="455"/>
                    <a:pt x="503" y="455"/>
                  </a:cubicBezTo>
                  <a:cubicBezTo>
                    <a:pt x="507" y="455"/>
                    <a:pt x="510" y="458"/>
                    <a:pt x="514" y="458"/>
                  </a:cubicBezTo>
                  <a:cubicBezTo>
                    <a:pt x="534" y="458"/>
                    <a:pt x="539" y="446"/>
                    <a:pt x="552" y="439"/>
                  </a:cubicBezTo>
                  <a:cubicBezTo>
                    <a:pt x="555" y="437"/>
                    <a:pt x="557" y="435"/>
                    <a:pt x="558" y="431"/>
                  </a:cubicBezTo>
                  <a:cubicBezTo>
                    <a:pt x="569" y="431"/>
                    <a:pt x="572" y="414"/>
                    <a:pt x="576" y="406"/>
                  </a:cubicBezTo>
                  <a:cubicBezTo>
                    <a:pt x="578" y="401"/>
                    <a:pt x="590" y="383"/>
                    <a:pt x="597" y="382"/>
                  </a:cubicBezTo>
                  <a:cubicBezTo>
                    <a:pt x="597" y="372"/>
                    <a:pt x="604" y="368"/>
                    <a:pt x="604" y="355"/>
                  </a:cubicBezTo>
                  <a:cubicBezTo>
                    <a:pt x="604" y="336"/>
                    <a:pt x="599" y="329"/>
                    <a:pt x="591" y="317"/>
                  </a:cubicBezTo>
                  <a:cubicBezTo>
                    <a:pt x="590" y="315"/>
                    <a:pt x="590" y="309"/>
                    <a:pt x="586" y="307"/>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29" name="Freeform 148"/>
            <p:cNvSpPr/>
            <p:nvPr/>
          </p:nvSpPr>
          <p:spPr bwMode="auto">
            <a:xfrm>
              <a:off x="7369175" y="1395413"/>
              <a:ext cx="58738" cy="25400"/>
            </a:xfrm>
            <a:custGeom>
              <a:avLst/>
              <a:gdLst/>
              <a:ahLst/>
              <a:cxnLst>
                <a:cxn ang="0">
                  <a:pos x="4" y="19"/>
                </a:cxn>
                <a:cxn ang="0">
                  <a:pos x="0" y="14"/>
                </a:cxn>
                <a:cxn ang="0">
                  <a:pos x="20" y="0"/>
                </a:cxn>
                <a:cxn ang="0">
                  <a:pos x="44" y="11"/>
                </a:cxn>
                <a:cxn ang="0">
                  <a:pos x="4" y="19"/>
                </a:cxn>
              </a:cxnLst>
              <a:rect l="0" t="0" r="r" b="b"/>
              <a:pathLst>
                <a:path w="44" h="19">
                  <a:moveTo>
                    <a:pt x="4" y="19"/>
                  </a:moveTo>
                  <a:cubicBezTo>
                    <a:pt x="1" y="19"/>
                    <a:pt x="0" y="17"/>
                    <a:pt x="0" y="14"/>
                  </a:cubicBezTo>
                  <a:cubicBezTo>
                    <a:pt x="0" y="8"/>
                    <a:pt x="13" y="0"/>
                    <a:pt x="20" y="0"/>
                  </a:cubicBezTo>
                  <a:cubicBezTo>
                    <a:pt x="27" y="0"/>
                    <a:pt x="44" y="4"/>
                    <a:pt x="44" y="11"/>
                  </a:cubicBezTo>
                  <a:cubicBezTo>
                    <a:pt x="44" y="17"/>
                    <a:pt x="9" y="19"/>
                    <a:pt x="4" y="19"/>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0" name="Freeform 149"/>
            <p:cNvSpPr/>
            <p:nvPr/>
          </p:nvSpPr>
          <p:spPr bwMode="auto">
            <a:xfrm>
              <a:off x="7191375" y="1443038"/>
              <a:ext cx="23813" cy="14288"/>
            </a:xfrm>
            <a:custGeom>
              <a:avLst/>
              <a:gdLst/>
              <a:ahLst/>
              <a:cxnLst>
                <a:cxn ang="0">
                  <a:pos x="13" y="10"/>
                </a:cxn>
                <a:cxn ang="0">
                  <a:pos x="18" y="6"/>
                </a:cxn>
                <a:cxn ang="0">
                  <a:pos x="15" y="0"/>
                </a:cxn>
                <a:cxn ang="0">
                  <a:pos x="0" y="0"/>
                </a:cxn>
                <a:cxn ang="0">
                  <a:pos x="13" y="10"/>
                </a:cxn>
              </a:cxnLst>
              <a:rect l="0" t="0" r="r" b="b"/>
              <a:pathLst>
                <a:path w="18" h="10">
                  <a:moveTo>
                    <a:pt x="13" y="10"/>
                  </a:moveTo>
                  <a:cubicBezTo>
                    <a:pt x="15" y="10"/>
                    <a:pt x="18" y="8"/>
                    <a:pt x="18" y="6"/>
                  </a:cubicBezTo>
                  <a:cubicBezTo>
                    <a:pt x="18" y="3"/>
                    <a:pt x="15" y="2"/>
                    <a:pt x="15" y="0"/>
                  </a:cubicBezTo>
                  <a:cubicBezTo>
                    <a:pt x="0" y="0"/>
                    <a:pt x="0" y="0"/>
                    <a:pt x="0" y="0"/>
                  </a:cubicBezTo>
                  <a:cubicBezTo>
                    <a:pt x="3" y="6"/>
                    <a:pt x="7" y="10"/>
                    <a:pt x="13" y="1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1" name="Freeform 150"/>
            <p:cNvSpPr/>
            <p:nvPr/>
          </p:nvSpPr>
          <p:spPr bwMode="auto">
            <a:xfrm>
              <a:off x="6645275" y="1257300"/>
              <a:ext cx="11113" cy="12700"/>
            </a:xfrm>
            <a:custGeom>
              <a:avLst/>
              <a:gdLst/>
              <a:ahLst/>
              <a:cxnLst>
                <a:cxn ang="0">
                  <a:pos x="8" y="5"/>
                </a:cxn>
                <a:cxn ang="0">
                  <a:pos x="3" y="0"/>
                </a:cxn>
                <a:cxn ang="0">
                  <a:pos x="0" y="7"/>
                </a:cxn>
                <a:cxn ang="0">
                  <a:pos x="3" y="10"/>
                </a:cxn>
                <a:cxn ang="0">
                  <a:pos x="8" y="4"/>
                </a:cxn>
                <a:cxn ang="0">
                  <a:pos x="6" y="4"/>
                </a:cxn>
                <a:cxn ang="0">
                  <a:pos x="8" y="5"/>
                </a:cxn>
              </a:cxnLst>
              <a:rect l="0" t="0" r="r" b="b"/>
              <a:pathLst>
                <a:path w="8" h="10">
                  <a:moveTo>
                    <a:pt x="8" y="5"/>
                  </a:moveTo>
                  <a:cubicBezTo>
                    <a:pt x="3" y="0"/>
                    <a:pt x="3" y="0"/>
                    <a:pt x="3" y="0"/>
                  </a:cubicBezTo>
                  <a:cubicBezTo>
                    <a:pt x="2" y="2"/>
                    <a:pt x="0" y="4"/>
                    <a:pt x="0" y="7"/>
                  </a:cubicBezTo>
                  <a:cubicBezTo>
                    <a:pt x="0" y="9"/>
                    <a:pt x="1" y="10"/>
                    <a:pt x="3" y="10"/>
                  </a:cubicBezTo>
                  <a:cubicBezTo>
                    <a:pt x="7" y="10"/>
                    <a:pt x="7" y="6"/>
                    <a:pt x="8" y="4"/>
                  </a:cubicBezTo>
                  <a:cubicBezTo>
                    <a:pt x="6" y="4"/>
                    <a:pt x="6" y="4"/>
                    <a:pt x="6" y="4"/>
                  </a:cubicBezTo>
                  <a:lnTo>
                    <a:pt x="8" y="5"/>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2" name="Freeform 151"/>
            <p:cNvSpPr/>
            <p:nvPr/>
          </p:nvSpPr>
          <p:spPr bwMode="auto">
            <a:xfrm>
              <a:off x="6249988" y="1300163"/>
              <a:ext cx="26988" cy="15875"/>
            </a:xfrm>
            <a:custGeom>
              <a:avLst/>
              <a:gdLst/>
              <a:ahLst/>
              <a:cxnLst>
                <a:cxn ang="0">
                  <a:pos x="20" y="9"/>
                </a:cxn>
                <a:cxn ang="0">
                  <a:pos x="10" y="12"/>
                </a:cxn>
                <a:cxn ang="0">
                  <a:pos x="0" y="7"/>
                </a:cxn>
                <a:cxn ang="0">
                  <a:pos x="10" y="0"/>
                </a:cxn>
                <a:cxn ang="0">
                  <a:pos x="20" y="7"/>
                </a:cxn>
                <a:cxn ang="0">
                  <a:pos x="17" y="12"/>
                </a:cxn>
                <a:cxn ang="0">
                  <a:pos x="20" y="9"/>
                </a:cxn>
              </a:cxnLst>
              <a:rect l="0" t="0" r="r" b="b"/>
              <a:pathLst>
                <a:path w="20" h="12">
                  <a:moveTo>
                    <a:pt x="20" y="9"/>
                  </a:moveTo>
                  <a:cubicBezTo>
                    <a:pt x="17" y="11"/>
                    <a:pt x="14" y="12"/>
                    <a:pt x="10" y="12"/>
                  </a:cubicBezTo>
                  <a:cubicBezTo>
                    <a:pt x="5" y="12"/>
                    <a:pt x="0" y="11"/>
                    <a:pt x="0" y="7"/>
                  </a:cubicBezTo>
                  <a:cubicBezTo>
                    <a:pt x="0" y="3"/>
                    <a:pt x="6" y="0"/>
                    <a:pt x="10" y="0"/>
                  </a:cubicBezTo>
                  <a:cubicBezTo>
                    <a:pt x="16" y="0"/>
                    <a:pt x="20" y="2"/>
                    <a:pt x="20" y="7"/>
                  </a:cubicBezTo>
                  <a:cubicBezTo>
                    <a:pt x="20" y="10"/>
                    <a:pt x="18" y="11"/>
                    <a:pt x="17" y="12"/>
                  </a:cubicBezTo>
                  <a:lnTo>
                    <a:pt x="20" y="9"/>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3" name="Freeform 152"/>
            <p:cNvSpPr/>
            <p:nvPr/>
          </p:nvSpPr>
          <p:spPr bwMode="auto">
            <a:xfrm>
              <a:off x="6043613" y="1128713"/>
              <a:ext cx="100013" cy="57150"/>
            </a:xfrm>
            <a:custGeom>
              <a:avLst/>
              <a:gdLst/>
              <a:ahLst/>
              <a:cxnLst>
                <a:cxn ang="0">
                  <a:pos x="6" y="43"/>
                </a:cxn>
                <a:cxn ang="0">
                  <a:pos x="0" y="37"/>
                </a:cxn>
                <a:cxn ang="0">
                  <a:pos x="8" y="27"/>
                </a:cxn>
                <a:cxn ang="0">
                  <a:pos x="39" y="0"/>
                </a:cxn>
                <a:cxn ang="0">
                  <a:pos x="45" y="0"/>
                </a:cxn>
                <a:cxn ang="0">
                  <a:pos x="44" y="10"/>
                </a:cxn>
                <a:cxn ang="0">
                  <a:pos x="52" y="6"/>
                </a:cxn>
                <a:cxn ang="0">
                  <a:pos x="76" y="23"/>
                </a:cxn>
                <a:cxn ang="0">
                  <a:pos x="45" y="34"/>
                </a:cxn>
                <a:cxn ang="0">
                  <a:pos x="30" y="37"/>
                </a:cxn>
                <a:cxn ang="0">
                  <a:pos x="6" y="43"/>
                </a:cxn>
              </a:cxnLst>
              <a:rect l="0" t="0" r="r" b="b"/>
              <a:pathLst>
                <a:path w="76" h="43">
                  <a:moveTo>
                    <a:pt x="6" y="43"/>
                  </a:moveTo>
                  <a:cubicBezTo>
                    <a:pt x="1" y="43"/>
                    <a:pt x="0" y="41"/>
                    <a:pt x="0" y="37"/>
                  </a:cubicBezTo>
                  <a:cubicBezTo>
                    <a:pt x="0" y="30"/>
                    <a:pt x="5" y="30"/>
                    <a:pt x="8" y="27"/>
                  </a:cubicBezTo>
                  <a:cubicBezTo>
                    <a:pt x="18" y="17"/>
                    <a:pt x="22" y="0"/>
                    <a:pt x="39" y="0"/>
                  </a:cubicBezTo>
                  <a:cubicBezTo>
                    <a:pt x="43" y="0"/>
                    <a:pt x="43" y="0"/>
                    <a:pt x="45" y="0"/>
                  </a:cubicBezTo>
                  <a:cubicBezTo>
                    <a:pt x="45" y="7"/>
                    <a:pt x="47" y="7"/>
                    <a:pt x="44" y="10"/>
                  </a:cubicBezTo>
                  <a:cubicBezTo>
                    <a:pt x="47" y="9"/>
                    <a:pt x="49" y="6"/>
                    <a:pt x="52" y="6"/>
                  </a:cubicBezTo>
                  <a:cubicBezTo>
                    <a:pt x="58" y="6"/>
                    <a:pt x="76" y="17"/>
                    <a:pt x="76" y="23"/>
                  </a:cubicBezTo>
                  <a:cubicBezTo>
                    <a:pt x="76" y="34"/>
                    <a:pt x="53" y="36"/>
                    <a:pt x="45" y="34"/>
                  </a:cubicBezTo>
                  <a:cubicBezTo>
                    <a:pt x="43" y="34"/>
                    <a:pt x="30" y="37"/>
                    <a:pt x="30" y="37"/>
                  </a:cubicBezTo>
                  <a:lnTo>
                    <a:pt x="6" y="43"/>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4" name="Freeform 153"/>
            <p:cNvSpPr/>
            <p:nvPr/>
          </p:nvSpPr>
          <p:spPr bwMode="auto">
            <a:xfrm>
              <a:off x="5900738" y="1101725"/>
              <a:ext cx="39688" cy="20638"/>
            </a:xfrm>
            <a:custGeom>
              <a:avLst/>
              <a:gdLst/>
              <a:ahLst/>
              <a:cxnLst>
                <a:cxn ang="0">
                  <a:pos x="12" y="0"/>
                </a:cxn>
                <a:cxn ang="0">
                  <a:pos x="30" y="7"/>
                </a:cxn>
                <a:cxn ang="0">
                  <a:pos x="9" y="16"/>
                </a:cxn>
                <a:cxn ang="0">
                  <a:pos x="0" y="5"/>
                </a:cxn>
                <a:cxn ang="0">
                  <a:pos x="12" y="0"/>
                </a:cxn>
              </a:cxnLst>
              <a:rect l="0" t="0" r="r" b="b"/>
              <a:pathLst>
                <a:path w="30" h="16">
                  <a:moveTo>
                    <a:pt x="12" y="0"/>
                  </a:moveTo>
                  <a:cubicBezTo>
                    <a:pt x="14" y="0"/>
                    <a:pt x="26" y="6"/>
                    <a:pt x="30" y="7"/>
                  </a:cubicBezTo>
                  <a:cubicBezTo>
                    <a:pt x="29" y="15"/>
                    <a:pt x="14" y="16"/>
                    <a:pt x="9" y="16"/>
                  </a:cubicBezTo>
                  <a:cubicBezTo>
                    <a:pt x="6" y="16"/>
                    <a:pt x="0" y="9"/>
                    <a:pt x="0" y="5"/>
                  </a:cubicBezTo>
                  <a:cubicBezTo>
                    <a:pt x="0" y="0"/>
                    <a:pt x="9" y="0"/>
                    <a:pt x="12" y="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5" name="Freeform 154"/>
            <p:cNvSpPr/>
            <p:nvPr/>
          </p:nvSpPr>
          <p:spPr bwMode="auto">
            <a:xfrm>
              <a:off x="5913438" y="1057275"/>
              <a:ext cx="139700" cy="98425"/>
            </a:xfrm>
            <a:custGeom>
              <a:avLst/>
              <a:gdLst/>
              <a:ahLst/>
              <a:cxnLst>
                <a:cxn ang="0">
                  <a:pos x="99" y="68"/>
                </a:cxn>
                <a:cxn ang="0">
                  <a:pos x="90" y="74"/>
                </a:cxn>
                <a:cxn ang="0">
                  <a:pos x="41" y="66"/>
                </a:cxn>
                <a:cxn ang="0">
                  <a:pos x="17" y="50"/>
                </a:cxn>
                <a:cxn ang="0">
                  <a:pos x="50" y="36"/>
                </a:cxn>
                <a:cxn ang="0">
                  <a:pos x="32" y="36"/>
                </a:cxn>
                <a:cxn ang="0">
                  <a:pos x="0" y="26"/>
                </a:cxn>
                <a:cxn ang="0">
                  <a:pos x="46" y="0"/>
                </a:cxn>
                <a:cxn ang="0">
                  <a:pos x="72" y="17"/>
                </a:cxn>
                <a:cxn ang="0">
                  <a:pos x="67" y="18"/>
                </a:cxn>
                <a:cxn ang="0">
                  <a:pos x="67" y="27"/>
                </a:cxn>
                <a:cxn ang="0">
                  <a:pos x="59" y="35"/>
                </a:cxn>
                <a:cxn ang="0">
                  <a:pos x="68" y="35"/>
                </a:cxn>
                <a:cxn ang="0">
                  <a:pos x="81" y="39"/>
                </a:cxn>
                <a:cxn ang="0">
                  <a:pos x="90" y="39"/>
                </a:cxn>
                <a:cxn ang="0">
                  <a:pos x="105" y="48"/>
                </a:cxn>
                <a:cxn ang="0">
                  <a:pos x="101" y="57"/>
                </a:cxn>
                <a:cxn ang="0">
                  <a:pos x="92" y="62"/>
                </a:cxn>
                <a:cxn ang="0">
                  <a:pos x="99" y="68"/>
                </a:cxn>
              </a:cxnLst>
              <a:rect l="0" t="0" r="r" b="b"/>
              <a:pathLst>
                <a:path w="105" h="74">
                  <a:moveTo>
                    <a:pt x="99" y="68"/>
                  </a:moveTo>
                  <a:cubicBezTo>
                    <a:pt x="99" y="72"/>
                    <a:pt x="94" y="74"/>
                    <a:pt x="90" y="74"/>
                  </a:cubicBezTo>
                  <a:cubicBezTo>
                    <a:pt x="71" y="74"/>
                    <a:pt x="57" y="66"/>
                    <a:pt x="41" y="66"/>
                  </a:cubicBezTo>
                  <a:cubicBezTo>
                    <a:pt x="35" y="66"/>
                    <a:pt x="24" y="54"/>
                    <a:pt x="17" y="50"/>
                  </a:cubicBezTo>
                  <a:cubicBezTo>
                    <a:pt x="32" y="46"/>
                    <a:pt x="36" y="41"/>
                    <a:pt x="50" y="36"/>
                  </a:cubicBezTo>
                  <a:cubicBezTo>
                    <a:pt x="46" y="36"/>
                    <a:pt x="35" y="36"/>
                    <a:pt x="32" y="36"/>
                  </a:cubicBezTo>
                  <a:cubicBezTo>
                    <a:pt x="20" y="36"/>
                    <a:pt x="11" y="32"/>
                    <a:pt x="0" y="26"/>
                  </a:cubicBezTo>
                  <a:cubicBezTo>
                    <a:pt x="18" y="21"/>
                    <a:pt x="25" y="0"/>
                    <a:pt x="46" y="0"/>
                  </a:cubicBezTo>
                  <a:cubicBezTo>
                    <a:pt x="58" y="0"/>
                    <a:pt x="65" y="12"/>
                    <a:pt x="72" y="17"/>
                  </a:cubicBezTo>
                  <a:cubicBezTo>
                    <a:pt x="68" y="19"/>
                    <a:pt x="69" y="18"/>
                    <a:pt x="67" y="18"/>
                  </a:cubicBezTo>
                  <a:cubicBezTo>
                    <a:pt x="68" y="23"/>
                    <a:pt x="67" y="24"/>
                    <a:pt x="67" y="27"/>
                  </a:cubicBezTo>
                  <a:cubicBezTo>
                    <a:pt x="67" y="29"/>
                    <a:pt x="62" y="33"/>
                    <a:pt x="59" y="35"/>
                  </a:cubicBezTo>
                  <a:cubicBezTo>
                    <a:pt x="63" y="33"/>
                    <a:pt x="65" y="35"/>
                    <a:pt x="68" y="35"/>
                  </a:cubicBezTo>
                  <a:cubicBezTo>
                    <a:pt x="73" y="35"/>
                    <a:pt x="76" y="39"/>
                    <a:pt x="81" y="39"/>
                  </a:cubicBezTo>
                  <a:cubicBezTo>
                    <a:pt x="84" y="39"/>
                    <a:pt x="87" y="39"/>
                    <a:pt x="90" y="39"/>
                  </a:cubicBezTo>
                  <a:cubicBezTo>
                    <a:pt x="99" y="39"/>
                    <a:pt x="99" y="42"/>
                    <a:pt x="105" y="48"/>
                  </a:cubicBezTo>
                  <a:cubicBezTo>
                    <a:pt x="100" y="51"/>
                    <a:pt x="101" y="52"/>
                    <a:pt x="101" y="57"/>
                  </a:cubicBezTo>
                  <a:cubicBezTo>
                    <a:pt x="101" y="61"/>
                    <a:pt x="95" y="62"/>
                    <a:pt x="92" y="62"/>
                  </a:cubicBezTo>
                  <a:cubicBezTo>
                    <a:pt x="95" y="63"/>
                    <a:pt x="99" y="65"/>
                    <a:pt x="99" y="68"/>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6" name="Freeform 155"/>
            <p:cNvSpPr/>
            <p:nvPr/>
          </p:nvSpPr>
          <p:spPr bwMode="auto">
            <a:xfrm>
              <a:off x="5973763" y="1212850"/>
              <a:ext cx="17463" cy="12700"/>
            </a:xfrm>
            <a:custGeom>
              <a:avLst/>
              <a:gdLst/>
              <a:ahLst/>
              <a:cxnLst>
                <a:cxn ang="0">
                  <a:pos x="0" y="5"/>
                </a:cxn>
                <a:cxn ang="0">
                  <a:pos x="7" y="0"/>
                </a:cxn>
                <a:cxn ang="0">
                  <a:pos x="13" y="0"/>
                </a:cxn>
                <a:cxn ang="0">
                  <a:pos x="5" y="9"/>
                </a:cxn>
                <a:cxn ang="0">
                  <a:pos x="0" y="5"/>
                </a:cxn>
              </a:cxnLst>
              <a:rect l="0" t="0" r="r" b="b"/>
              <a:pathLst>
                <a:path w="13" h="9">
                  <a:moveTo>
                    <a:pt x="0" y="5"/>
                  </a:moveTo>
                  <a:cubicBezTo>
                    <a:pt x="3" y="3"/>
                    <a:pt x="5" y="1"/>
                    <a:pt x="7" y="0"/>
                  </a:cubicBezTo>
                  <a:cubicBezTo>
                    <a:pt x="13" y="0"/>
                    <a:pt x="13" y="0"/>
                    <a:pt x="13" y="0"/>
                  </a:cubicBezTo>
                  <a:cubicBezTo>
                    <a:pt x="12" y="6"/>
                    <a:pt x="10" y="9"/>
                    <a:pt x="5" y="9"/>
                  </a:cubicBezTo>
                  <a:cubicBezTo>
                    <a:pt x="2" y="9"/>
                    <a:pt x="1" y="7"/>
                    <a:pt x="0" y="5"/>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7" name="Freeform 156"/>
            <p:cNvSpPr/>
            <p:nvPr/>
          </p:nvSpPr>
          <p:spPr bwMode="auto">
            <a:xfrm>
              <a:off x="5886450" y="1060450"/>
              <a:ext cx="23813" cy="7938"/>
            </a:xfrm>
            <a:custGeom>
              <a:avLst/>
              <a:gdLst/>
              <a:ahLst/>
              <a:cxnLst>
                <a:cxn ang="0">
                  <a:pos x="18" y="4"/>
                </a:cxn>
                <a:cxn ang="0">
                  <a:pos x="0" y="0"/>
                </a:cxn>
                <a:cxn ang="0">
                  <a:pos x="16" y="0"/>
                </a:cxn>
                <a:cxn ang="0">
                  <a:pos x="18" y="4"/>
                </a:cxn>
              </a:cxnLst>
              <a:rect l="0" t="0" r="r" b="b"/>
              <a:pathLst>
                <a:path w="18" h="6">
                  <a:moveTo>
                    <a:pt x="18" y="4"/>
                  </a:moveTo>
                  <a:cubicBezTo>
                    <a:pt x="11" y="5"/>
                    <a:pt x="3" y="6"/>
                    <a:pt x="0" y="0"/>
                  </a:cubicBezTo>
                  <a:cubicBezTo>
                    <a:pt x="16" y="0"/>
                    <a:pt x="16" y="0"/>
                    <a:pt x="16" y="0"/>
                  </a:cubicBezTo>
                  <a:lnTo>
                    <a:pt x="18" y="4"/>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8" name="Freeform 157"/>
            <p:cNvSpPr/>
            <p:nvPr/>
          </p:nvSpPr>
          <p:spPr bwMode="auto">
            <a:xfrm>
              <a:off x="6162675" y="1173163"/>
              <a:ext cx="20638" cy="9525"/>
            </a:xfrm>
            <a:custGeom>
              <a:avLst/>
              <a:gdLst/>
              <a:ahLst/>
              <a:cxnLst>
                <a:cxn ang="0">
                  <a:pos x="15" y="1"/>
                </a:cxn>
                <a:cxn ang="0">
                  <a:pos x="9" y="7"/>
                </a:cxn>
                <a:cxn ang="0">
                  <a:pos x="0" y="2"/>
                </a:cxn>
                <a:cxn ang="0">
                  <a:pos x="15" y="1"/>
                </a:cxn>
              </a:cxnLst>
              <a:rect l="0" t="0" r="r" b="b"/>
              <a:pathLst>
                <a:path w="15" h="7">
                  <a:moveTo>
                    <a:pt x="15" y="1"/>
                  </a:moveTo>
                  <a:cubicBezTo>
                    <a:pt x="14" y="4"/>
                    <a:pt x="12" y="7"/>
                    <a:pt x="9" y="7"/>
                  </a:cubicBezTo>
                  <a:cubicBezTo>
                    <a:pt x="4" y="7"/>
                    <a:pt x="1" y="4"/>
                    <a:pt x="0" y="2"/>
                  </a:cubicBezTo>
                  <a:cubicBezTo>
                    <a:pt x="9" y="0"/>
                    <a:pt x="11" y="2"/>
                    <a:pt x="15" y="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39" name="Freeform 158"/>
            <p:cNvSpPr/>
            <p:nvPr/>
          </p:nvSpPr>
          <p:spPr bwMode="auto">
            <a:xfrm>
              <a:off x="5119688" y="1074738"/>
              <a:ext cx="117475" cy="36513"/>
            </a:xfrm>
            <a:custGeom>
              <a:avLst/>
              <a:gdLst/>
              <a:ahLst/>
              <a:cxnLst>
                <a:cxn ang="0">
                  <a:pos x="76" y="14"/>
                </a:cxn>
                <a:cxn ang="0">
                  <a:pos x="58" y="17"/>
                </a:cxn>
                <a:cxn ang="0">
                  <a:pos x="49" y="27"/>
                </a:cxn>
                <a:cxn ang="0">
                  <a:pos x="44" y="23"/>
                </a:cxn>
                <a:cxn ang="0">
                  <a:pos x="44" y="23"/>
                </a:cxn>
                <a:cxn ang="0">
                  <a:pos x="32" y="17"/>
                </a:cxn>
                <a:cxn ang="0">
                  <a:pos x="41" y="14"/>
                </a:cxn>
                <a:cxn ang="0">
                  <a:pos x="33" y="13"/>
                </a:cxn>
                <a:cxn ang="0">
                  <a:pos x="40" y="9"/>
                </a:cxn>
                <a:cxn ang="0">
                  <a:pos x="30" y="5"/>
                </a:cxn>
                <a:cxn ang="0">
                  <a:pos x="10" y="11"/>
                </a:cxn>
                <a:cxn ang="0">
                  <a:pos x="0" y="9"/>
                </a:cxn>
                <a:cxn ang="0">
                  <a:pos x="34" y="0"/>
                </a:cxn>
                <a:cxn ang="0">
                  <a:pos x="60" y="6"/>
                </a:cxn>
                <a:cxn ang="0">
                  <a:pos x="76" y="0"/>
                </a:cxn>
                <a:cxn ang="0">
                  <a:pos x="89" y="5"/>
                </a:cxn>
                <a:cxn ang="0">
                  <a:pos x="78" y="13"/>
                </a:cxn>
                <a:cxn ang="0">
                  <a:pos x="73" y="13"/>
                </a:cxn>
                <a:cxn ang="0">
                  <a:pos x="73" y="17"/>
                </a:cxn>
                <a:cxn ang="0">
                  <a:pos x="76" y="14"/>
                </a:cxn>
              </a:cxnLst>
              <a:rect l="0" t="0" r="r" b="b"/>
              <a:pathLst>
                <a:path w="89" h="27">
                  <a:moveTo>
                    <a:pt x="76" y="14"/>
                  </a:moveTo>
                  <a:cubicBezTo>
                    <a:pt x="69" y="19"/>
                    <a:pt x="65" y="13"/>
                    <a:pt x="58" y="17"/>
                  </a:cubicBezTo>
                  <a:cubicBezTo>
                    <a:pt x="54" y="19"/>
                    <a:pt x="53" y="27"/>
                    <a:pt x="49" y="27"/>
                  </a:cubicBezTo>
                  <a:cubicBezTo>
                    <a:pt x="47" y="26"/>
                    <a:pt x="45" y="24"/>
                    <a:pt x="44" y="23"/>
                  </a:cubicBezTo>
                  <a:cubicBezTo>
                    <a:pt x="44" y="23"/>
                    <a:pt x="44" y="23"/>
                    <a:pt x="44" y="23"/>
                  </a:cubicBezTo>
                  <a:cubicBezTo>
                    <a:pt x="38" y="23"/>
                    <a:pt x="33" y="21"/>
                    <a:pt x="32" y="17"/>
                  </a:cubicBezTo>
                  <a:cubicBezTo>
                    <a:pt x="36" y="15"/>
                    <a:pt x="38" y="15"/>
                    <a:pt x="41" y="14"/>
                  </a:cubicBezTo>
                  <a:cubicBezTo>
                    <a:pt x="37" y="14"/>
                    <a:pt x="35" y="13"/>
                    <a:pt x="33" y="13"/>
                  </a:cubicBezTo>
                  <a:cubicBezTo>
                    <a:pt x="36" y="11"/>
                    <a:pt x="38" y="11"/>
                    <a:pt x="40" y="9"/>
                  </a:cubicBezTo>
                  <a:cubicBezTo>
                    <a:pt x="36" y="8"/>
                    <a:pt x="34" y="5"/>
                    <a:pt x="30" y="5"/>
                  </a:cubicBezTo>
                  <a:cubicBezTo>
                    <a:pt x="25" y="5"/>
                    <a:pt x="17" y="11"/>
                    <a:pt x="10" y="11"/>
                  </a:cubicBezTo>
                  <a:cubicBezTo>
                    <a:pt x="7" y="11"/>
                    <a:pt x="4" y="9"/>
                    <a:pt x="0" y="9"/>
                  </a:cubicBezTo>
                  <a:cubicBezTo>
                    <a:pt x="4" y="2"/>
                    <a:pt x="25" y="0"/>
                    <a:pt x="34" y="0"/>
                  </a:cubicBezTo>
                  <a:cubicBezTo>
                    <a:pt x="45" y="0"/>
                    <a:pt x="52" y="6"/>
                    <a:pt x="60" y="6"/>
                  </a:cubicBezTo>
                  <a:cubicBezTo>
                    <a:pt x="67" y="6"/>
                    <a:pt x="70" y="0"/>
                    <a:pt x="76" y="0"/>
                  </a:cubicBezTo>
                  <a:cubicBezTo>
                    <a:pt x="82" y="0"/>
                    <a:pt x="87" y="4"/>
                    <a:pt x="89" y="5"/>
                  </a:cubicBezTo>
                  <a:cubicBezTo>
                    <a:pt x="89" y="13"/>
                    <a:pt x="83" y="9"/>
                    <a:pt x="78" y="13"/>
                  </a:cubicBezTo>
                  <a:cubicBezTo>
                    <a:pt x="76" y="13"/>
                    <a:pt x="75" y="13"/>
                    <a:pt x="73" y="13"/>
                  </a:cubicBezTo>
                  <a:cubicBezTo>
                    <a:pt x="73" y="17"/>
                    <a:pt x="73" y="17"/>
                    <a:pt x="73" y="17"/>
                  </a:cubicBezTo>
                  <a:lnTo>
                    <a:pt x="76" y="14"/>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0" name="Freeform 159"/>
            <p:cNvSpPr/>
            <p:nvPr/>
          </p:nvSpPr>
          <p:spPr bwMode="auto">
            <a:xfrm>
              <a:off x="5427663" y="1052513"/>
              <a:ext cx="41275" cy="26988"/>
            </a:xfrm>
            <a:custGeom>
              <a:avLst/>
              <a:gdLst/>
              <a:ahLst/>
              <a:cxnLst>
                <a:cxn ang="0">
                  <a:pos x="7" y="20"/>
                </a:cxn>
                <a:cxn ang="0">
                  <a:pos x="0" y="13"/>
                </a:cxn>
                <a:cxn ang="0">
                  <a:pos x="25" y="0"/>
                </a:cxn>
                <a:cxn ang="0">
                  <a:pos x="31" y="14"/>
                </a:cxn>
                <a:cxn ang="0">
                  <a:pos x="7" y="20"/>
                </a:cxn>
              </a:cxnLst>
              <a:rect l="0" t="0" r="r" b="b"/>
              <a:pathLst>
                <a:path w="31" h="20">
                  <a:moveTo>
                    <a:pt x="7" y="20"/>
                  </a:moveTo>
                  <a:cubicBezTo>
                    <a:pt x="2" y="20"/>
                    <a:pt x="0" y="17"/>
                    <a:pt x="0" y="13"/>
                  </a:cubicBezTo>
                  <a:cubicBezTo>
                    <a:pt x="0" y="7"/>
                    <a:pt x="18" y="0"/>
                    <a:pt x="25" y="0"/>
                  </a:cubicBezTo>
                  <a:cubicBezTo>
                    <a:pt x="31" y="14"/>
                    <a:pt x="31" y="14"/>
                    <a:pt x="31" y="14"/>
                  </a:cubicBezTo>
                  <a:cubicBezTo>
                    <a:pt x="28" y="16"/>
                    <a:pt x="11" y="20"/>
                    <a:pt x="7" y="20"/>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1" name="Freeform 160"/>
            <p:cNvSpPr/>
            <p:nvPr/>
          </p:nvSpPr>
          <p:spPr bwMode="auto">
            <a:xfrm>
              <a:off x="5373688" y="1069975"/>
              <a:ext cx="44450" cy="25400"/>
            </a:xfrm>
            <a:custGeom>
              <a:avLst/>
              <a:gdLst/>
              <a:ahLst/>
              <a:cxnLst>
                <a:cxn ang="0">
                  <a:pos x="33" y="4"/>
                </a:cxn>
                <a:cxn ang="0">
                  <a:pos x="33" y="10"/>
                </a:cxn>
                <a:cxn ang="0">
                  <a:pos x="22" y="12"/>
                </a:cxn>
                <a:cxn ang="0">
                  <a:pos x="24" y="18"/>
                </a:cxn>
                <a:cxn ang="0">
                  <a:pos x="0" y="18"/>
                </a:cxn>
                <a:cxn ang="0">
                  <a:pos x="9" y="6"/>
                </a:cxn>
                <a:cxn ang="0">
                  <a:pos x="9" y="0"/>
                </a:cxn>
                <a:cxn ang="0">
                  <a:pos x="23" y="0"/>
                </a:cxn>
                <a:cxn ang="0">
                  <a:pos x="19" y="4"/>
                </a:cxn>
                <a:cxn ang="0">
                  <a:pos x="33" y="4"/>
                </a:cxn>
              </a:cxnLst>
              <a:rect l="0" t="0" r="r" b="b"/>
              <a:pathLst>
                <a:path w="33" h="20">
                  <a:moveTo>
                    <a:pt x="33" y="4"/>
                  </a:moveTo>
                  <a:cubicBezTo>
                    <a:pt x="33" y="8"/>
                    <a:pt x="33" y="8"/>
                    <a:pt x="33" y="10"/>
                  </a:cubicBezTo>
                  <a:cubicBezTo>
                    <a:pt x="30" y="14"/>
                    <a:pt x="26" y="12"/>
                    <a:pt x="22" y="12"/>
                  </a:cubicBezTo>
                  <a:cubicBezTo>
                    <a:pt x="24" y="18"/>
                    <a:pt x="24" y="18"/>
                    <a:pt x="24" y="18"/>
                  </a:cubicBezTo>
                  <a:cubicBezTo>
                    <a:pt x="22" y="19"/>
                    <a:pt x="0" y="20"/>
                    <a:pt x="0" y="18"/>
                  </a:cubicBezTo>
                  <a:cubicBezTo>
                    <a:pt x="0" y="11"/>
                    <a:pt x="3" y="8"/>
                    <a:pt x="9" y="6"/>
                  </a:cubicBezTo>
                  <a:cubicBezTo>
                    <a:pt x="8" y="2"/>
                    <a:pt x="9" y="1"/>
                    <a:pt x="9" y="0"/>
                  </a:cubicBezTo>
                  <a:cubicBezTo>
                    <a:pt x="23" y="0"/>
                    <a:pt x="23" y="0"/>
                    <a:pt x="23" y="0"/>
                  </a:cubicBezTo>
                  <a:cubicBezTo>
                    <a:pt x="22" y="2"/>
                    <a:pt x="20" y="4"/>
                    <a:pt x="19" y="4"/>
                  </a:cubicBezTo>
                  <a:cubicBezTo>
                    <a:pt x="22" y="4"/>
                    <a:pt x="29" y="4"/>
                    <a:pt x="33" y="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2" name="Freeform 161"/>
            <p:cNvSpPr/>
            <p:nvPr/>
          </p:nvSpPr>
          <p:spPr bwMode="auto">
            <a:xfrm>
              <a:off x="5314950" y="1092200"/>
              <a:ext cx="44450" cy="15875"/>
            </a:xfrm>
            <a:custGeom>
              <a:avLst/>
              <a:gdLst/>
              <a:ahLst/>
              <a:cxnLst>
                <a:cxn ang="0">
                  <a:pos x="20" y="12"/>
                </a:cxn>
                <a:cxn ang="0">
                  <a:pos x="11" y="7"/>
                </a:cxn>
                <a:cxn ang="0">
                  <a:pos x="4" y="12"/>
                </a:cxn>
                <a:cxn ang="0">
                  <a:pos x="0" y="9"/>
                </a:cxn>
                <a:cxn ang="0">
                  <a:pos x="22" y="0"/>
                </a:cxn>
                <a:cxn ang="0">
                  <a:pos x="34" y="5"/>
                </a:cxn>
                <a:cxn ang="0">
                  <a:pos x="20" y="12"/>
                </a:cxn>
              </a:cxnLst>
              <a:rect l="0" t="0" r="r" b="b"/>
              <a:pathLst>
                <a:path w="34" h="12">
                  <a:moveTo>
                    <a:pt x="20" y="12"/>
                  </a:moveTo>
                  <a:cubicBezTo>
                    <a:pt x="17" y="12"/>
                    <a:pt x="14" y="7"/>
                    <a:pt x="11" y="7"/>
                  </a:cubicBezTo>
                  <a:cubicBezTo>
                    <a:pt x="10" y="12"/>
                    <a:pt x="8" y="12"/>
                    <a:pt x="4" y="12"/>
                  </a:cubicBezTo>
                  <a:cubicBezTo>
                    <a:pt x="2" y="12"/>
                    <a:pt x="0" y="10"/>
                    <a:pt x="0" y="9"/>
                  </a:cubicBezTo>
                  <a:cubicBezTo>
                    <a:pt x="0" y="2"/>
                    <a:pt x="17" y="0"/>
                    <a:pt x="22" y="0"/>
                  </a:cubicBezTo>
                  <a:cubicBezTo>
                    <a:pt x="28" y="0"/>
                    <a:pt x="32" y="2"/>
                    <a:pt x="34" y="5"/>
                  </a:cubicBezTo>
                  <a:cubicBezTo>
                    <a:pt x="25" y="5"/>
                    <a:pt x="26" y="12"/>
                    <a:pt x="20" y="12"/>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3" name="Freeform 162"/>
            <p:cNvSpPr/>
            <p:nvPr/>
          </p:nvSpPr>
          <p:spPr bwMode="auto">
            <a:xfrm>
              <a:off x="5287963" y="1038225"/>
              <a:ext cx="71438" cy="49213"/>
            </a:xfrm>
            <a:custGeom>
              <a:avLst/>
              <a:gdLst/>
              <a:ahLst/>
              <a:cxnLst>
                <a:cxn ang="0">
                  <a:pos x="40" y="31"/>
                </a:cxn>
                <a:cxn ang="0">
                  <a:pos x="22" y="36"/>
                </a:cxn>
                <a:cxn ang="0">
                  <a:pos x="0" y="28"/>
                </a:cxn>
                <a:cxn ang="0">
                  <a:pos x="6" y="23"/>
                </a:cxn>
                <a:cxn ang="0">
                  <a:pos x="24" y="23"/>
                </a:cxn>
                <a:cxn ang="0">
                  <a:pos x="17" y="22"/>
                </a:cxn>
                <a:cxn ang="0">
                  <a:pos x="17" y="16"/>
                </a:cxn>
                <a:cxn ang="0">
                  <a:pos x="43" y="8"/>
                </a:cxn>
                <a:cxn ang="0">
                  <a:pos x="51" y="0"/>
                </a:cxn>
                <a:cxn ang="0">
                  <a:pos x="52" y="5"/>
                </a:cxn>
                <a:cxn ang="0">
                  <a:pos x="48" y="11"/>
                </a:cxn>
                <a:cxn ang="0">
                  <a:pos x="28" y="23"/>
                </a:cxn>
                <a:cxn ang="0">
                  <a:pos x="53" y="29"/>
                </a:cxn>
                <a:cxn ang="0">
                  <a:pos x="40" y="31"/>
                </a:cxn>
              </a:cxnLst>
              <a:rect l="0" t="0" r="r" b="b"/>
              <a:pathLst>
                <a:path w="53" h="36">
                  <a:moveTo>
                    <a:pt x="40" y="31"/>
                  </a:moveTo>
                  <a:cubicBezTo>
                    <a:pt x="34" y="31"/>
                    <a:pt x="27" y="36"/>
                    <a:pt x="22" y="36"/>
                  </a:cubicBezTo>
                  <a:cubicBezTo>
                    <a:pt x="19" y="36"/>
                    <a:pt x="1" y="28"/>
                    <a:pt x="0" y="28"/>
                  </a:cubicBezTo>
                  <a:cubicBezTo>
                    <a:pt x="3" y="26"/>
                    <a:pt x="4" y="25"/>
                    <a:pt x="6" y="23"/>
                  </a:cubicBezTo>
                  <a:cubicBezTo>
                    <a:pt x="24" y="23"/>
                    <a:pt x="24" y="23"/>
                    <a:pt x="24" y="23"/>
                  </a:cubicBezTo>
                  <a:cubicBezTo>
                    <a:pt x="19" y="21"/>
                    <a:pt x="21" y="20"/>
                    <a:pt x="17" y="22"/>
                  </a:cubicBezTo>
                  <a:cubicBezTo>
                    <a:pt x="17" y="16"/>
                    <a:pt x="17" y="16"/>
                    <a:pt x="17" y="16"/>
                  </a:cubicBezTo>
                  <a:cubicBezTo>
                    <a:pt x="30" y="16"/>
                    <a:pt x="30" y="8"/>
                    <a:pt x="43" y="8"/>
                  </a:cubicBezTo>
                  <a:cubicBezTo>
                    <a:pt x="44" y="4"/>
                    <a:pt x="47" y="0"/>
                    <a:pt x="51" y="0"/>
                  </a:cubicBezTo>
                  <a:cubicBezTo>
                    <a:pt x="52" y="0"/>
                    <a:pt x="52" y="4"/>
                    <a:pt x="52" y="5"/>
                  </a:cubicBezTo>
                  <a:cubicBezTo>
                    <a:pt x="50" y="7"/>
                    <a:pt x="48" y="9"/>
                    <a:pt x="48" y="11"/>
                  </a:cubicBezTo>
                  <a:cubicBezTo>
                    <a:pt x="41" y="16"/>
                    <a:pt x="32" y="18"/>
                    <a:pt x="28" y="23"/>
                  </a:cubicBezTo>
                  <a:cubicBezTo>
                    <a:pt x="40" y="24"/>
                    <a:pt x="43" y="25"/>
                    <a:pt x="53" y="29"/>
                  </a:cubicBezTo>
                  <a:cubicBezTo>
                    <a:pt x="49" y="32"/>
                    <a:pt x="45" y="31"/>
                    <a:pt x="40" y="31"/>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4" name="Freeform 164"/>
            <p:cNvSpPr/>
            <p:nvPr/>
          </p:nvSpPr>
          <p:spPr bwMode="auto">
            <a:xfrm>
              <a:off x="6675438" y="1244600"/>
              <a:ext cx="128588" cy="49213"/>
            </a:xfrm>
            <a:custGeom>
              <a:avLst/>
              <a:gdLst/>
              <a:ahLst/>
              <a:cxnLst>
                <a:cxn ang="0">
                  <a:pos x="77" y="29"/>
                </a:cxn>
                <a:cxn ang="0">
                  <a:pos x="66" y="34"/>
                </a:cxn>
                <a:cxn ang="0">
                  <a:pos x="58" y="29"/>
                </a:cxn>
                <a:cxn ang="0">
                  <a:pos x="50" y="32"/>
                </a:cxn>
                <a:cxn ang="0">
                  <a:pos x="40" y="36"/>
                </a:cxn>
                <a:cxn ang="0">
                  <a:pos x="32" y="31"/>
                </a:cxn>
                <a:cxn ang="0">
                  <a:pos x="22" y="38"/>
                </a:cxn>
                <a:cxn ang="0">
                  <a:pos x="0" y="18"/>
                </a:cxn>
                <a:cxn ang="0">
                  <a:pos x="20" y="0"/>
                </a:cxn>
                <a:cxn ang="0">
                  <a:pos x="47" y="15"/>
                </a:cxn>
                <a:cxn ang="0">
                  <a:pos x="54" y="3"/>
                </a:cxn>
                <a:cxn ang="0">
                  <a:pos x="97" y="15"/>
                </a:cxn>
                <a:cxn ang="0">
                  <a:pos x="89" y="29"/>
                </a:cxn>
                <a:cxn ang="0">
                  <a:pos x="77" y="29"/>
                </a:cxn>
              </a:cxnLst>
              <a:rect l="0" t="0" r="r" b="b"/>
              <a:pathLst>
                <a:path w="97" h="38">
                  <a:moveTo>
                    <a:pt x="77" y="29"/>
                  </a:moveTo>
                  <a:cubicBezTo>
                    <a:pt x="74" y="29"/>
                    <a:pt x="72" y="34"/>
                    <a:pt x="66" y="34"/>
                  </a:cubicBezTo>
                  <a:cubicBezTo>
                    <a:pt x="63" y="34"/>
                    <a:pt x="62" y="29"/>
                    <a:pt x="58" y="29"/>
                  </a:cubicBezTo>
                  <a:cubicBezTo>
                    <a:pt x="55" y="29"/>
                    <a:pt x="53" y="32"/>
                    <a:pt x="50" y="32"/>
                  </a:cubicBezTo>
                  <a:cubicBezTo>
                    <a:pt x="47" y="32"/>
                    <a:pt x="44" y="36"/>
                    <a:pt x="40" y="36"/>
                  </a:cubicBezTo>
                  <a:cubicBezTo>
                    <a:pt x="36" y="36"/>
                    <a:pt x="34" y="34"/>
                    <a:pt x="32" y="31"/>
                  </a:cubicBezTo>
                  <a:cubicBezTo>
                    <a:pt x="29" y="34"/>
                    <a:pt x="27" y="38"/>
                    <a:pt x="22" y="38"/>
                  </a:cubicBezTo>
                  <a:cubicBezTo>
                    <a:pt x="11" y="38"/>
                    <a:pt x="0" y="29"/>
                    <a:pt x="0" y="18"/>
                  </a:cubicBezTo>
                  <a:cubicBezTo>
                    <a:pt x="0" y="8"/>
                    <a:pt x="11" y="0"/>
                    <a:pt x="20" y="0"/>
                  </a:cubicBezTo>
                  <a:cubicBezTo>
                    <a:pt x="34" y="0"/>
                    <a:pt x="35" y="15"/>
                    <a:pt x="47" y="15"/>
                  </a:cubicBezTo>
                  <a:cubicBezTo>
                    <a:pt x="47" y="8"/>
                    <a:pt x="49" y="3"/>
                    <a:pt x="54" y="3"/>
                  </a:cubicBezTo>
                  <a:cubicBezTo>
                    <a:pt x="62" y="3"/>
                    <a:pt x="88" y="12"/>
                    <a:pt x="97" y="15"/>
                  </a:cubicBezTo>
                  <a:cubicBezTo>
                    <a:pt x="95" y="21"/>
                    <a:pt x="89" y="26"/>
                    <a:pt x="89" y="29"/>
                  </a:cubicBezTo>
                  <a:lnTo>
                    <a:pt x="77" y="29"/>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5" name="Freeform 165"/>
            <p:cNvSpPr/>
            <p:nvPr/>
          </p:nvSpPr>
          <p:spPr bwMode="auto">
            <a:xfrm>
              <a:off x="4924425" y="2252663"/>
              <a:ext cx="34925" cy="17463"/>
            </a:xfrm>
            <a:custGeom>
              <a:avLst/>
              <a:gdLst/>
              <a:ahLst/>
              <a:cxnLst>
                <a:cxn ang="0">
                  <a:pos x="5" y="13"/>
                </a:cxn>
                <a:cxn ang="0">
                  <a:pos x="2" y="11"/>
                </a:cxn>
                <a:cxn ang="0">
                  <a:pos x="0" y="9"/>
                </a:cxn>
                <a:cxn ang="0">
                  <a:pos x="26" y="0"/>
                </a:cxn>
                <a:cxn ang="0">
                  <a:pos x="20" y="4"/>
                </a:cxn>
                <a:cxn ang="0">
                  <a:pos x="19" y="8"/>
                </a:cxn>
                <a:cxn ang="0">
                  <a:pos x="5" y="13"/>
                </a:cxn>
              </a:cxnLst>
              <a:rect l="0" t="0" r="r" b="b"/>
              <a:pathLst>
                <a:path w="26" h="13">
                  <a:moveTo>
                    <a:pt x="5" y="13"/>
                  </a:moveTo>
                  <a:cubicBezTo>
                    <a:pt x="4" y="13"/>
                    <a:pt x="2" y="12"/>
                    <a:pt x="2" y="11"/>
                  </a:cubicBezTo>
                  <a:cubicBezTo>
                    <a:pt x="1" y="11"/>
                    <a:pt x="0" y="9"/>
                    <a:pt x="0" y="9"/>
                  </a:cubicBezTo>
                  <a:cubicBezTo>
                    <a:pt x="7" y="6"/>
                    <a:pt x="18" y="1"/>
                    <a:pt x="26" y="0"/>
                  </a:cubicBezTo>
                  <a:cubicBezTo>
                    <a:pt x="25" y="4"/>
                    <a:pt x="22" y="2"/>
                    <a:pt x="20" y="4"/>
                  </a:cubicBezTo>
                  <a:cubicBezTo>
                    <a:pt x="18" y="4"/>
                    <a:pt x="19" y="7"/>
                    <a:pt x="19" y="8"/>
                  </a:cubicBezTo>
                  <a:cubicBezTo>
                    <a:pt x="18" y="11"/>
                    <a:pt x="9" y="13"/>
                    <a:pt x="5" y="13"/>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6" name="Freeform 166"/>
            <p:cNvSpPr/>
            <p:nvPr/>
          </p:nvSpPr>
          <p:spPr bwMode="auto">
            <a:xfrm>
              <a:off x="5183188" y="1463675"/>
              <a:ext cx="34925" cy="25400"/>
            </a:xfrm>
            <a:custGeom>
              <a:avLst/>
              <a:gdLst/>
              <a:ahLst/>
              <a:cxnLst>
                <a:cxn ang="0">
                  <a:pos x="5" y="4"/>
                </a:cxn>
                <a:cxn ang="0">
                  <a:pos x="11" y="0"/>
                </a:cxn>
                <a:cxn ang="0">
                  <a:pos x="26" y="6"/>
                </a:cxn>
                <a:cxn ang="0">
                  <a:pos x="26" y="12"/>
                </a:cxn>
                <a:cxn ang="0">
                  <a:pos x="8" y="19"/>
                </a:cxn>
                <a:cxn ang="0">
                  <a:pos x="0" y="14"/>
                </a:cxn>
                <a:cxn ang="0">
                  <a:pos x="5" y="4"/>
                </a:cxn>
              </a:cxnLst>
              <a:rect l="0" t="0" r="r" b="b"/>
              <a:pathLst>
                <a:path w="26" h="19">
                  <a:moveTo>
                    <a:pt x="5" y="4"/>
                  </a:moveTo>
                  <a:cubicBezTo>
                    <a:pt x="8" y="4"/>
                    <a:pt x="8" y="0"/>
                    <a:pt x="11" y="0"/>
                  </a:cubicBezTo>
                  <a:cubicBezTo>
                    <a:pt x="17" y="0"/>
                    <a:pt x="20" y="5"/>
                    <a:pt x="26" y="6"/>
                  </a:cubicBezTo>
                  <a:cubicBezTo>
                    <a:pt x="26" y="12"/>
                    <a:pt x="26" y="12"/>
                    <a:pt x="26" y="12"/>
                  </a:cubicBezTo>
                  <a:cubicBezTo>
                    <a:pt x="20" y="15"/>
                    <a:pt x="15" y="19"/>
                    <a:pt x="8" y="19"/>
                  </a:cubicBezTo>
                  <a:cubicBezTo>
                    <a:pt x="2" y="19"/>
                    <a:pt x="0" y="19"/>
                    <a:pt x="0" y="14"/>
                  </a:cubicBezTo>
                  <a:cubicBezTo>
                    <a:pt x="0" y="12"/>
                    <a:pt x="4" y="4"/>
                    <a:pt x="5" y="4"/>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7" name="Freeform 167"/>
            <p:cNvSpPr/>
            <p:nvPr/>
          </p:nvSpPr>
          <p:spPr bwMode="auto">
            <a:xfrm>
              <a:off x="5359400" y="1433513"/>
              <a:ext cx="26988" cy="25400"/>
            </a:xfrm>
            <a:custGeom>
              <a:avLst/>
              <a:gdLst/>
              <a:ahLst/>
              <a:cxnLst>
                <a:cxn ang="0">
                  <a:pos x="21" y="17"/>
                </a:cxn>
                <a:cxn ang="0">
                  <a:pos x="15" y="19"/>
                </a:cxn>
                <a:cxn ang="0">
                  <a:pos x="0" y="8"/>
                </a:cxn>
                <a:cxn ang="0">
                  <a:pos x="21" y="17"/>
                </a:cxn>
              </a:cxnLst>
              <a:rect l="0" t="0" r="r" b="b"/>
              <a:pathLst>
                <a:path w="21" h="20">
                  <a:moveTo>
                    <a:pt x="21" y="17"/>
                  </a:moveTo>
                  <a:cubicBezTo>
                    <a:pt x="21" y="20"/>
                    <a:pt x="15" y="19"/>
                    <a:pt x="15" y="19"/>
                  </a:cubicBezTo>
                  <a:cubicBezTo>
                    <a:pt x="10" y="19"/>
                    <a:pt x="0" y="14"/>
                    <a:pt x="0" y="8"/>
                  </a:cubicBezTo>
                  <a:cubicBezTo>
                    <a:pt x="0" y="0"/>
                    <a:pt x="21" y="8"/>
                    <a:pt x="21" y="17"/>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8" name="Freeform 168"/>
            <p:cNvSpPr/>
            <p:nvPr/>
          </p:nvSpPr>
          <p:spPr bwMode="auto">
            <a:xfrm>
              <a:off x="5549900" y="1338263"/>
              <a:ext cx="25400" cy="17463"/>
            </a:xfrm>
            <a:custGeom>
              <a:avLst/>
              <a:gdLst/>
              <a:ahLst/>
              <a:cxnLst>
                <a:cxn ang="0">
                  <a:pos x="2" y="13"/>
                </a:cxn>
                <a:cxn ang="0">
                  <a:pos x="19" y="8"/>
                </a:cxn>
                <a:cxn ang="0">
                  <a:pos x="8" y="0"/>
                </a:cxn>
                <a:cxn ang="0">
                  <a:pos x="2" y="9"/>
                </a:cxn>
                <a:cxn ang="0">
                  <a:pos x="2" y="13"/>
                </a:cxn>
              </a:cxnLst>
              <a:rect l="0" t="0" r="r" b="b"/>
              <a:pathLst>
                <a:path w="19" h="13">
                  <a:moveTo>
                    <a:pt x="2" y="13"/>
                  </a:moveTo>
                  <a:cubicBezTo>
                    <a:pt x="7" y="13"/>
                    <a:pt x="17" y="10"/>
                    <a:pt x="19" y="8"/>
                  </a:cubicBezTo>
                  <a:cubicBezTo>
                    <a:pt x="15" y="5"/>
                    <a:pt x="13" y="0"/>
                    <a:pt x="8" y="0"/>
                  </a:cubicBezTo>
                  <a:cubicBezTo>
                    <a:pt x="4" y="0"/>
                    <a:pt x="2" y="5"/>
                    <a:pt x="2" y="9"/>
                  </a:cubicBezTo>
                  <a:cubicBezTo>
                    <a:pt x="2" y="10"/>
                    <a:pt x="0" y="13"/>
                    <a:pt x="2" y="13"/>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49" name="Freeform 169"/>
            <p:cNvSpPr/>
            <p:nvPr/>
          </p:nvSpPr>
          <p:spPr bwMode="auto">
            <a:xfrm>
              <a:off x="6727825" y="1320800"/>
              <a:ext cx="53975" cy="22225"/>
            </a:xfrm>
            <a:custGeom>
              <a:avLst/>
              <a:gdLst/>
              <a:ahLst/>
              <a:cxnLst>
                <a:cxn ang="0">
                  <a:pos x="0" y="13"/>
                </a:cxn>
                <a:cxn ang="0">
                  <a:pos x="21" y="0"/>
                </a:cxn>
                <a:cxn ang="0">
                  <a:pos x="41" y="17"/>
                </a:cxn>
                <a:cxn ang="0">
                  <a:pos x="28" y="17"/>
                </a:cxn>
                <a:cxn ang="0">
                  <a:pos x="2" y="11"/>
                </a:cxn>
                <a:cxn ang="0">
                  <a:pos x="0" y="13"/>
                </a:cxn>
              </a:cxnLst>
              <a:rect l="0" t="0" r="r" b="b"/>
              <a:pathLst>
                <a:path w="41" h="17">
                  <a:moveTo>
                    <a:pt x="0" y="13"/>
                  </a:moveTo>
                  <a:cubicBezTo>
                    <a:pt x="5" y="6"/>
                    <a:pt x="11" y="0"/>
                    <a:pt x="21" y="0"/>
                  </a:cubicBezTo>
                  <a:cubicBezTo>
                    <a:pt x="32" y="0"/>
                    <a:pt x="41" y="7"/>
                    <a:pt x="41" y="17"/>
                  </a:cubicBezTo>
                  <a:cubicBezTo>
                    <a:pt x="28" y="17"/>
                    <a:pt x="28" y="17"/>
                    <a:pt x="28" y="17"/>
                  </a:cubicBezTo>
                  <a:cubicBezTo>
                    <a:pt x="20" y="13"/>
                    <a:pt x="10" y="14"/>
                    <a:pt x="2" y="11"/>
                  </a:cubicBezTo>
                  <a:lnTo>
                    <a:pt x="0" y="13"/>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50" name="Freeform 170"/>
            <p:cNvSpPr/>
            <p:nvPr/>
          </p:nvSpPr>
          <p:spPr bwMode="auto">
            <a:xfrm>
              <a:off x="6832600" y="1266825"/>
              <a:ext cx="74613" cy="26988"/>
            </a:xfrm>
            <a:custGeom>
              <a:avLst/>
              <a:gdLst/>
              <a:ahLst/>
              <a:cxnLst>
                <a:cxn ang="0">
                  <a:pos x="0" y="0"/>
                </a:cxn>
                <a:cxn ang="0">
                  <a:pos x="52" y="9"/>
                </a:cxn>
                <a:cxn ang="0">
                  <a:pos x="56" y="13"/>
                </a:cxn>
                <a:cxn ang="0">
                  <a:pos x="37" y="20"/>
                </a:cxn>
                <a:cxn ang="0">
                  <a:pos x="4" y="3"/>
                </a:cxn>
                <a:cxn ang="0">
                  <a:pos x="0" y="0"/>
                </a:cxn>
              </a:cxnLst>
              <a:rect l="0" t="0" r="r" b="b"/>
              <a:pathLst>
                <a:path w="56" h="20">
                  <a:moveTo>
                    <a:pt x="0" y="0"/>
                  </a:moveTo>
                  <a:cubicBezTo>
                    <a:pt x="4" y="3"/>
                    <a:pt x="50" y="9"/>
                    <a:pt x="52" y="9"/>
                  </a:cubicBezTo>
                  <a:cubicBezTo>
                    <a:pt x="55" y="9"/>
                    <a:pt x="56" y="11"/>
                    <a:pt x="56" y="13"/>
                  </a:cubicBezTo>
                  <a:cubicBezTo>
                    <a:pt x="56" y="18"/>
                    <a:pt x="44" y="20"/>
                    <a:pt x="37" y="20"/>
                  </a:cubicBezTo>
                  <a:cubicBezTo>
                    <a:pt x="25" y="20"/>
                    <a:pt x="4" y="14"/>
                    <a:pt x="4" y="3"/>
                  </a:cubicBezTo>
                  <a:lnTo>
                    <a:pt x="0" y="0"/>
                  </a:lnTo>
                  <a:close/>
                </a:path>
              </a:pathLst>
            </a:custGeom>
            <a:grpFill/>
            <a:ln w="9525">
              <a:noFill/>
              <a:round/>
            </a:ln>
          </p:spPr>
          <p:txBody>
            <a:bodyPr vert="horz" wrap="square" lIns="91440" tIns="45720" rIns="91440" bIns="45720" numCol="1" anchor="t" anchorCtr="0" compatLnSpc="1"/>
            <a:lstStyle/>
            <a:p>
              <a:endParaRPr lang="en-US">
                <a:latin typeface="+mn-ea"/>
              </a:endParaRPr>
            </a:p>
          </p:txBody>
        </p:sp>
        <p:sp>
          <p:nvSpPr>
            <p:cNvPr id="451" name="Freeform 171"/>
            <p:cNvSpPr/>
            <p:nvPr/>
          </p:nvSpPr>
          <p:spPr bwMode="auto">
            <a:xfrm>
              <a:off x="6726238" y="1303338"/>
              <a:ext cx="15875" cy="17463"/>
            </a:xfrm>
            <a:custGeom>
              <a:avLst/>
              <a:gdLst/>
              <a:ahLst/>
              <a:cxnLst>
                <a:cxn ang="0">
                  <a:pos x="12" y="7"/>
                </a:cxn>
                <a:cxn ang="0">
                  <a:pos x="5" y="13"/>
                </a:cxn>
                <a:cxn ang="0">
                  <a:pos x="0" y="7"/>
                </a:cxn>
                <a:cxn ang="0">
                  <a:pos x="12" y="7"/>
                </a:cxn>
              </a:cxnLst>
              <a:rect l="0" t="0" r="r" b="b"/>
              <a:pathLst>
                <a:path w="12" h="13">
                  <a:moveTo>
                    <a:pt x="12" y="7"/>
                  </a:moveTo>
                  <a:cubicBezTo>
                    <a:pt x="12" y="11"/>
                    <a:pt x="8" y="13"/>
                    <a:pt x="5" y="13"/>
                  </a:cubicBezTo>
                  <a:cubicBezTo>
                    <a:pt x="0" y="13"/>
                    <a:pt x="0" y="11"/>
                    <a:pt x="0" y="7"/>
                  </a:cubicBezTo>
                  <a:cubicBezTo>
                    <a:pt x="0" y="0"/>
                    <a:pt x="12" y="1"/>
                    <a:pt x="12" y="7"/>
                  </a:cubicBezTo>
                  <a:close/>
                </a:path>
              </a:pathLst>
            </a:custGeom>
            <a:grpFill/>
            <a:ln w="9525">
              <a:noFill/>
              <a:round/>
            </a:ln>
          </p:spPr>
          <p:txBody>
            <a:bodyPr vert="horz" wrap="square" lIns="91440" tIns="45720" rIns="91440" bIns="45720" numCol="1" anchor="t" anchorCtr="0" compatLnSpc="1"/>
            <a:lstStyle/>
            <a:p>
              <a:endParaRPr lang="en-US">
                <a:latin typeface="+mn-ea"/>
              </a:endParaRPr>
            </a:p>
          </p:txBody>
        </p:sp>
      </p:grpSp>
      <p:graphicFrame>
        <p:nvGraphicFramePr>
          <p:cNvPr id="223" name="Chart 222"/>
          <p:cNvGraphicFramePr/>
          <p:nvPr/>
        </p:nvGraphicFramePr>
        <p:xfrm>
          <a:off x="8400942" y="1093611"/>
          <a:ext cx="3147813" cy="4702932"/>
        </p:xfrm>
        <a:graphic>
          <a:graphicData uri="http://schemas.openxmlformats.org/drawingml/2006/chart">
            <c:chart xmlns:c="http://schemas.openxmlformats.org/drawingml/2006/chart" xmlns:r="http://schemas.openxmlformats.org/officeDocument/2006/relationships" r:id="rId3"/>
          </a:graphicData>
        </a:graphic>
      </p:graphicFrame>
      <p:grpSp>
        <p:nvGrpSpPr>
          <p:cNvPr id="200" name="Group 470"/>
          <p:cNvGrpSpPr/>
          <p:nvPr/>
        </p:nvGrpSpPr>
        <p:grpSpPr>
          <a:xfrm>
            <a:off x="2254233" y="5796536"/>
            <a:ext cx="7572510" cy="268134"/>
            <a:chOff x="1634043" y="4160313"/>
            <a:chExt cx="5680122" cy="201101"/>
          </a:xfrm>
        </p:grpSpPr>
        <p:grpSp>
          <p:nvGrpSpPr>
            <p:cNvPr id="201" name="Group 50"/>
            <p:cNvGrpSpPr/>
            <p:nvPr/>
          </p:nvGrpSpPr>
          <p:grpSpPr>
            <a:xfrm>
              <a:off x="1634043" y="4160313"/>
              <a:ext cx="812467" cy="194452"/>
              <a:chOff x="2221306" y="3914656"/>
              <a:chExt cx="812467" cy="194452"/>
            </a:xfrm>
          </p:grpSpPr>
          <p:sp>
            <p:nvSpPr>
              <p:cNvPr id="217" name="TextBox 462"/>
              <p:cNvSpPr txBox="1"/>
              <p:nvPr/>
            </p:nvSpPr>
            <p:spPr>
              <a:xfrm>
                <a:off x="2456617" y="3934938"/>
                <a:ext cx="577156" cy="173124"/>
              </a:xfrm>
              <a:prstGeom prst="rect">
                <a:avLst/>
              </a:prstGeom>
              <a:noFill/>
            </p:spPr>
            <p:txBody>
              <a:bodyPr wrap="none" lIns="0" tIns="0" rIns="0" bIns="0" rtlCol="0" anchor="t">
                <a:spAutoFit/>
              </a:bodyPr>
              <a:lstStyle/>
              <a:p>
                <a:r>
                  <a:rPr lang="zh-CN" altLang="en-US" sz="1500" dirty="0">
                    <a:solidFill>
                      <a:schemeClr val="tx1">
                        <a:lumMod val="75000"/>
                        <a:lumOff val="25000"/>
                      </a:schemeClr>
                    </a:solidFill>
                    <a:latin typeface="+mn-ea"/>
                  </a:rPr>
                  <a:t>地理位置</a:t>
                </a:r>
                <a:endParaRPr lang="en-US" sz="1500" dirty="0">
                  <a:solidFill>
                    <a:schemeClr val="tx1">
                      <a:lumMod val="75000"/>
                      <a:lumOff val="25000"/>
                    </a:schemeClr>
                  </a:solidFill>
                  <a:latin typeface="+mn-ea"/>
                </a:endParaRPr>
              </a:p>
            </p:txBody>
          </p:sp>
          <p:sp>
            <p:nvSpPr>
              <p:cNvPr id="218" name="Rounded Rectangle 463"/>
              <p:cNvSpPr>
                <a:spLocks noChangeAspect="1"/>
              </p:cNvSpPr>
              <p:nvPr/>
            </p:nvSpPr>
            <p:spPr>
              <a:xfrm>
                <a:off x="2221306" y="3914656"/>
                <a:ext cx="200183" cy="19445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nvGrpSpPr>
            <p:cNvPr id="202" name="Group 45"/>
            <p:cNvGrpSpPr/>
            <p:nvPr/>
          </p:nvGrpSpPr>
          <p:grpSpPr>
            <a:xfrm>
              <a:off x="2676430" y="4163115"/>
              <a:ext cx="821934" cy="194452"/>
              <a:chOff x="3461043" y="3950717"/>
              <a:chExt cx="821934" cy="194452"/>
            </a:xfrm>
          </p:grpSpPr>
          <p:sp>
            <p:nvSpPr>
              <p:cNvPr id="215" name="TextBox 460"/>
              <p:cNvSpPr txBox="1"/>
              <p:nvPr/>
            </p:nvSpPr>
            <p:spPr>
              <a:xfrm>
                <a:off x="3705821" y="3970999"/>
                <a:ext cx="577156" cy="173124"/>
              </a:xfrm>
              <a:prstGeom prst="rect">
                <a:avLst/>
              </a:prstGeom>
              <a:noFill/>
            </p:spPr>
            <p:txBody>
              <a:bodyPr wrap="none" lIns="0" tIns="0" rIns="0" bIns="0" rtlCol="0" anchor="t">
                <a:spAutoFit/>
              </a:bodyPr>
              <a:lstStyle/>
              <a:p>
                <a:r>
                  <a:rPr lang="zh-CN" altLang="en-US" sz="1500" dirty="0">
                    <a:solidFill>
                      <a:schemeClr val="tx1">
                        <a:lumMod val="75000"/>
                        <a:lumOff val="25000"/>
                      </a:schemeClr>
                    </a:solidFill>
                    <a:latin typeface="+mn-ea"/>
                  </a:rPr>
                  <a:t>地理位置</a:t>
                </a:r>
                <a:endParaRPr lang="en-US" sz="1500" dirty="0">
                  <a:solidFill>
                    <a:schemeClr val="tx1">
                      <a:lumMod val="75000"/>
                      <a:lumOff val="25000"/>
                    </a:schemeClr>
                  </a:solidFill>
                  <a:latin typeface="+mn-ea"/>
                </a:endParaRPr>
              </a:p>
            </p:txBody>
          </p:sp>
          <p:sp>
            <p:nvSpPr>
              <p:cNvPr id="216" name="Rounded Rectangle 461"/>
              <p:cNvSpPr>
                <a:spLocks noChangeAspect="1"/>
              </p:cNvSpPr>
              <p:nvPr/>
            </p:nvSpPr>
            <p:spPr>
              <a:xfrm>
                <a:off x="3461043" y="3950717"/>
                <a:ext cx="200183" cy="19445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nvGrpSpPr>
            <p:cNvPr id="203" name="Group 37"/>
            <p:cNvGrpSpPr/>
            <p:nvPr/>
          </p:nvGrpSpPr>
          <p:grpSpPr>
            <a:xfrm>
              <a:off x="3642327" y="4163115"/>
              <a:ext cx="813834" cy="194452"/>
              <a:chOff x="4094136" y="3951816"/>
              <a:chExt cx="813834" cy="194452"/>
            </a:xfrm>
          </p:grpSpPr>
          <p:sp>
            <p:nvSpPr>
              <p:cNvPr id="213" name="TextBox 458"/>
              <p:cNvSpPr txBox="1"/>
              <p:nvPr/>
            </p:nvSpPr>
            <p:spPr>
              <a:xfrm>
                <a:off x="4330814" y="3969633"/>
                <a:ext cx="577156" cy="173124"/>
              </a:xfrm>
              <a:prstGeom prst="rect">
                <a:avLst/>
              </a:prstGeom>
              <a:noFill/>
            </p:spPr>
            <p:txBody>
              <a:bodyPr wrap="none" lIns="0" tIns="0" rIns="0" bIns="0" rtlCol="0" anchor="t">
                <a:spAutoFit/>
              </a:bodyPr>
              <a:lstStyle/>
              <a:p>
                <a:r>
                  <a:rPr lang="zh-CN" altLang="en-US" sz="1500" dirty="0">
                    <a:solidFill>
                      <a:schemeClr val="tx1">
                        <a:lumMod val="75000"/>
                        <a:lumOff val="25000"/>
                      </a:schemeClr>
                    </a:solidFill>
                    <a:latin typeface="+mn-ea"/>
                  </a:rPr>
                  <a:t>地理位置</a:t>
                </a:r>
                <a:endParaRPr lang="en-US" sz="1500" dirty="0">
                  <a:solidFill>
                    <a:schemeClr val="tx1">
                      <a:lumMod val="75000"/>
                      <a:lumOff val="25000"/>
                    </a:schemeClr>
                  </a:solidFill>
                  <a:latin typeface="+mn-ea"/>
                </a:endParaRPr>
              </a:p>
            </p:txBody>
          </p:sp>
          <p:sp>
            <p:nvSpPr>
              <p:cNvPr id="214" name="Rounded Rectangle 459"/>
              <p:cNvSpPr>
                <a:spLocks noChangeAspect="1"/>
              </p:cNvSpPr>
              <p:nvPr/>
            </p:nvSpPr>
            <p:spPr>
              <a:xfrm>
                <a:off x="4094136" y="3951816"/>
                <a:ext cx="200183" cy="19445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nvGrpSpPr>
            <p:cNvPr id="204" name="Group 41"/>
            <p:cNvGrpSpPr/>
            <p:nvPr/>
          </p:nvGrpSpPr>
          <p:grpSpPr>
            <a:xfrm>
              <a:off x="4722373" y="4160313"/>
              <a:ext cx="819250" cy="201101"/>
              <a:chOff x="5756270" y="3949014"/>
              <a:chExt cx="819250" cy="201101"/>
            </a:xfrm>
          </p:grpSpPr>
          <p:sp>
            <p:nvSpPr>
              <p:cNvPr id="211" name="TextBox 456"/>
              <p:cNvSpPr txBox="1"/>
              <p:nvPr/>
            </p:nvSpPr>
            <p:spPr>
              <a:xfrm>
                <a:off x="5998364" y="3976991"/>
                <a:ext cx="577156" cy="173124"/>
              </a:xfrm>
              <a:prstGeom prst="rect">
                <a:avLst/>
              </a:prstGeom>
              <a:noFill/>
            </p:spPr>
            <p:txBody>
              <a:bodyPr wrap="none" lIns="0" tIns="0" rIns="0" bIns="0" rtlCol="0" anchor="t">
                <a:spAutoFit/>
              </a:bodyPr>
              <a:lstStyle/>
              <a:p>
                <a:r>
                  <a:rPr lang="zh-CN" altLang="en-US" sz="1500" dirty="0">
                    <a:solidFill>
                      <a:schemeClr val="tx1">
                        <a:lumMod val="75000"/>
                        <a:lumOff val="25000"/>
                      </a:schemeClr>
                    </a:solidFill>
                    <a:latin typeface="+mn-ea"/>
                  </a:rPr>
                  <a:t>地理位置</a:t>
                </a:r>
                <a:endParaRPr lang="en-US" sz="1500" dirty="0">
                  <a:solidFill>
                    <a:schemeClr val="tx1">
                      <a:lumMod val="75000"/>
                      <a:lumOff val="25000"/>
                    </a:schemeClr>
                  </a:solidFill>
                  <a:latin typeface="+mn-ea"/>
                </a:endParaRPr>
              </a:p>
            </p:txBody>
          </p:sp>
          <p:sp>
            <p:nvSpPr>
              <p:cNvPr id="212" name="Rounded Rectangle 457"/>
              <p:cNvSpPr>
                <a:spLocks noChangeAspect="1"/>
              </p:cNvSpPr>
              <p:nvPr/>
            </p:nvSpPr>
            <p:spPr>
              <a:xfrm>
                <a:off x="5756270" y="3949014"/>
                <a:ext cx="200183" cy="19445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nvGrpSpPr>
            <p:cNvPr id="205" name="Group 41"/>
            <p:cNvGrpSpPr/>
            <p:nvPr/>
          </p:nvGrpSpPr>
          <p:grpSpPr>
            <a:xfrm>
              <a:off x="5665750" y="4160313"/>
              <a:ext cx="819250" cy="201101"/>
              <a:chOff x="6077268" y="3949014"/>
              <a:chExt cx="819250" cy="201101"/>
            </a:xfrm>
          </p:grpSpPr>
          <p:sp>
            <p:nvSpPr>
              <p:cNvPr id="209" name="TextBox 465"/>
              <p:cNvSpPr txBox="1"/>
              <p:nvPr/>
            </p:nvSpPr>
            <p:spPr>
              <a:xfrm>
                <a:off x="6319362" y="3976991"/>
                <a:ext cx="577156" cy="173124"/>
              </a:xfrm>
              <a:prstGeom prst="rect">
                <a:avLst/>
              </a:prstGeom>
              <a:noFill/>
            </p:spPr>
            <p:txBody>
              <a:bodyPr wrap="none" lIns="0" tIns="0" rIns="0" bIns="0" rtlCol="0" anchor="t">
                <a:spAutoFit/>
              </a:bodyPr>
              <a:lstStyle/>
              <a:p>
                <a:r>
                  <a:rPr lang="zh-CN" altLang="en-US" sz="1500" dirty="0">
                    <a:solidFill>
                      <a:schemeClr val="tx1">
                        <a:lumMod val="75000"/>
                        <a:lumOff val="25000"/>
                      </a:schemeClr>
                    </a:solidFill>
                    <a:latin typeface="+mn-ea"/>
                  </a:rPr>
                  <a:t>地理位置</a:t>
                </a:r>
                <a:endParaRPr lang="en-US" sz="1500" dirty="0">
                  <a:solidFill>
                    <a:schemeClr val="tx1">
                      <a:lumMod val="75000"/>
                      <a:lumOff val="25000"/>
                    </a:schemeClr>
                  </a:solidFill>
                  <a:latin typeface="+mn-ea"/>
                </a:endParaRPr>
              </a:p>
            </p:txBody>
          </p:sp>
          <p:sp>
            <p:nvSpPr>
              <p:cNvPr id="210" name="Rounded Rectangle 466"/>
              <p:cNvSpPr>
                <a:spLocks noChangeAspect="1"/>
              </p:cNvSpPr>
              <p:nvPr/>
            </p:nvSpPr>
            <p:spPr>
              <a:xfrm>
                <a:off x="6077268" y="3949014"/>
                <a:ext cx="200183" cy="19445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nvGrpSpPr>
            <p:cNvPr id="206" name="Group 41"/>
            <p:cNvGrpSpPr/>
            <p:nvPr/>
          </p:nvGrpSpPr>
          <p:grpSpPr>
            <a:xfrm>
              <a:off x="6494915" y="4160313"/>
              <a:ext cx="819250" cy="201101"/>
              <a:chOff x="6077268" y="3949014"/>
              <a:chExt cx="819250" cy="201101"/>
            </a:xfrm>
          </p:grpSpPr>
          <p:sp>
            <p:nvSpPr>
              <p:cNvPr id="207" name="TextBox 468"/>
              <p:cNvSpPr txBox="1"/>
              <p:nvPr/>
            </p:nvSpPr>
            <p:spPr>
              <a:xfrm>
                <a:off x="6319362" y="3976991"/>
                <a:ext cx="577156" cy="173124"/>
              </a:xfrm>
              <a:prstGeom prst="rect">
                <a:avLst/>
              </a:prstGeom>
              <a:noFill/>
            </p:spPr>
            <p:txBody>
              <a:bodyPr wrap="none" lIns="0" tIns="0" rIns="0" bIns="0" rtlCol="0" anchor="t">
                <a:spAutoFit/>
              </a:bodyPr>
              <a:lstStyle/>
              <a:p>
                <a:r>
                  <a:rPr lang="zh-CN" altLang="en-US" sz="1500" dirty="0">
                    <a:solidFill>
                      <a:schemeClr val="tx1">
                        <a:lumMod val="75000"/>
                        <a:lumOff val="25000"/>
                      </a:schemeClr>
                    </a:solidFill>
                    <a:latin typeface="+mn-ea"/>
                  </a:rPr>
                  <a:t>地理位置</a:t>
                </a:r>
                <a:endParaRPr lang="en-US" sz="1500" dirty="0">
                  <a:solidFill>
                    <a:schemeClr val="tx1">
                      <a:lumMod val="75000"/>
                      <a:lumOff val="25000"/>
                    </a:schemeClr>
                  </a:solidFill>
                  <a:latin typeface="+mn-ea"/>
                </a:endParaRPr>
              </a:p>
            </p:txBody>
          </p:sp>
          <p:sp>
            <p:nvSpPr>
              <p:cNvPr id="208" name="Rounded Rectangle 469"/>
              <p:cNvSpPr>
                <a:spLocks noChangeAspect="1"/>
              </p:cNvSpPr>
              <p:nvPr/>
            </p:nvSpPr>
            <p:spPr>
              <a:xfrm>
                <a:off x="6077268" y="3949014"/>
                <a:ext cx="200183" cy="194452"/>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gr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3" presetClass="entr" presetSubtype="16"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fltVal val="0"/>
                                          </p:val>
                                        </p:tav>
                                        <p:tav tm="100000">
                                          <p:val>
                                            <p:strVal val="#ppt_w"/>
                                          </p:val>
                                        </p:tav>
                                      </p:tavLst>
                                    </p:anim>
                                    <p:anim calcmode="lin" valueType="num">
                                      <p:cBhvr>
                                        <p:cTn id="18" dur="500" fill="hold"/>
                                        <p:tgtEl>
                                          <p:spTgt spid="10"/>
                                        </p:tgtEl>
                                        <p:attrNameLst>
                                          <p:attrName>ppt_h</p:attrName>
                                        </p:attrNameLst>
                                      </p:cBhvr>
                                      <p:tavLst>
                                        <p:tav tm="0">
                                          <p:val>
                                            <p:fltVal val="0"/>
                                          </p:val>
                                        </p:tav>
                                        <p:tav tm="100000">
                                          <p:val>
                                            <p:strVal val="#ppt_h"/>
                                          </p:val>
                                        </p:tav>
                                      </p:tavLst>
                                    </p:anim>
                                  </p:childTnLst>
                                </p:cTn>
                              </p:par>
                            </p:childTnLst>
                          </p:cTn>
                        </p:par>
                        <p:par>
                          <p:cTn id="19" fill="hold">
                            <p:stCondLst>
                              <p:cond delay="1500"/>
                            </p:stCondLst>
                            <p:childTnLst>
                              <p:par>
                                <p:cTn id="20" presetID="23" presetClass="entr" presetSubtype="16"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childTnLst>
                                </p:cTn>
                              </p:par>
                            </p:childTnLst>
                          </p:cTn>
                        </p:par>
                        <p:par>
                          <p:cTn id="24" fill="hold">
                            <p:stCondLst>
                              <p:cond delay="2000"/>
                            </p:stCondLst>
                            <p:childTnLst>
                              <p:par>
                                <p:cTn id="25" presetID="23" presetClass="entr" presetSubtype="16" fill="hold" nodeType="after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p:cTn id="27" dur="500" fill="hold"/>
                                        <p:tgtEl>
                                          <p:spTgt spid="3"/>
                                        </p:tgtEl>
                                        <p:attrNameLst>
                                          <p:attrName>ppt_w</p:attrName>
                                        </p:attrNameLst>
                                      </p:cBhvr>
                                      <p:tavLst>
                                        <p:tav tm="0">
                                          <p:val>
                                            <p:fltVal val="0"/>
                                          </p:val>
                                        </p:tav>
                                        <p:tav tm="100000">
                                          <p:val>
                                            <p:strVal val="#ppt_w"/>
                                          </p:val>
                                        </p:tav>
                                      </p:tavLst>
                                    </p:anim>
                                    <p:anim calcmode="lin" valueType="num">
                                      <p:cBhvr>
                                        <p:cTn id="28" dur="500" fill="hold"/>
                                        <p:tgtEl>
                                          <p:spTgt spid="3"/>
                                        </p:tgtEl>
                                        <p:attrNameLst>
                                          <p:attrName>ppt_h</p:attrName>
                                        </p:attrNameLst>
                                      </p:cBhvr>
                                      <p:tavLst>
                                        <p:tav tm="0">
                                          <p:val>
                                            <p:fltVal val="0"/>
                                          </p:val>
                                        </p:tav>
                                        <p:tav tm="100000">
                                          <p:val>
                                            <p:strVal val="#ppt_h"/>
                                          </p:val>
                                        </p:tav>
                                      </p:tavLst>
                                    </p:anim>
                                  </p:childTnLst>
                                </p:cTn>
                              </p:par>
                            </p:childTnLst>
                          </p:cTn>
                        </p:par>
                        <p:par>
                          <p:cTn id="29" fill="hold">
                            <p:stCondLst>
                              <p:cond delay="2500"/>
                            </p:stCondLst>
                            <p:childTnLst>
                              <p:par>
                                <p:cTn id="30" presetID="23" presetClass="entr" presetSubtype="16" fill="hold" nodeType="afterEffect">
                                  <p:stCondLst>
                                    <p:cond delay="0"/>
                                  </p:stCondLst>
                                  <p:childTnLst>
                                    <p:set>
                                      <p:cBhvr>
                                        <p:cTn id="31" dur="1" fill="hold">
                                          <p:stCondLst>
                                            <p:cond delay="0"/>
                                          </p:stCondLst>
                                        </p:cTn>
                                        <p:tgtEl>
                                          <p:spTgt spid="8"/>
                                        </p:tgtEl>
                                        <p:attrNameLst>
                                          <p:attrName>style.visibility</p:attrName>
                                        </p:attrNameLst>
                                      </p:cBhvr>
                                      <p:to>
                                        <p:strVal val="visible"/>
                                      </p:to>
                                    </p:set>
                                    <p:anim calcmode="lin" valueType="num">
                                      <p:cBhvr>
                                        <p:cTn id="32" dur="500" fill="hold"/>
                                        <p:tgtEl>
                                          <p:spTgt spid="8"/>
                                        </p:tgtEl>
                                        <p:attrNameLst>
                                          <p:attrName>ppt_w</p:attrName>
                                        </p:attrNameLst>
                                      </p:cBhvr>
                                      <p:tavLst>
                                        <p:tav tm="0">
                                          <p:val>
                                            <p:fltVal val="0"/>
                                          </p:val>
                                        </p:tav>
                                        <p:tav tm="100000">
                                          <p:val>
                                            <p:strVal val="#ppt_w"/>
                                          </p:val>
                                        </p:tav>
                                      </p:tavLst>
                                    </p:anim>
                                    <p:anim calcmode="lin" valueType="num">
                                      <p:cBhvr>
                                        <p:cTn id="33" dur="500" fill="hold"/>
                                        <p:tgtEl>
                                          <p:spTgt spid="8"/>
                                        </p:tgtEl>
                                        <p:attrNameLst>
                                          <p:attrName>ppt_h</p:attrName>
                                        </p:attrNameLst>
                                      </p:cBhvr>
                                      <p:tavLst>
                                        <p:tav tm="0">
                                          <p:val>
                                            <p:fltVal val="0"/>
                                          </p:val>
                                        </p:tav>
                                        <p:tav tm="100000">
                                          <p:val>
                                            <p:strVal val="#ppt_h"/>
                                          </p:val>
                                        </p:tav>
                                      </p:tavLst>
                                    </p:anim>
                                  </p:childTnLst>
                                </p:cTn>
                              </p:par>
                            </p:childTnLst>
                          </p:cTn>
                        </p:par>
                        <p:par>
                          <p:cTn id="34" fill="hold">
                            <p:stCondLst>
                              <p:cond delay="3000"/>
                            </p:stCondLst>
                            <p:childTnLst>
                              <p:par>
                                <p:cTn id="35" presetID="23" presetClass="entr" presetSubtype="16" fill="hold" grpId="0" nodeType="afterEffect">
                                  <p:stCondLst>
                                    <p:cond delay="0"/>
                                  </p:stCondLst>
                                  <p:childTnLst>
                                    <p:set>
                                      <p:cBhvr>
                                        <p:cTn id="36" dur="1" fill="hold">
                                          <p:stCondLst>
                                            <p:cond delay="0"/>
                                          </p:stCondLst>
                                        </p:cTn>
                                        <p:tgtEl>
                                          <p:spTgt spid="5150"/>
                                        </p:tgtEl>
                                        <p:attrNameLst>
                                          <p:attrName>style.visibility</p:attrName>
                                        </p:attrNameLst>
                                      </p:cBhvr>
                                      <p:to>
                                        <p:strVal val="visible"/>
                                      </p:to>
                                    </p:set>
                                    <p:anim calcmode="lin" valueType="num">
                                      <p:cBhvr>
                                        <p:cTn id="37" dur="500" fill="hold"/>
                                        <p:tgtEl>
                                          <p:spTgt spid="5150"/>
                                        </p:tgtEl>
                                        <p:attrNameLst>
                                          <p:attrName>ppt_w</p:attrName>
                                        </p:attrNameLst>
                                      </p:cBhvr>
                                      <p:tavLst>
                                        <p:tav tm="0">
                                          <p:val>
                                            <p:fltVal val="0"/>
                                          </p:val>
                                        </p:tav>
                                        <p:tav tm="100000">
                                          <p:val>
                                            <p:strVal val="#ppt_w"/>
                                          </p:val>
                                        </p:tav>
                                      </p:tavLst>
                                    </p:anim>
                                    <p:anim calcmode="lin" valueType="num">
                                      <p:cBhvr>
                                        <p:cTn id="38" dur="500" fill="hold"/>
                                        <p:tgtEl>
                                          <p:spTgt spid="5150"/>
                                        </p:tgtEl>
                                        <p:attrNameLst>
                                          <p:attrName>ppt_h</p:attrName>
                                        </p:attrNameLst>
                                      </p:cBhvr>
                                      <p:tavLst>
                                        <p:tav tm="0">
                                          <p:val>
                                            <p:fltVal val="0"/>
                                          </p:val>
                                        </p:tav>
                                        <p:tav tm="100000">
                                          <p:val>
                                            <p:strVal val="#ppt_h"/>
                                          </p:val>
                                        </p:tav>
                                      </p:tavLst>
                                    </p:anim>
                                  </p:childTnLst>
                                </p:cTn>
                              </p:par>
                            </p:childTnLst>
                          </p:cTn>
                        </p:par>
                        <p:par>
                          <p:cTn id="39" fill="hold">
                            <p:stCondLst>
                              <p:cond delay="3500"/>
                            </p:stCondLst>
                            <p:childTnLst>
                              <p:par>
                                <p:cTn id="40" presetID="23" presetClass="entr" presetSubtype="16" fill="hold" grpId="0" nodeType="afterEffect">
                                  <p:stCondLst>
                                    <p:cond delay="0"/>
                                  </p:stCondLst>
                                  <p:childTnLst>
                                    <p:set>
                                      <p:cBhvr>
                                        <p:cTn id="41" dur="1" fill="hold">
                                          <p:stCondLst>
                                            <p:cond delay="0"/>
                                          </p:stCondLst>
                                        </p:cTn>
                                        <p:tgtEl>
                                          <p:spTgt spid="5283"/>
                                        </p:tgtEl>
                                        <p:attrNameLst>
                                          <p:attrName>style.visibility</p:attrName>
                                        </p:attrNameLst>
                                      </p:cBhvr>
                                      <p:to>
                                        <p:strVal val="visible"/>
                                      </p:to>
                                    </p:set>
                                    <p:anim calcmode="lin" valueType="num">
                                      <p:cBhvr>
                                        <p:cTn id="42" dur="500" fill="hold"/>
                                        <p:tgtEl>
                                          <p:spTgt spid="5283"/>
                                        </p:tgtEl>
                                        <p:attrNameLst>
                                          <p:attrName>ppt_w</p:attrName>
                                        </p:attrNameLst>
                                      </p:cBhvr>
                                      <p:tavLst>
                                        <p:tav tm="0">
                                          <p:val>
                                            <p:fltVal val="0"/>
                                          </p:val>
                                        </p:tav>
                                        <p:tav tm="100000">
                                          <p:val>
                                            <p:strVal val="#ppt_w"/>
                                          </p:val>
                                        </p:tav>
                                      </p:tavLst>
                                    </p:anim>
                                    <p:anim calcmode="lin" valueType="num">
                                      <p:cBhvr>
                                        <p:cTn id="43" dur="500" fill="hold"/>
                                        <p:tgtEl>
                                          <p:spTgt spid="5283"/>
                                        </p:tgtEl>
                                        <p:attrNameLst>
                                          <p:attrName>ppt_h</p:attrName>
                                        </p:attrNameLst>
                                      </p:cBhvr>
                                      <p:tavLst>
                                        <p:tav tm="0">
                                          <p:val>
                                            <p:fltVal val="0"/>
                                          </p:val>
                                        </p:tav>
                                        <p:tav tm="100000">
                                          <p:val>
                                            <p:strVal val="#ppt_h"/>
                                          </p:val>
                                        </p:tav>
                                      </p:tavLst>
                                    </p:anim>
                                  </p:childTnLst>
                                </p:cTn>
                              </p:par>
                            </p:childTnLst>
                          </p:cTn>
                        </p:par>
                        <p:par>
                          <p:cTn id="44" fill="hold">
                            <p:stCondLst>
                              <p:cond delay="4000"/>
                            </p:stCondLst>
                            <p:childTnLst>
                              <p:par>
                                <p:cTn id="45" presetID="10" presetClass="entr" presetSubtype="0" fill="hold" grpId="0" nodeType="afterEffect">
                                  <p:stCondLst>
                                    <p:cond delay="0"/>
                                  </p:stCondLst>
                                  <p:childTnLst>
                                    <p:set>
                                      <p:cBhvr>
                                        <p:cTn id="46" dur="1" fill="hold">
                                          <p:stCondLst>
                                            <p:cond delay="0"/>
                                          </p:stCondLst>
                                        </p:cTn>
                                        <p:tgtEl>
                                          <p:spTgt spid="223">
                                            <p:graphicEl>
                                              <a:chart seriesIdx="-3" categoryIdx="-3" bldStep="gridLegend"/>
                                            </p:graphicEl>
                                          </p:spTgt>
                                        </p:tgtEl>
                                        <p:attrNameLst>
                                          <p:attrName>style.visibility</p:attrName>
                                        </p:attrNameLst>
                                      </p:cBhvr>
                                      <p:to>
                                        <p:strVal val="visible"/>
                                      </p:to>
                                    </p:set>
                                    <p:animEffect transition="in" filter="fade">
                                      <p:cBhvr>
                                        <p:cTn id="47" dur="1000"/>
                                        <p:tgtEl>
                                          <p:spTgt spid="223">
                                            <p:graphicEl>
                                              <a:chart seriesIdx="-3" categoryIdx="-3" bldStep="gridLegend"/>
                                            </p:graphicEl>
                                          </p:spTgt>
                                        </p:tgtEl>
                                      </p:cBhvr>
                                    </p:animEffect>
                                  </p:childTnLst>
                                </p:cTn>
                              </p:par>
                            </p:childTnLst>
                          </p:cTn>
                        </p:par>
                        <p:par>
                          <p:cTn id="48" fill="hold">
                            <p:stCondLst>
                              <p:cond delay="5000"/>
                            </p:stCondLst>
                            <p:childTnLst>
                              <p:par>
                                <p:cTn id="49" presetID="12" presetClass="entr" presetSubtype="4" fill="hold" grpId="0" nodeType="afterEffect">
                                  <p:stCondLst>
                                    <p:cond delay="0"/>
                                  </p:stCondLst>
                                  <p:childTnLst>
                                    <p:set>
                                      <p:cBhvr>
                                        <p:cTn id="50" dur="1" fill="hold">
                                          <p:stCondLst>
                                            <p:cond delay="0"/>
                                          </p:stCondLst>
                                        </p:cTn>
                                        <p:tgtEl>
                                          <p:spTgt spid="223">
                                            <p:graphicEl>
                                              <a:chart seriesIdx="0" categoryIdx="-4" bldStep="series"/>
                                            </p:graphicEl>
                                          </p:spTgt>
                                        </p:tgtEl>
                                        <p:attrNameLst>
                                          <p:attrName>style.visibility</p:attrName>
                                        </p:attrNameLst>
                                      </p:cBhvr>
                                      <p:to>
                                        <p:strVal val="visible"/>
                                      </p:to>
                                    </p:set>
                                    <p:animEffect transition="in" filter="slide(fromBottom)">
                                      <p:cBhvr>
                                        <p:cTn id="51" dur="1000"/>
                                        <p:tgtEl>
                                          <p:spTgt spid="223">
                                            <p:graphicEl>
                                              <a:chart seriesIdx="0" categoryIdx="-4" bldStep="series"/>
                                            </p:graphicEl>
                                          </p:spTgt>
                                        </p:tgtEl>
                                      </p:cBhvr>
                                    </p:animEffect>
                                  </p:childTnLst>
                                </p:cTn>
                              </p:par>
                            </p:childTnLst>
                          </p:cTn>
                        </p:par>
                        <p:par>
                          <p:cTn id="52" fill="hold">
                            <p:stCondLst>
                              <p:cond delay="6000"/>
                            </p:stCondLst>
                            <p:childTnLst>
                              <p:par>
                                <p:cTn id="53" presetID="12" presetClass="entr" presetSubtype="4" fill="hold" grpId="0" nodeType="afterEffect">
                                  <p:stCondLst>
                                    <p:cond delay="0"/>
                                  </p:stCondLst>
                                  <p:childTnLst>
                                    <p:set>
                                      <p:cBhvr>
                                        <p:cTn id="54" dur="1" fill="hold">
                                          <p:stCondLst>
                                            <p:cond delay="0"/>
                                          </p:stCondLst>
                                        </p:cTn>
                                        <p:tgtEl>
                                          <p:spTgt spid="223">
                                            <p:graphicEl>
                                              <a:chart seriesIdx="1" categoryIdx="-4" bldStep="series"/>
                                            </p:graphicEl>
                                          </p:spTgt>
                                        </p:tgtEl>
                                        <p:attrNameLst>
                                          <p:attrName>style.visibility</p:attrName>
                                        </p:attrNameLst>
                                      </p:cBhvr>
                                      <p:to>
                                        <p:strVal val="visible"/>
                                      </p:to>
                                    </p:set>
                                    <p:animEffect transition="in" filter="slide(fromBottom)">
                                      <p:cBhvr>
                                        <p:cTn id="55" dur="1000"/>
                                        <p:tgtEl>
                                          <p:spTgt spid="223">
                                            <p:graphicEl>
                                              <a:chart seriesIdx="1" categoryIdx="-4" bldStep="series"/>
                                            </p:graphicEl>
                                          </p:spTgt>
                                        </p:tgtEl>
                                      </p:cBhvr>
                                    </p:animEffect>
                                  </p:childTnLst>
                                </p:cTn>
                              </p:par>
                            </p:childTnLst>
                          </p:cTn>
                        </p:par>
                        <p:par>
                          <p:cTn id="56" fill="hold">
                            <p:stCondLst>
                              <p:cond delay="7000"/>
                            </p:stCondLst>
                            <p:childTnLst>
                              <p:par>
                                <p:cTn id="57" presetID="12" presetClass="entr" presetSubtype="4" fill="hold" grpId="0" nodeType="afterEffect">
                                  <p:stCondLst>
                                    <p:cond delay="0"/>
                                  </p:stCondLst>
                                  <p:childTnLst>
                                    <p:set>
                                      <p:cBhvr>
                                        <p:cTn id="58" dur="1" fill="hold">
                                          <p:stCondLst>
                                            <p:cond delay="0"/>
                                          </p:stCondLst>
                                        </p:cTn>
                                        <p:tgtEl>
                                          <p:spTgt spid="223">
                                            <p:graphicEl>
                                              <a:chart seriesIdx="2" categoryIdx="-4" bldStep="series"/>
                                            </p:graphicEl>
                                          </p:spTgt>
                                        </p:tgtEl>
                                        <p:attrNameLst>
                                          <p:attrName>style.visibility</p:attrName>
                                        </p:attrNameLst>
                                      </p:cBhvr>
                                      <p:to>
                                        <p:strVal val="visible"/>
                                      </p:to>
                                    </p:set>
                                    <p:animEffect transition="in" filter="slide(fromBottom)">
                                      <p:cBhvr>
                                        <p:cTn id="59" dur="1000"/>
                                        <p:tgtEl>
                                          <p:spTgt spid="223">
                                            <p:graphicEl>
                                              <a:chart seriesIdx="2" categoryIdx="-4" bldStep="series"/>
                                            </p:graphicEl>
                                          </p:spTgt>
                                        </p:tgtEl>
                                      </p:cBhvr>
                                    </p:animEffect>
                                  </p:childTnLst>
                                </p:cTn>
                              </p:par>
                            </p:childTnLst>
                          </p:cTn>
                        </p:par>
                        <p:par>
                          <p:cTn id="60" fill="hold">
                            <p:stCondLst>
                              <p:cond delay="8000"/>
                            </p:stCondLst>
                            <p:childTnLst>
                              <p:par>
                                <p:cTn id="61" presetID="12" presetClass="entr" presetSubtype="4" fill="hold" grpId="0" nodeType="afterEffect">
                                  <p:stCondLst>
                                    <p:cond delay="0"/>
                                  </p:stCondLst>
                                  <p:childTnLst>
                                    <p:set>
                                      <p:cBhvr>
                                        <p:cTn id="62" dur="1" fill="hold">
                                          <p:stCondLst>
                                            <p:cond delay="0"/>
                                          </p:stCondLst>
                                        </p:cTn>
                                        <p:tgtEl>
                                          <p:spTgt spid="223">
                                            <p:graphicEl>
                                              <a:chart seriesIdx="3" categoryIdx="-4" bldStep="series"/>
                                            </p:graphicEl>
                                          </p:spTgt>
                                        </p:tgtEl>
                                        <p:attrNameLst>
                                          <p:attrName>style.visibility</p:attrName>
                                        </p:attrNameLst>
                                      </p:cBhvr>
                                      <p:to>
                                        <p:strVal val="visible"/>
                                      </p:to>
                                    </p:set>
                                    <p:animEffect transition="in" filter="slide(fromBottom)">
                                      <p:cBhvr>
                                        <p:cTn id="63" dur="500"/>
                                        <p:tgtEl>
                                          <p:spTgt spid="223">
                                            <p:graphicEl>
                                              <a:chart seriesIdx="3" categoryIdx="-4" bldStep="series"/>
                                            </p:graphicEl>
                                          </p:spTgt>
                                        </p:tgtEl>
                                      </p:cBhvr>
                                    </p:animEffect>
                                  </p:childTnLst>
                                </p:cTn>
                              </p:par>
                            </p:childTnLst>
                          </p:cTn>
                        </p:par>
                        <p:par>
                          <p:cTn id="64" fill="hold">
                            <p:stCondLst>
                              <p:cond delay="8500"/>
                            </p:stCondLst>
                            <p:childTnLst>
                              <p:par>
                                <p:cTn id="65" presetID="12" presetClass="entr" presetSubtype="4" fill="hold" grpId="0" nodeType="afterEffect">
                                  <p:stCondLst>
                                    <p:cond delay="0"/>
                                  </p:stCondLst>
                                  <p:childTnLst>
                                    <p:set>
                                      <p:cBhvr>
                                        <p:cTn id="66" dur="1" fill="hold">
                                          <p:stCondLst>
                                            <p:cond delay="0"/>
                                          </p:stCondLst>
                                        </p:cTn>
                                        <p:tgtEl>
                                          <p:spTgt spid="223">
                                            <p:graphicEl>
                                              <a:chart seriesIdx="4" categoryIdx="-4" bldStep="series"/>
                                            </p:graphicEl>
                                          </p:spTgt>
                                        </p:tgtEl>
                                        <p:attrNameLst>
                                          <p:attrName>style.visibility</p:attrName>
                                        </p:attrNameLst>
                                      </p:cBhvr>
                                      <p:to>
                                        <p:strVal val="visible"/>
                                      </p:to>
                                    </p:set>
                                    <p:animEffect transition="in" filter="slide(fromBottom)">
                                      <p:cBhvr>
                                        <p:cTn id="67" dur="500"/>
                                        <p:tgtEl>
                                          <p:spTgt spid="223">
                                            <p:graphicEl>
                                              <a:chart seriesIdx="4" categoryIdx="-4" bldStep="series"/>
                                            </p:graphicEl>
                                          </p:spTgt>
                                        </p:tgtEl>
                                      </p:cBhvr>
                                    </p:animEffect>
                                  </p:childTnLst>
                                </p:cTn>
                              </p:par>
                            </p:childTnLst>
                          </p:cTn>
                        </p:par>
                        <p:par>
                          <p:cTn id="68" fill="hold">
                            <p:stCondLst>
                              <p:cond delay="9000"/>
                            </p:stCondLst>
                            <p:childTnLst>
                              <p:par>
                                <p:cTn id="69" presetID="12" presetClass="entr" presetSubtype="4" fill="hold" grpId="0" nodeType="afterEffect">
                                  <p:stCondLst>
                                    <p:cond delay="0"/>
                                  </p:stCondLst>
                                  <p:childTnLst>
                                    <p:set>
                                      <p:cBhvr>
                                        <p:cTn id="70" dur="1" fill="hold">
                                          <p:stCondLst>
                                            <p:cond delay="0"/>
                                          </p:stCondLst>
                                        </p:cTn>
                                        <p:tgtEl>
                                          <p:spTgt spid="223">
                                            <p:graphicEl>
                                              <a:chart seriesIdx="5" categoryIdx="-4" bldStep="series"/>
                                            </p:graphicEl>
                                          </p:spTgt>
                                        </p:tgtEl>
                                        <p:attrNameLst>
                                          <p:attrName>style.visibility</p:attrName>
                                        </p:attrNameLst>
                                      </p:cBhvr>
                                      <p:to>
                                        <p:strVal val="visible"/>
                                      </p:to>
                                    </p:set>
                                    <p:animEffect transition="in" filter="slide(fromBottom)">
                                      <p:cBhvr>
                                        <p:cTn id="71" dur="500"/>
                                        <p:tgtEl>
                                          <p:spTgt spid="223">
                                            <p:graphicEl>
                                              <a:chart seriesIdx="5" categoryIdx="-4" bldStep="series"/>
                                            </p:graphicEl>
                                          </p:spTgt>
                                        </p:tgtEl>
                                      </p:cBhvr>
                                    </p:animEffect>
                                  </p:childTnLst>
                                </p:cTn>
                              </p:par>
                            </p:childTnLst>
                          </p:cTn>
                        </p:par>
                        <p:par>
                          <p:cTn id="72" fill="hold">
                            <p:stCondLst>
                              <p:cond delay="9500"/>
                            </p:stCondLst>
                            <p:childTnLst>
                              <p:par>
                                <p:cTn id="73" presetID="12" presetClass="entr" presetSubtype="4" fill="hold" nodeType="afterEffect">
                                  <p:stCondLst>
                                    <p:cond delay="0"/>
                                  </p:stCondLst>
                                  <p:childTnLst>
                                    <p:set>
                                      <p:cBhvr>
                                        <p:cTn id="74" dur="1" fill="hold">
                                          <p:stCondLst>
                                            <p:cond delay="0"/>
                                          </p:stCondLst>
                                        </p:cTn>
                                        <p:tgtEl>
                                          <p:spTgt spid="200"/>
                                        </p:tgtEl>
                                        <p:attrNameLst>
                                          <p:attrName>style.visibility</p:attrName>
                                        </p:attrNameLst>
                                      </p:cBhvr>
                                      <p:to>
                                        <p:strVal val="visible"/>
                                      </p:to>
                                    </p:set>
                                    <p:animEffect transition="in" filter="slide(fromBottom)">
                                      <p:cBhvr>
                                        <p:cTn id="75" dur="500"/>
                                        <p:tgtEl>
                                          <p:spTgt spid="2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50" grpId="0" animBg="1"/>
      <p:bldP spid="5283" grpId="0" animBg="1"/>
      <p:bldGraphic spid="223" grpId="0">
        <p:bldSub>
          <a:bldChart bld="series"/>
        </p:bldSub>
      </p:bldGraphic>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Freeform 76"/>
          <p:cNvSpPr/>
          <p:nvPr/>
        </p:nvSpPr>
        <p:spPr>
          <a:xfrm>
            <a:off x="5823867" y="1298660"/>
            <a:ext cx="1711726" cy="855975"/>
          </a:xfrm>
          <a:custGeom>
            <a:avLst/>
            <a:gdLst>
              <a:gd name="connsiteX0" fmla="*/ 0 w 1283962"/>
              <a:gd name="connsiteY0" fmla="*/ 64198 h 641981"/>
              <a:gd name="connsiteX1" fmla="*/ 18803 w 1283962"/>
              <a:gd name="connsiteY1" fmla="*/ 18803 h 641981"/>
              <a:gd name="connsiteX2" fmla="*/ 64198 w 1283962"/>
              <a:gd name="connsiteY2" fmla="*/ 0 h 641981"/>
              <a:gd name="connsiteX3" fmla="*/ 1219764 w 1283962"/>
              <a:gd name="connsiteY3" fmla="*/ 0 h 641981"/>
              <a:gd name="connsiteX4" fmla="*/ 1265159 w 1283962"/>
              <a:gd name="connsiteY4" fmla="*/ 18803 h 641981"/>
              <a:gd name="connsiteX5" fmla="*/ 1283962 w 1283962"/>
              <a:gd name="connsiteY5" fmla="*/ 64198 h 641981"/>
              <a:gd name="connsiteX6" fmla="*/ 1283962 w 1283962"/>
              <a:gd name="connsiteY6" fmla="*/ 577783 h 641981"/>
              <a:gd name="connsiteX7" fmla="*/ 1265159 w 1283962"/>
              <a:gd name="connsiteY7" fmla="*/ 623178 h 641981"/>
              <a:gd name="connsiteX8" fmla="*/ 1219764 w 1283962"/>
              <a:gd name="connsiteY8" fmla="*/ 641981 h 641981"/>
              <a:gd name="connsiteX9" fmla="*/ 64198 w 1283962"/>
              <a:gd name="connsiteY9" fmla="*/ 641981 h 641981"/>
              <a:gd name="connsiteX10" fmla="*/ 18803 w 1283962"/>
              <a:gd name="connsiteY10" fmla="*/ 623178 h 641981"/>
              <a:gd name="connsiteX11" fmla="*/ 0 w 1283962"/>
              <a:gd name="connsiteY11" fmla="*/ 577783 h 641981"/>
              <a:gd name="connsiteX12" fmla="*/ 0 w 1283962"/>
              <a:gd name="connsiteY12" fmla="*/ 64198 h 6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3962" h="641981">
                <a:moveTo>
                  <a:pt x="0" y="64198"/>
                </a:moveTo>
                <a:cubicBezTo>
                  <a:pt x="0" y="47172"/>
                  <a:pt x="6764" y="30843"/>
                  <a:pt x="18803" y="18803"/>
                </a:cubicBezTo>
                <a:cubicBezTo>
                  <a:pt x="30842" y="6764"/>
                  <a:pt x="47172" y="0"/>
                  <a:pt x="64198" y="0"/>
                </a:cubicBezTo>
                <a:lnTo>
                  <a:pt x="1219764" y="0"/>
                </a:lnTo>
                <a:cubicBezTo>
                  <a:pt x="1236790" y="0"/>
                  <a:pt x="1253119" y="6764"/>
                  <a:pt x="1265159" y="18803"/>
                </a:cubicBezTo>
                <a:cubicBezTo>
                  <a:pt x="1277198" y="30842"/>
                  <a:pt x="1283962" y="47172"/>
                  <a:pt x="1283962" y="64198"/>
                </a:cubicBezTo>
                <a:lnTo>
                  <a:pt x="1283962" y="577783"/>
                </a:lnTo>
                <a:cubicBezTo>
                  <a:pt x="1283962" y="594809"/>
                  <a:pt x="1277198" y="611138"/>
                  <a:pt x="1265159" y="623178"/>
                </a:cubicBezTo>
                <a:cubicBezTo>
                  <a:pt x="1253120" y="635217"/>
                  <a:pt x="1236791" y="641981"/>
                  <a:pt x="1219764" y="641981"/>
                </a:cubicBezTo>
                <a:lnTo>
                  <a:pt x="64198" y="641981"/>
                </a:lnTo>
                <a:cubicBezTo>
                  <a:pt x="47172" y="641981"/>
                  <a:pt x="30843" y="635217"/>
                  <a:pt x="18803" y="623178"/>
                </a:cubicBezTo>
                <a:cubicBezTo>
                  <a:pt x="6764" y="611139"/>
                  <a:pt x="0" y="594809"/>
                  <a:pt x="0" y="577783"/>
                </a:cubicBezTo>
                <a:lnTo>
                  <a:pt x="0" y="64198"/>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085" tIns="58085" rIns="58085" bIns="58085" numCol="1" spcCol="1693" anchor="ctr" anchorCtr="0">
            <a:noAutofit/>
          </a:bodyPr>
          <a:lstStyle/>
          <a:p>
            <a:pPr algn="ctr" defTabSz="1218565">
              <a:spcBef>
                <a:spcPct val="20000"/>
              </a:spcBef>
              <a:defRPr/>
            </a:pPr>
            <a:r>
              <a:rPr lang="zh-CN" altLang="en-US" sz="1900" dirty="0">
                <a:solidFill>
                  <a:schemeClr val="bg1"/>
                </a:solidFill>
                <a:latin typeface="+mn-ea"/>
              </a:rPr>
              <a:t>添加标题 </a:t>
            </a:r>
            <a:r>
              <a:rPr lang="en-US" sz="1900" dirty="0">
                <a:solidFill>
                  <a:schemeClr val="bg1"/>
                </a:solidFill>
                <a:latin typeface="+mn-ea"/>
              </a:rPr>
              <a:t>01</a:t>
            </a:r>
          </a:p>
        </p:txBody>
      </p:sp>
      <p:grpSp>
        <p:nvGrpSpPr>
          <p:cNvPr id="85" name="Group 84"/>
          <p:cNvGrpSpPr/>
          <p:nvPr/>
        </p:nvGrpSpPr>
        <p:grpSpPr>
          <a:xfrm>
            <a:off x="5059922" y="1951265"/>
            <a:ext cx="843200" cy="535133"/>
            <a:chOff x="3794840" y="2240239"/>
            <a:chExt cx="632482" cy="401350"/>
          </a:xfrm>
        </p:grpSpPr>
        <p:sp>
          <p:nvSpPr>
            <p:cNvPr id="76" name="Freeform 75"/>
            <p:cNvSpPr/>
            <p:nvPr/>
          </p:nvSpPr>
          <p:spPr>
            <a:xfrm rot="19457599">
              <a:off x="3794840" y="2240239"/>
              <a:ext cx="632482" cy="32211"/>
            </a:xfrm>
            <a:custGeom>
              <a:avLst/>
              <a:gdLst>
                <a:gd name="connsiteX0" fmla="*/ 0 w 632482"/>
                <a:gd name="connsiteY0" fmla="*/ 16105 h 32211"/>
                <a:gd name="connsiteX1" fmla="*/ 632482 w 632482"/>
                <a:gd name="connsiteY1" fmla="*/ 16105 h 32211"/>
              </a:gdLst>
              <a:ahLst/>
              <a:cxnLst>
                <a:cxn ang="0">
                  <a:pos x="connsiteX0" y="connsiteY0"/>
                </a:cxn>
                <a:cxn ang="0">
                  <a:pos x="connsiteX1" y="connsiteY1"/>
                </a:cxn>
              </a:cxnLst>
              <a:rect l="l" t="t" r="r" b="b"/>
              <a:pathLst>
                <a:path w="632482" h="32211">
                  <a:moveTo>
                    <a:pt x="0" y="16105"/>
                  </a:moveTo>
                  <a:lnTo>
                    <a:pt x="632482" y="16105"/>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28" tIns="293" rIns="313129" bIns="293" numCol="1" spcCol="1270" anchor="ctr" anchorCtr="0">
              <a:noAutofit/>
            </a:bodyPr>
            <a:lstStyle/>
            <a:p>
              <a:pPr algn="ctr" defTabSz="295910">
                <a:lnSpc>
                  <a:spcPct val="90000"/>
                </a:lnSpc>
                <a:spcBef>
                  <a:spcPct val="0"/>
                </a:spcBef>
                <a:spcAft>
                  <a:spcPct val="35000"/>
                </a:spcAft>
              </a:pPr>
              <a:endParaRPr lang="en-US" sz="700">
                <a:latin typeface="+mn-ea"/>
              </a:endParaRPr>
            </a:p>
          </p:txBody>
        </p:sp>
        <p:sp>
          <p:nvSpPr>
            <p:cNvPr id="78" name="Freeform 77"/>
            <p:cNvSpPr/>
            <p:nvPr/>
          </p:nvSpPr>
          <p:spPr>
            <a:xfrm rot="2142401">
              <a:off x="3794840" y="2609378"/>
              <a:ext cx="632482" cy="32211"/>
            </a:xfrm>
            <a:custGeom>
              <a:avLst/>
              <a:gdLst>
                <a:gd name="connsiteX0" fmla="*/ 0 w 632482"/>
                <a:gd name="connsiteY0" fmla="*/ 16105 h 32211"/>
                <a:gd name="connsiteX1" fmla="*/ 632482 w 632482"/>
                <a:gd name="connsiteY1" fmla="*/ 16105 h 32211"/>
              </a:gdLst>
              <a:ahLst/>
              <a:cxnLst>
                <a:cxn ang="0">
                  <a:pos x="connsiteX0" y="connsiteY0"/>
                </a:cxn>
                <a:cxn ang="0">
                  <a:pos x="connsiteX1" y="connsiteY1"/>
                </a:cxn>
              </a:cxnLst>
              <a:rect l="l" t="t" r="r" b="b"/>
              <a:pathLst>
                <a:path w="632482" h="32211">
                  <a:moveTo>
                    <a:pt x="0" y="16105"/>
                  </a:moveTo>
                  <a:lnTo>
                    <a:pt x="632482" y="16105"/>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29" tIns="293" rIns="313128" bIns="293" numCol="1" spcCol="1270" anchor="ctr" anchorCtr="0">
              <a:noAutofit/>
            </a:bodyPr>
            <a:lstStyle/>
            <a:p>
              <a:pPr algn="ctr" defTabSz="295910">
                <a:lnSpc>
                  <a:spcPct val="90000"/>
                </a:lnSpc>
                <a:spcBef>
                  <a:spcPct val="0"/>
                </a:spcBef>
                <a:spcAft>
                  <a:spcPct val="35000"/>
                </a:spcAft>
              </a:pPr>
              <a:endParaRPr lang="en-US" sz="700">
                <a:latin typeface="+mn-ea"/>
              </a:endParaRPr>
            </a:p>
          </p:txBody>
        </p:sp>
      </p:grpSp>
      <p:sp>
        <p:nvSpPr>
          <p:cNvPr id="79" name="Freeform 78"/>
          <p:cNvSpPr/>
          <p:nvPr/>
        </p:nvSpPr>
        <p:spPr>
          <a:xfrm>
            <a:off x="5823867" y="2283031"/>
            <a:ext cx="1711726" cy="855975"/>
          </a:xfrm>
          <a:custGeom>
            <a:avLst/>
            <a:gdLst>
              <a:gd name="connsiteX0" fmla="*/ 0 w 1283962"/>
              <a:gd name="connsiteY0" fmla="*/ 64198 h 641981"/>
              <a:gd name="connsiteX1" fmla="*/ 18803 w 1283962"/>
              <a:gd name="connsiteY1" fmla="*/ 18803 h 641981"/>
              <a:gd name="connsiteX2" fmla="*/ 64198 w 1283962"/>
              <a:gd name="connsiteY2" fmla="*/ 0 h 641981"/>
              <a:gd name="connsiteX3" fmla="*/ 1219764 w 1283962"/>
              <a:gd name="connsiteY3" fmla="*/ 0 h 641981"/>
              <a:gd name="connsiteX4" fmla="*/ 1265159 w 1283962"/>
              <a:gd name="connsiteY4" fmla="*/ 18803 h 641981"/>
              <a:gd name="connsiteX5" fmla="*/ 1283962 w 1283962"/>
              <a:gd name="connsiteY5" fmla="*/ 64198 h 641981"/>
              <a:gd name="connsiteX6" fmla="*/ 1283962 w 1283962"/>
              <a:gd name="connsiteY6" fmla="*/ 577783 h 641981"/>
              <a:gd name="connsiteX7" fmla="*/ 1265159 w 1283962"/>
              <a:gd name="connsiteY7" fmla="*/ 623178 h 641981"/>
              <a:gd name="connsiteX8" fmla="*/ 1219764 w 1283962"/>
              <a:gd name="connsiteY8" fmla="*/ 641981 h 641981"/>
              <a:gd name="connsiteX9" fmla="*/ 64198 w 1283962"/>
              <a:gd name="connsiteY9" fmla="*/ 641981 h 641981"/>
              <a:gd name="connsiteX10" fmla="*/ 18803 w 1283962"/>
              <a:gd name="connsiteY10" fmla="*/ 623178 h 641981"/>
              <a:gd name="connsiteX11" fmla="*/ 0 w 1283962"/>
              <a:gd name="connsiteY11" fmla="*/ 577783 h 641981"/>
              <a:gd name="connsiteX12" fmla="*/ 0 w 1283962"/>
              <a:gd name="connsiteY12" fmla="*/ 64198 h 6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3962" h="641981">
                <a:moveTo>
                  <a:pt x="0" y="64198"/>
                </a:moveTo>
                <a:cubicBezTo>
                  <a:pt x="0" y="47172"/>
                  <a:pt x="6764" y="30843"/>
                  <a:pt x="18803" y="18803"/>
                </a:cubicBezTo>
                <a:cubicBezTo>
                  <a:pt x="30842" y="6764"/>
                  <a:pt x="47172" y="0"/>
                  <a:pt x="64198" y="0"/>
                </a:cubicBezTo>
                <a:lnTo>
                  <a:pt x="1219764" y="0"/>
                </a:lnTo>
                <a:cubicBezTo>
                  <a:pt x="1236790" y="0"/>
                  <a:pt x="1253119" y="6764"/>
                  <a:pt x="1265159" y="18803"/>
                </a:cubicBezTo>
                <a:cubicBezTo>
                  <a:pt x="1277198" y="30842"/>
                  <a:pt x="1283962" y="47172"/>
                  <a:pt x="1283962" y="64198"/>
                </a:cubicBezTo>
                <a:lnTo>
                  <a:pt x="1283962" y="577783"/>
                </a:lnTo>
                <a:cubicBezTo>
                  <a:pt x="1283962" y="594809"/>
                  <a:pt x="1277198" y="611138"/>
                  <a:pt x="1265159" y="623178"/>
                </a:cubicBezTo>
                <a:cubicBezTo>
                  <a:pt x="1253120" y="635217"/>
                  <a:pt x="1236791" y="641981"/>
                  <a:pt x="1219764" y="641981"/>
                </a:cubicBezTo>
                <a:lnTo>
                  <a:pt x="64198" y="641981"/>
                </a:lnTo>
                <a:cubicBezTo>
                  <a:pt x="47172" y="641981"/>
                  <a:pt x="30843" y="635217"/>
                  <a:pt x="18803" y="623178"/>
                </a:cubicBezTo>
                <a:cubicBezTo>
                  <a:pt x="6764" y="611139"/>
                  <a:pt x="0" y="594809"/>
                  <a:pt x="0" y="577783"/>
                </a:cubicBezTo>
                <a:lnTo>
                  <a:pt x="0" y="64198"/>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085" tIns="58085" rIns="58085" bIns="58085" numCol="1" spcCol="1693" anchor="ctr" anchorCtr="0">
            <a:noAutofit/>
          </a:bodyPr>
          <a:lstStyle/>
          <a:p>
            <a:pPr algn="ctr" defTabSz="1218565">
              <a:spcBef>
                <a:spcPct val="20000"/>
              </a:spcBef>
              <a:defRPr/>
            </a:pPr>
            <a:r>
              <a:rPr lang="zh-CN" altLang="en-US" sz="1900" dirty="0">
                <a:solidFill>
                  <a:schemeClr val="bg1"/>
                </a:solidFill>
                <a:latin typeface="+mn-ea"/>
              </a:rPr>
              <a:t>添加标题 </a:t>
            </a:r>
            <a:r>
              <a:rPr lang="en-US" sz="1900" dirty="0">
                <a:solidFill>
                  <a:schemeClr val="bg1"/>
                </a:solidFill>
                <a:latin typeface="+mn-ea"/>
              </a:rPr>
              <a:t>02</a:t>
            </a:r>
          </a:p>
        </p:txBody>
      </p:sp>
      <p:grpSp>
        <p:nvGrpSpPr>
          <p:cNvPr id="136" name="Group 135"/>
          <p:cNvGrpSpPr/>
          <p:nvPr/>
        </p:nvGrpSpPr>
        <p:grpSpPr>
          <a:xfrm>
            <a:off x="3054640" y="1952634"/>
            <a:ext cx="179355" cy="2449839"/>
            <a:chOff x="2290682" y="1464474"/>
            <a:chExt cx="134534" cy="1837379"/>
          </a:xfrm>
        </p:grpSpPr>
        <p:sp>
          <p:nvSpPr>
            <p:cNvPr id="74" name="Freeform 73"/>
            <p:cNvSpPr/>
            <p:nvPr/>
          </p:nvSpPr>
          <p:spPr>
            <a:xfrm rot="18770822" flipV="1">
              <a:off x="1825136" y="1930021"/>
              <a:ext cx="1065628" cy="134533"/>
            </a:xfrm>
            <a:custGeom>
              <a:avLst/>
              <a:gdLst>
                <a:gd name="connsiteX0" fmla="*/ 0 w 755224"/>
                <a:gd name="connsiteY0" fmla="*/ 16105 h 32211"/>
                <a:gd name="connsiteX1" fmla="*/ 755224 w 755224"/>
                <a:gd name="connsiteY1" fmla="*/ 16105 h 32211"/>
              </a:gdLst>
              <a:ahLst/>
              <a:cxnLst>
                <a:cxn ang="0">
                  <a:pos x="connsiteX0" y="connsiteY0"/>
                </a:cxn>
                <a:cxn ang="0">
                  <a:pos x="connsiteX1" y="connsiteY1"/>
                </a:cxn>
              </a:cxnLst>
              <a:rect l="l" t="t" r="r" b="b"/>
              <a:pathLst>
                <a:path w="755224" h="32211">
                  <a:moveTo>
                    <a:pt x="0" y="16105"/>
                  </a:moveTo>
                  <a:lnTo>
                    <a:pt x="755224" y="16105"/>
                  </a:lnTo>
                </a:path>
              </a:pathLst>
            </a:custGeom>
            <a:noFill/>
            <a:ln>
              <a:solidFill>
                <a:schemeClr val="tx2">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71430" tIns="-2775" rIns="371432" bIns="-2776" numCol="1" spcCol="1270" anchor="ctr" anchorCtr="0">
              <a:noAutofit/>
            </a:bodyPr>
            <a:lstStyle/>
            <a:p>
              <a:pPr algn="ctr" defTabSz="295910">
                <a:lnSpc>
                  <a:spcPct val="90000"/>
                </a:lnSpc>
                <a:spcBef>
                  <a:spcPct val="0"/>
                </a:spcBef>
                <a:spcAft>
                  <a:spcPct val="35000"/>
                </a:spcAft>
              </a:pPr>
              <a:endParaRPr lang="en-US" sz="700">
                <a:latin typeface="+mn-ea"/>
              </a:endParaRPr>
            </a:p>
          </p:txBody>
        </p:sp>
        <p:sp>
          <p:nvSpPr>
            <p:cNvPr id="111" name="Freeform 110"/>
            <p:cNvSpPr/>
            <p:nvPr/>
          </p:nvSpPr>
          <p:spPr>
            <a:xfrm rot="2829178">
              <a:off x="1825135" y="2701772"/>
              <a:ext cx="1065628" cy="134533"/>
            </a:xfrm>
            <a:custGeom>
              <a:avLst/>
              <a:gdLst>
                <a:gd name="connsiteX0" fmla="*/ 0 w 755224"/>
                <a:gd name="connsiteY0" fmla="*/ 16105 h 32211"/>
                <a:gd name="connsiteX1" fmla="*/ 755224 w 755224"/>
                <a:gd name="connsiteY1" fmla="*/ 16105 h 32211"/>
              </a:gdLst>
              <a:ahLst/>
              <a:cxnLst>
                <a:cxn ang="0">
                  <a:pos x="connsiteX0" y="connsiteY0"/>
                </a:cxn>
                <a:cxn ang="0">
                  <a:pos x="connsiteX1" y="connsiteY1"/>
                </a:cxn>
              </a:cxnLst>
              <a:rect l="l" t="t" r="r" b="b"/>
              <a:pathLst>
                <a:path w="755224" h="32211">
                  <a:moveTo>
                    <a:pt x="0" y="16105"/>
                  </a:moveTo>
                  <a:lnTo>
                    <a:pt x="755224" y="16105"/>
                  </a:lnTo>
                </a:path>
              </a:pathLst>
            </a:custGeom>
            <a:noFill/>
            <a:ln>
              <a:solidFill>
                <a:schemeClr val="tx2">
                  <a:lumMod val="75000"/>
                </a:schemeClr>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71430" tIns="-2775" rIns="371432" bIns="-2776" numCol="1" spcCol="1270" anchor="ctr" anchorCtr="0">
              <a:noAutofit/>
            </a:bodyPr>
            <a:lstStyle/>
            <a:p>
              <a:pPr algn="ctr" defTabSz="295910">
                <a:lnSpc>
                  <a:spcPct val="90000"/>
                </a:lnSpc>
                <a:spcBef>
                  <a:spcPct val="0"/>
                </a:spcBef>
                <a:spcAft>
                  <a:spcPct val="35000"/>
                </a:spcAft>
              </a:pPr>
              <a:endParaRPr lang="en-US" sz="700">
                <a:latin typeface="+mn-ea"/>
              </a:endParaRPr>
            </a:p>
          </p:txBody>
        </p:sp>
      </p:grpSp>
      <p:sp>
        <p:nvSpPr>
          <p:cNvPr id="95" name="Freeform 94"/>
          <p:cNvSpPr/>
          <p:nvPr/>
        </p:nvSpPr>
        <p:spPr>
          <a:xfrm>
            <a:off x="5823867" y="3275383"/>
            <a:ext cx="1711726" cy="855975"/>
          </a:xfrm>
          <a:custGeom>
            <a:avLst/>
            <a:gdLst>
              <a:gd name="connsiteX0" fmla="*/ 0 w 1283962"/>
              <a:gd name="connsiteY0" fmla="*/ 64198 h 641981"/>
              <a:gd name="connsiteX1" fmla="*/ 18803 w 1283962"/>
              <a:gd name="connsiteY1" fmla="*/ 18803 h 641981"/>
              <a:gd name="connsiteX2" fmla="*/ 64198 w 1283962"/>
              <a:gd name="connsiteY2" fmla="*/ 0 h 641981"/>
              <a:gd name="connsiteX3" fmla="*/ 1219764 w 1283962"/>
              <a:gd name="connsiteY3" fmla="*/ 0 h 641981"/>
              <a:gd name="connsiteX4" fmla="*/ 1265159 w 1283962"/>
              <a:gd name="connsiteY4" fmla="*/ 18803 h 641981"/>
              <a:gd name="connsiteX5" fmla="*/ 1283962 w 1283962"/>
              <a:gd name="connsiteY5" fmla="*/ 64198 h 641981"/>
              <a:gd name="connsiteX6" fmla="*/ 1283962 w 1283962"/>
              <a:gd name="connsiteY6" fmla="*/ 577783 h 641981"/>
              <a:gd name="connsiteX7" fmla="*/ 1265159 w 1283962"/>
              <a:gd name="connsiteY7" fmla="*/ 623178 h 641981"/>
              <a:gd name="connsiteX8" fmla="*/ 1219764 w 1283962"/>
              <a:gd name="connsiteY8" fmla="*/ 641981 h 641981"/>
              <a:gd name="connsiteX9" fmla="*/ 64198 w 1283962"/>
              <a:gd name="connsiteY9" fmla="*/ 641981 h 641981"/>
              <a:gd name="connsiteX10" fmla="*/ 18803 w 1283962"/>
              <a:gd name="connsiteY10" fmla="*/ 623178 h 641981"/>
              <a:gd name="connsiteX11" fmla="*/ 0 w 1283962"/>
              <a:gd name="connsiteY11" fmla="*/ 577783 h 641981"/>
              <a:gd name="connsiteX12" fmla="*/ 0 w 1283962"/>
              <a:gd name="connsiteY12" fmla="*/ 64198 h 6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3962" h="641981">
                <a:moveTo>
                  <a:pt x="0" y="64198"/>
                </a:moveTo>
                <a:cubicBezTo>
                  <a:pt x="0" y="47172"/>
                  <a:pt x="6764" y="30843"/>
                  <a:pt x="18803" y="18803"/>
                </a:cubicBezTo>
                <a:cubicBezTo>
                  <a:pt x="30842" y="6764"/>
                  <a:pt x="47172" y="0"/>
                  <a:pt x="64198" y="0"/>
                </a:cubicBezTo>
                <a:lnTo>
                  <a:pt x="1219764" y="0"/>
                </a:lnTo>
                <a:cubicBezTo>
                  <a:pt x="1236790" y="0"/>
                  <a:pt x="1253119" y="6764"/>
                  <a:pt x="1265159" y="18803"/>
                </a:cubicBezTo>
                <a:cubicBezTo>
                  <a:pt x="1277198" y="30842"/>
                  <a:pt x="1283962" y="47172"/>
                  <a:pt x="1283962" y="64198"/>
                </a:cubicBezTo>
                <a:lnTo>
                  <a:pt x="1283962" y="577783"/>
                </a:lnTo>
                <a:cubicBezTo>
                  <a:pt x="1283962" y="594809"/>
                  <a:pt x="1277198" y="611138"/>
                  <a:pt x="1265159" y="623178"/>
                </a:cubicBezTo>
                <a:cubicBezTo>
                  <a:pt x="1253120" y="635217"/>
                  <a:pt x="1236791" y="641981"/>
                  <a:pt x="1219764" y="641981"/>
                </a:cubicBezTo>
                <a:lnTo>
                  <a:pt x="64198" y="641981"/>
                </a:lnTo>
                <a:cubicBezTo>
                  <a:pt x="47172" y="641981"/>
                  <a:pt x="30843" y="635217"/>
                  <a:pt x="18803" y="623178"/>
                </a:cubicBezTo>
                <a:cubicBezTo>
                  <a:pt x="6764" y="611139"/>
                  <a:pt x="0" y="594809"/>
                  <a:pt x="0" y="577783"/>
                </a:cubicBezTo>
                <a:lnTo>
                  <a:pt x="0" y="64198"/>
                </a:lnTo>
                <a:close/>
              </a:path>
            </a:pathLst>
          </a:cu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085" tIns="58085" rIns="58085" bIns="58085" numCol="1" spcCol="1693" anchor="ctr" anchorCtr="0">
            <a:noAutofit/>
          </a:bodyPr>
          <a:lstStyle/>
          <a:p>
            <a:pPr algn="ctr" defTabSz="1218565">
              <a:spcBef>
                <a:spcPct val="20000"/>
              </a:spcBef>
              <a:defRPr/>
            </a:pPr>
            <a:r>
              <a:rPr lang="zh-CN" altLang="en-US" sz="1900" dirty="0">
                <a:solidFill>
                  <a:schemeClr val="bg1"/>
                </a:solidFill>
                <a:latin typeface="+mn-ea"/>
              </a:rPr>
              <a:t>添加标题 </a:t>
            </a:r>
            <a:r>
              <a:rPr lang="en-US" sz="1900" dirty="0">
                <a:solidFill>
                  <a:schemeClr val="bg1"/>
                </a:solidFill>
                <a:latin typeface="+mn-ea"/>
              </a:rPr>
              <a:t>03</a:t>
            </a:r>
          </a:p>
        </p:txBody>
      </p:sp>
      <p:grpSp>
        <p:nvGrpSpPr>
          <p:cNvPr id="96" name="Group 95"/>
          <p:cNvGrpSpPr/>
          <p:nvPr/>
        </p:nvGrpSpPr>
        <p:grpSpPr>
          <a:xfrm>
            <a:off x="5059922" y="3927988"/>
            <a:ext cx="843200" cy="535133"/>
            <a:chOff x="3794840" y="2240239"/>
            <a:chExt cx="632482" cy="401350"/>
          </a:xfrm>
        </p:grpSpPr>
        <p:sp>
          <p:nvSpPr>
            <p:cNvPr id="97" name="Freeform 96"/>
            <p:cNvSpPr/>
            <p:nvPr/>
          </p:nvSpPr>
          <p:spPr>
            <a:xfrm rot="19457599">
              <a:off x="3794840" y="2240239"/>
              <a:ext cx="632482" cy="32211"/>
            </a:xfrm>
            <a:custGeom>
              <a:avLst/>
              <a:gdLst>
                <a:gd name="connsiteX0" fmla="*/ 0 w 632482"/>
                <a:gd name="connsiteY0" fmla="*/ 16105 h 32211"/>
                <a:gd name="connsiteX1" fmla="*/ 632482 w 632482"/>
                <a:gd name="connsiteY1" fmla="*/ 16105 h 32211"/>
              </a:gdLst>
              <a:ahLst/>
              <a:cxnLst>
                <a:cxn ang="0">
                  <a:pos x="connsiteX0" y="connsiteY0"/>
                </a:cxn>
                <a:cxn ang="0">
                  <a:pos x="connsiteX1" y="connsiteY1"/>
                </a:cxn>
              </a:cxnLst>
              <a:rect l="l" t="t" r="r" b="b"/>
              <a:pathLst>
                <a:path w="632482" h="32211">
                  <a:moveTo>
                    <a:pt x="0" y="16105"/>
                  </a:moveTo>
                  <a:lnTo>
                    <a:pt x="632482" y="16105"/>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28" tIns="293" rIns="313129" bIns="293" numCol="1" spcCol="1270" anchor="ctr" anchorCtr="0">
              <a:noAutofit/>
            </a:bodyPr>
            <a:lstStyle/>
            <a:p>
              <a:pPr algn="ctr" defTabSz="295910">
                <a:lnSpc>
                  <a:spcPct val="90000"/>
                </a:lnSpc>
                <a:spcBef>
                  <a:spcPct val="0"/>
                </a:spcBef>
                <a:spcAft>
                  <a:spcPct val="35000"/>
                </a:spcAft>
              </a:pPr>
              <a:endParaRPr lang="en-US" sz="700">
                <a:latin typeface="+mn-ea"/>
              </a:endParaRPr>
            </a:p>
          </p:txBody>
        </p:sp>
        <p:sp>
          <p:nvSpPr>
            <p:cNvPr id="98" name="Freeform 97"/>
            <p:cNvSpPr/>
            <p:nvPr/>
          </p:nvSpPr>
          <p:spPr>
            <a:xfrm rot="2142401">
              <a:off x="3794840" y="2609378"/>
              <a:ext cx="632482" cy="32211"/>
            </a:xfrm>
            <a:custGeom>
              <a:avLst/>
              <a:gdLst>
                <a:gd name="connsiteX0" fmla="*/ 0 w 632482"/>
                <a:gd name="connsiteY0" fmla="*/ 16105 h 32211"/>
                <a:gd name="connsiteX1" fmla="*/ 632482 w 632482"/>
                <a:gd name="connsiteY1" fmla="*/ 16105 h 32211"/>
              </a:gdLst>
              <a:ahLst/>
              <a:cxnLst>
                <a:cxn ang="0">
                  <a:pos x="connsiteX0" y="connsiteY0"/>
                </a:cxn>
                <a:cxn ang="0">
                  <a:pos x="connsiteX1" y="connsiteY1"/>
                </a:cxn>
              </a:cxnLst>
              <a:rect l="l" t="t" r="r" b="b"/>
              <a:pathLst>
                <a:path w="632482" h="32211">
                  <a:moveTo>
                    <a:pt x="0" y="16105"/>
                  </a:moveTo>
                  <a:lnTo>
                    <a:pt x="632482" y="16105"/>
                  </a:lnTo>
                </a:path>
              </a:pathLst>
            </a:custGeom>
            <a:noFill/>
            <a:ln>
              <a:solidFill>
                <a:schemeClr val="bg2"/>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29" tIns="293" rIns="313128" bIns="293" numCol="1" spcCol="1270" anchor="ctr" anchorCtr="0">
              <a:noAutofit/>
            </a:bodyPr>
            <a:lstStyle/>
            <a:p>
              <a:pPr algn="ctr" defTabSz="295910">
                <a:lnSpc>
                  <a:spcPct val="90000"/>
                </a:lnSpc>
                <a:spcBef>
                  <a:spcPct val="0"/>
                </a:spcBef>
                <a:spcAft>
                  <a:spcPct val="35000"/>
                </a:spcAft>
              </a:pPr>
              <a:endParaRPr lang="en-US" sz="700">
                <a:latin typeface="+mn-ea"/>
              </a:endParaRPr>
            </a:p>
          </p:txBody>
        </p:sp>
      </p:grpSp>
      <p:sp>
        <p:nvSpPr>
          <p:cNvPr id="99" name="Freeform 98"/>
          <p:cNvSpPr/>
          <p:nvPr/>
        </p:nvSpPr>
        <p:spPr>
          <a:xfrm>
            <a:off x="5823867" y="4259754"/>
            <a:ext cx="1711726" cy="855975"/>
          </a:xfrm>
          <a:custGeom>
            <a:avLst/>
            <a:gdLst>
              <a:gd name="connsiteX0" fmla="*/ 0 w 1283962"/>
              <a:gd name="connsiteY0" fmla="*/ 64198 h 641981"/>
              <a:gd name="connsiteX1" fmla="*/ 18803 w 1283962"/>
              <a:gd name="connsiteY1" fmla="*/ 18803 h 641981"/>
              <a:gd name="connsiteX2" fmla="*/ 64198 w 1283962"/>
              <a:gd name="connsiteY2" fmla="*/ 0 h 641981"/>
              <a:gd name="connsiteX3" fmla="*/ 1219764 w 1283962"/>
              <a:gd name="connsiteY3" fmla="*/ 0 h 641981"/>
              <a:gd name="connsiteX4" fmla="*/ 1265159 w 1283962"/>
              <a:gd name="connsiteY4" fmla="*/ 18803 h 641981"/>
              <a:gd name="connsiteX5" fmla="*/ 1283962 w 1283962"/>
              <a:gd name="connsiteY5" fmla="*/ 64198 h 641981"/>
              <a:gd name="connsiteX6" fmla="*/ 1283962 w 1283962"/>
              <a:gd name="connsiteY6" fmla="*/ 577783 h 641981"/>
              <a:gd name="connsiteX7" fmla="*/ 1265159 w 1283962"/>
              <a:gd name="connsiteY7" fmla="*/ 623178 h 641981"/>
              <a:gd name="connsiteX8" fmla="*/ 1219764 w 1283962"/>
              <a:gd name="connsiteY8" fmla="*/ 641981 h 641981"/>
              <a:gd name="connsiteX9" fmla="*/ 64198 w 1283962"/>
              <a:gd name="connsiteY9" fmla="*/ 641981 h 641981"/>
              <a:gd name="connsiteX10" fmla="*/ 18803 w 1283962"/>
              <a:gd name="connsiteY10" fmla="*/ 623178 h 641981"/>
              <a:gd name="connsiteX11" fmla="*/ 0 w 1283962"/>
              <a:gd name="connsiteY11" fmla="*/ 577783 h 641981"/>
              <a:gd name="connsiteX12" fmla="*/ 0 w 1283962"/>
              <a:gd name="connsiteY12" fmla="*/ 64198 h 6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3962" h="641981">
                <a:moveTo>
                  <a:pt x="0" y="64198"/>
                </a:moveTo>
                <a:cubicBezTo>
                  <a:pt x="0" y="47172"/>
                  <a:pt x="6764" y="30843"/>
                  <a:pt x="18803" y="18803"/>
                </a:cubicBezTo>
                <a:cubicBezTo>
                  <a:pt x="30842" y="6764"/>
                  <a:pt x="47172" y="0"/>
                  <a:pt x="64198" y="0"/>
                </a:cubicBezTo>
                <a:lnTo>
                  <a:pt x="1219764" y="0"/>
                </a:lnTo>
                <a:cubicBezTo>
                  <a:pt x="1236790" y="0"/>
                  <a:pt x="1253119" y="6764"/>
                  <a:pt x="1265159" y="18803"/>
                </a:cubicBezTo>
                <a:cubicBezTo>
                  <a:pt x="1277198" y="30842"/>
                  <a:pt x="1283962" y="47172"/>
                  <a:pt x="1283962" y="64198"/>
                </a:cubicBezTo>
                <a:lnTo>
                  <a:pt x="1283962" y="577783"/>
                </a:lnTo>
                <a:cubicBezTo>
                  <a:pt x="1283962" y="594809"/>
                  <a:pt x="1277198" y="611138"/>
                  <a:pt x="1265159" y="623178"/>
                </a:cubicBezTo>
                <a:cubicBezTo>
                  <a:pt x="1253120" y="635217"/>
                  <a:pt x="1236791" y="641981"/>
                  <a:pt x="1219764" y="641981"/>
                </a:cubicBezTo>
                <a:lnTo>
                  <a:pt x="64198" y="641981"/>
                </a:lnTo>
                <a:cubicBezTo>
                  <a:pt x="47172" y="641981"/>
                  <a:pt x="30843" y="635217"/>
                  <a:pt x="18803" y="623178"/>
                </a:cubicBezTo>
                <a:cubicBezTo>
                  <a:pt x="6764" y="611139"/>
                  <a:pt x="0" y="594809"/>
                  <a:pt x="0" y="577783"/>
                </a:cubicBezTo>
                <a:lnTo>
                  <a:pt x="0" y="64198"/>
                </a:lnTo>
                <a:close/>
              </a:path>
            </a:pathLst>
          </a:cu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085" tIns="58085" rIns="58085" bIns="58085" numCol="1" spcCol="1693" anchor="ctr" anchorCtr="0">
            <a:noAutofit/>
          </a:bodyPr>
          <a:lstStyle/>
          <a:p>
            <a:pPr algn="ctr" defTabSz="1218565">
              <a:spcBef>
                <a:spcPct val="20000"/>
              </a:spcBef>
              <a:defRPr/>
            </a:pPr>
            <a:r>
              <a:rPr lang="zh-CN" altLang="en-US" sz="1900" dirty="0">
                <a:solidFill>
                  <a:schemeClr val="bg1"/>
                </a:solidFill>
                <a:latin typeface="+mn-ea"/>
              </a:rPr>
              <a:t>添加标题 </a:t>
            </a:r>
            <a:r>
              <a:rPr lang="en-US" sz="1900" dirty="0">
                <a:solidFill>
                  <a:schemeClr val="bg1"/>
                </a:solidFill>
                <a:latin typeface="+mn-ea"/>
              </a:rPr>
              <a:t>04</a:t>
            </a:r>
          </a:p>
        </p:txBody>
      </p:sp>
      <p:sp>
        <p:nvSpPr>
          <p:cNvPr id="70" name="Freeform 69"/>
          <p:cNvSpPr/>
          <p:nvPr/>
        </p:nvSpPr>
        <p:spPr>
          <a:xfrm>
            <a:off x="970040" y="2737718"/>
            <a:ext cx="1711726" cy="855975"/>
          </a:xfrm>
          <a:custGeom>
            <a:avLst/>
            <a:gdLst>
              <a:gd name="connsiteX0" fmla="*/ 0 w 1283962"/>
              <a:gd name="connsiteY0" fmla="*/ 64198 h 641981"/>
              <a:gd name="connsiteX1" fmla="*/ 18803 w 1283962"/>
              <a:gd name="connsiteY1" fmla="*/ 18803 h 641981"/>
              <a:gd name="connsiteX2" fmla="*/ 64198 w 1283962"/>
              <a:gd name="connsiteY2" fmla="*/ 0 h 641981"/>
              <a:gd name="connsiteX3" fmla="*/ 1219764 w 1283962"/>
              <a:gd name="connsiteY3" fmla="*/ 0 h 641981"/>
              <a:gd name="connsiteX4" fmla="*/ 1265159 w 1283962"/>
              <a:gd name="connsiteY4" fmla="*/ 18803 h 641981"/>
              <a:gd name="connsiteX5" fmla="*/ 1283962 w 1283962"/>
              <a:gd name="connsiteY5" fmla="*/ 64198 h 641981"/>
              <a:gd name="connsiteX6" fmla="*/ 1283962 w 1283962"/>
              <a:gd name="connsiteY6" fmla="*/ 577783 h 641981"/>
              <a:gd name="connsiteX7" fmla="*/ 1265159 w 1283962"/>
              <a:gd name="connsiteY7" fmla="*/ 623178 h 641981"/>
              <a:gd name="connsiteX8" fmla="*/ 1219764 w 1283962"/>
              <a:gd name="connsiteY8" fmla="*/ 641981 h 641981"/>
              <a:gd name="connsiteX9" fmla="*/ 64198 w 1283962"/>
              <a:gd name="connsiteY9" fmla="*/ 641981 h 641981"/>
              <a:gd name="connsiteX10" fmla="*/ 18803 w 1283962"/>
              <a:gd name="connsiteY10" fmla="*/ 623178 h 641981"/>
              <a:gd name="connsiteX11" fmla="*/ 0 w 1283962"/>
              <a:gd name="connsiteY11" fmla="*/ 577783 h 641981"/>
              <a:gd name="connsiteX12" fmla="*/ 0 w 1283962"/>
              <a:gd name="connsiteY12" fmla="*/ 64198 h 6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3962" h="641981">
                <a:moveTo>
                  <a:pt x="0" y="64198"/>
                </a:moveTo>
                <a:cubicBezTo>
                  <a:pt x="0" y="47172"/>
                  <a:pt x="6764" y="30843"/>
                  <a:pt x="18803" y="18803"/>
                </a:cubicBezTo>
                <a:cubicBezTo>
                  <a:pt x="30842" y="6764"/>
                  <a:pt x="47172" y="0"/>
                  <a:pt x="64198" y="0"/>
                </a:cubicBezTo>
                <a:lnTo>
                  <a:pt x="1219764" y="0"/>
                </a:lnTo>
                <a:cubicBezTo>
                  <a:pt x="1236790" y="0"/>
                  <a:pt x="1253119" y="6764"/>
                  <a:pt x="1265159" y="18803"/>
                </a:cubicBezTo>
                <a:cubicBezTo>
                  <a:pt x="1277198" y="30842"/>
                  <a:pt x="1283962" y="47172"/>
                  <a:pt x="1283962" y="64198"/>
                </a:cubicBezTo>
                <a:lnTo>
                  <a:pt x="1283962" y="577783"/>
                </a:lnTo>
                <a:cubicBezTo>
                  <a:pt x="1283962" y="594809"/>
                  <a:pt x="1277198" y="611138"/>
                  <a:pt x="1265159" y="623178"/>
                </a:cubicBezTo>
                <a:cubicBezTo>
                  <a:pt x="1253120" y="635217"/>
                  <a:pt x="1236791" y="641981"/>
                  <a:pt x="1219764" y="641981"/>
                </a:cubicBezTo>
                <a:lnTo>
                  <a:pt x="64198" y="641981"/>
                </a:lnTo>
                <a:cubicBezTo>
                  <a:pt x="47172" y="641981"/>
                  <a:pt x="30843" y="635217"/>
                  <a:pt x="18803" y="623178"/>
                </a:cubicBezTo>
                <a:cubicBezTo>
                  <a:pt x="6764" y="611139"/>
                  <a:pt x="0" y="594809"/>
                  <a:pt x="0" y="577783"/>
                </a:cubicBezTo>
                <a:lnTo>
                  <a:pt x="0" y="64198"/>
                </a:lnTo>
                <a:close/>
              </a:path>
            </a:pathLst>
          </a:custGeom>
          <a:solidFill>
            <a:schemeClr val="tx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085" tIns="58085" rIns="58085" bIns="58085" numCol="1" spcCol="1693" anchor="ctr" anchorCtr="0">
            <a:noAutofit/>
          </a:bodyPr>
          <a:lstStyle/>
          <a:p>
            <a:pPr algn="ctr" defTabSz="2310765">
              <a:lnSpc>
                <a:spcPct val="90000"/>
              </a:lnSpc>
              <a:spcBef>
                <a:spcPct val="0"/>
              </a:spcBef>
              <a:spcAft>
                <a:spcPct val="35000"/>
              </a:spcAft>
            </a:pPr>
            <a:r>
              <a:rPr lang="zh-CN" altLang="en-US" sz="2400" dirty="0">
                <a:latin typeface="+mn-ea"/>
              </a:rPr>
              <a:t>标题</a:t>
            </a:r>
            <a:endParaRPr lang="en-US" sz="2400" dirty="0">
              <a:latin typeface="+mn-ea"/>
            </a:endParaRPr>
          </a:p>
        </p:txBody>
      </p:sp>
      <p:sp>
        <p:nvSpPr>
          <p:cNvPr id="126" name="TextBox 125"/>
          <p:cNvSpPr txBox="1"/>
          <p:nvPr/>
        </p:nvSpPr>
        <p:spPr>
          <a:xfrm>
            <a:off x="7689190" y="1124720"/>
            <a:ext cx="3731392" cy="2626360"/>
          </a:xfrm>
          <a:prstGeom prst="rect">
            <a:avLst/>
          </a:prstGeom>
          <a:noFill/>
        </p:spPr>
        <p:txBody>
          <a:bodyPr wrap="square" lIns="121908" tIns="60954" rIns="121908" bIns="60954" rtlCol="0">
            <a:spAutoFit/>
          </a:bodyPr>
          <a:lstStyle/>
          <a:p>
            <a:r>
              <a:rPr lang="zh-CN" altLang="en-US" sz="2100" dirty="0">
                <a:solidFill>
                  <a:schemeClr val="bg2"/>
                </a:solidFill>
                <a:latin typeface="+mn-ea"/>
              </a:rPr>
              <a:t>项目产品开发</a:t>
            </a:r>
            <a:endParaRPr lang="en-US" altLang="zh-CN" sz="2100" dirty="0">
              <a:solidFill>
                <a:schemeClr val="bg2"/>
              </a:solidFill>
              <a:latin typeface="+mn-ea"/>
            </a:endParaRPr>
          </a:p>
          <a:p>
            <a:endParaRPr lang="en-US" sz="2100" dirty="0">
              <a:solidFill>
                <a:schemeClr val="bg2"/>
              </a:solidFill>
              <a:latin typeface="+mn-ea"/>
            </a:endParaRPr>
          </a:p>
          <a:p>
            <a:r>
              <a:rPr lang="zh-CN" altLang="en-US" sz="1300" dirty="0">
                <a:solidFill>
                  <a:schemeClr val="tx1">
                    <a:lumMod val="65000"/>
                    <a:lumOff val="35000"/>
                  </a:schemeClr>
                </a:solidFill>
                <a:latin typeface="+mn-ea"/>
              </a:rPr>
              <a:t>此处添加详细文本描述，建议与标题相关并符合整体语言风格，语言描述尽量简洁生动。尽量将每页幻灯片的字数控制在</a:t>
            </a:r>
            <a:r>
              <a:rPr lang="en-US" altLang="zh-CN" sz="1300" dirty="0">
                <a:solidFill>
                  <a:schemeClr val="tx1">
                    <a:lumMod val="65000"/>
                    <a:lumOff val="35000"/>
                  </a:schemeClr>
                </a:solidFill>
                <a:latin typeface="+mn-ea"/>
              </a:rPr>
              <a:t>200</a:t>
            </a:r>
            <a:r>
              <a:rPr lang="zh-CN" altLang="en-US" sz="1300" dirty="0">
                <a:solidFill>
                  <a:schemeClr val="tx1">
                    <a:lumMod val="65000"/>
                    <a:lumOff val="35000"/>
                  </a:schemeClr>
                </a:solidFill>
                <a:latin typeface="+mn-ea"/>
              </a:rPr>
              <a:t>字以内，据统计每页幻灯片的最好控制在</a:t>
            </a:r>
            <a:r>
              <a:rPr lang="en-US" altLang="zh-CN" sz="1300" dirty="0">
                <a:solidFill>
                  <a:schemeClr val="tx1">
                    <a:lumMod val="65000"/>
                    <a:lumOff val="35000"/>
                  </a:schemeClr>
                </a:solidFill>
                <a:latin typeface="+mn-ea"/>
              </a:rPr>
              <a:t>5</a:t>
            </a:r>
            <a:r>
              <a:rPr lang="zh-CN" altLang="en-US" sz="1300" dirty="0">
                <a:solidFill>
                  <a:schemeClr val="tx1">
                    <a:lumMod val="65000"/>
                    <a:lumOff val="35000"/>
                  </a:schemeClr>
                </a:solidFill>
                <a:latin typeface="+mn-ea"/>
              </a:rPr>
              <a:t>分钟之内。</a:t>
            </a:r>
            <a:endParaRPr lang="en-US" altLang="zh-CN" sz="1300" dirty="0">
              <a:solidFill>
                <a:schemeClr val="tx1">
                  <a:lumMod val="65000"/>
                  <a:lumOff val="35000"/>
                </a:schemeClr>
              </a:solidFill>
              <a:latin typeface="+mn-ea"/>
            </a:endParaRPr>
          </a:p>
          <a:p>
            <a:endParaRPr lang="en-US" altLang="zh-CN" sz="1300" dirty="0">
              <a:solidFill>
                <a:schemeClr val="tx1">
                  <a:lumMod val="65000"/>
                  <a:lumOff val="35000"/>
                </a:schemeClr>
              </a:solidFill>
              <a:latin typeface="+mn-ea"/>
            </a:endParaRPr>
          </a:p>
          <a:p>
            <a:r>
              <a:rPr lang="zh-CN" altLang="en-US" sz="1300" dirty="0">
                <a:solidFill>
                  <a:schemeClr val="tx1">
                    <a:lumMod val="65000"/>
                    <a:lumOff val="35000"/>
                  </a:schemeClr>
                </a:solidFill>
                <a:latin typeface="+mn-ea"/>
              </a:rPr>
              <a:t>此处添加详细文本描述，建议与标题相关并符合整体语言风格，语言描述尽量简洁生动。尽量将每页幻灯片的字数控制在</a:t>
            </a:r>
            <a:r>
              <a:rPr lang="en-US" altLang="zh-CN" sz="1300" dirty="0">
                <a:solidFill>
                  <a:schemeClr val="tx1">
                    <a:lumMod val="65000"/>
                    <a:lumOff val="35000"/>
                  </a:schemeClr>
                </a:solidFill>
                <a:latin typeface="+mn-ea"/>
              </a:rPr>
              <a:t>200</a:t>
            </a:r>
            <a:r>
              <a:rPr lang="zh-CN" altLang="en-US" sz="1300" dirty="0">
                <a:solidFill>
                  <a:schemeClr val="tx1">
                    <a:lumMod val="65000"/>
                    <a:lumOff val="35000"/>
                  </a:schemeClr>
                </a:solidFill>
                <a:latin typeface="+mn-ea"/>
              </a:rPr>
              <a:t>字以内，据统计每页幻灯片的最好控制在</a:t>
            </a:r>
            <a:r>
              <a:rPr lang="en-US" altLang="zh-CN" sz="1300" dirty="0">
                <a:solidFill>
                  <a:schemeClr val="tx1">
                    <a:lumMod val="65000"/>
                    <a:lumOff val="35000"/>
                  </a:schemeClr>
                </a:solidFill>
                <a:latin typeface="+mn-ea"/>
              </a:rPr>
              <a:t>5</a:t>
            </a:r>
            <a:r>
              <a:rPr lang="zh-CN" altLang="en-US" sz="1300" dirty="0">
                <a:solidFill>
                  <a:schemeClr val="tx1">
                    <a:lumMod val="65000"/>
                    <a:lumOff val="35000"/>
                  </a:schemeClr>
                </a:solidFill>
                <a:latin typeface="+mn-ea"/>
              </a:rPr>
              <a:t>分钟之内。</a:t>
            </a:r>
          </a:p>
        </p:txBody>
      </p:sp>
      <p:sp>
        <p:nvSpPr>
          <p:cNvPr id="131" name="TextBox 130"/>
          <p:cNvSpPr txBox="1"/>
          <p:nvPr/>
        </p:nvSpPr>
        <p:spPr>
          <a:xfrm>
            <a:off x="1035440" y="5655394"/>
            <a:ext cx="10121124" cy="615553"/>
          </a:xfrm>
          <a:prstGeom prst="rect">
            <a:avLst/>
          </a:prstGeom>
          <a:noFill/>
        </p:spPr>
        <p:txBody>
          <a:bodyPr wrap="square" lIns="0" tIns="0" rIns="0" bIns="0" rtlCol="0">
            <a:spAutoFit/>
          </a:bodyPr>
          <a:lstStyle/>
          <a:p>
            <a:pPr algn="ctr"/>
            <a:r>
              <a:rPr lang="zh-CN" altLang="en-US" sz="1300" dirty="0">
                <a:solidFill>
                  <a:schemeClr val="tx1">
                    <a:lumMod val="50000"/>
                    <a:lumOff val="50000"/>
                  </a:schemeClr>
                </a:solidFill>
                <a:latin typeface="+mn-ea"/>
              </a:rPr>
              <a:t>此处添加详细文本描述，建议与标题相关并符合整体语言风格，语言描述尽量简洁生动。尽量将每页幻灯片的字数控制在</a:t>
            </a:r>
            <a:r>
              <a:rPr lang="en-US" altLang="zh-CN" sz="1300" dirty="0">
                <a:solidFill>
                  <a:schemeClr val="tx1">
                    <a:lumMod val="50000"/>
                    <a:lumOff val="50000"/>
                  </a:schemeClr>
                </a:solidFill>
                <a:latin typeface="+mn-ea"/>
              </a:rPr>
              <a:t>200</a:t>
            </a:r>
            <a:r>
              <a:rPr lang="zh-CN" altLang="en-US" sz="1300" dirty="0">
                <a:solidFill>
                  <a:schemeClr val="tx1">
                    <a:lumMod val="50000"/>
                    <a:lumOff val="50000"/>
                  </a:schemeClr>
                </a:solidFill>
                <a:latin typeface="+mn-ea"/>
              </a:rPr>
              <a:t>字以内，据统计每页幻灯片的最好控制在</a:t>
            </a:r>
            <a:r>
              <a:rPr lang="en-US" altLang="zh-CN" sz="1300" dirty="0">
                <a:solidFill>
                  <a:schemeClr val="tx1">
                    <a:lumMod val="50000"/>
                    <a:lumOff val="50000"/>
                  </a:schemeClr>
                </a:solidFill>
                <a:latin typeface="+mn-ea"/>
              </a:rPr>
              <a:t>5</a:t>
            </a:r>
            <a:r>
              <a:rPr lang="zh-CN" altLang="en-US" sz="1300" dirty="0">
                <a:solidFill>
                  <a:schemeClr val="tx1">
                    <a:lumMod val="50000"/>
                    <a:lumOff val="50000"/>
                  </a:schemeClr>
                </a:solidFill>
                <a:latin typeface="+mn-ea"/>
              </a:rPr>
              <a:t>分钟之</a:t>
            </a:r>
            <a:r>
              <a:rPr lang="zh-CN" altLang="en-US" sz="1300" dirty="0" smtClean="0">
                <a:solidFill>
                  <a:schemeClr val="tx1">
                    <a:lumMod val="50000"/>
                    <a:lumOff val="50000"/>
                  </a:schemeClr>
                </a:solidFill>
                <a:latin typeface="+mn-ea"/>
              </a:rPr>
              <a:t>内亮亮图文旗舰店</a:t>
            </a:r>
            <a:r>
              <a:rPr lang="en-US" altLang="zh-CN" sz="1300" dirty="0" smtClean="0">
                <a:solidFill>
                  <a:schemeClr val="tx1">
                    <a:lumMod val="50000"/>
                    <a:lumOff val="50000"/>
                  </a:schemeClr>
                </a:solidFill>
                <a:latin typeface="+mn-ea"/>
              </a:rPr>
              <a:t>https://liangliangtuwen.tmall.com</a:t>
            </a:r>
            <a:r>
              <a:rPr lang="zh-CN" altLang="en-US" sz="1300" dirty="0" smtClean="0">
                <a:solidFill>
                  <a:schemeClr val="tx1">
                    <a:lumMod val="50000"/>
                    <a:lumOff val="50000"/>
                  </a:schemeClr>
                </a:solidFill>
                <a:latin typeface="+mn-ea"/>
              </a:rPr>
              <a:t>。</a:t>
            </a:r>
            <a:r>
              <a:rPr lang="zh-CN" altLang="en-US" sz="1300" dirty="0">
                <a:solidFill>
                  <a:schemeClr val="tx1">
                    <a:lumMod val="50000"/>
                    <a:lumOff val="50000"/>
                  </a:schemeClr>
                </a:solidFill>
                <a:latin typeface="+mn-ea"/>
              </a:rPr>
              <a:t>此处添加详细文本描述，建议与标题相关并符合整体语言风格，语言描述尽量简洁生动。尽量将每页幻灯片的字数控制在</a:t>
            </a:r>
            <a:r>
              <a:rPr lang="en-US" altLang="zh-CN" sz="1300" dirty="0">
                <a:solidFill>
                  <a:schemeClr val="tx1">
                    <a:lumMod val="50000"/>
                    <a:lumOff val="50000"/>
                  </a:schemeClr>
                </a:solidFill>
                <a:latin typeface="+mn-ea"/>
              </a:rPr>
              <a:t>200</a:t>
            </a:r>
            <a:r>
              <a:rPr lang="zh-CN" altLang="en-US" sz="1300" dirty="0">
                <a:solidFill>
                  <a:schemeClr val="tx1">
                    <a:lumMod val="50000"/>
                    <a:lumOff val="50000"/>
                  </a:schemeClr>
                </a:solidFill>
                <a:latin typeface="+mn-ea"/>
              </a:rPr>
              <a:t>字以内，据统计每页幻灯片的最好控制在</a:t>
            </a:r>
            <a:r>
              <a:rPr lang="en-US" altLang="zh-CN" sz="1300" dirty="0">
                <a:solidFill>
                  <a:schemeClr val="tx1">
                    <a:lumMod val="50000"/>
                    <a:lumOff val="50000"/>
                  </a:schemeClr>
                </a:solidFill>
                <a:latin typeface="+mn-ea"/>
              </a:rPr>
              <a:t>5</a:t>
            </a:r>
            <a:r>
              <a:rPr lang="zh-CN" altLang="en-US" sz="1300" dirty="0">
                <a:solidFill>
                  <a:schemeClr val="tx1">
                    <a:lumMod val="50000"/>
                    <a:lumOff val="50000"/>
                  </a:schemeClr>
                </a:solidFill>
                <a:latin typeface="+mn-ea"/>
              </a:rPr>
              <a:t>分钟之内。</a:t>
            </a:r>
          </a:p>
        </p:txBody>
      </p:sp>
      <p:cxnSp>
        <p:nvCxnSpPr>
          <p:cNvPr id="135" name="Straight Connector 134"/>
          <p:cNvCxnSpPr/>
          <p:nvPr/>
        </p:nvCxnSpPr>
        <p:spPr>
          <a:xfrm>
            <a:off x="1043634" y="5477608"/>
            <a:ext cx="10104735"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5" name="Freeform 74"/>
          <p:cNvSpPr/>
          <p:nvPr/>
        </p:nvSpPr>
        <p:spPr>
          <a:xfrm>
            <a:off x="3414918" y="1709208"/>
            <a:ext cx="1711726" cy="855975"/>
          </a:xfrm>
          <a:custGeom>
            <a:avLst/>
            <a:gdLst>
              <a:gd name="connsiteX0" fmla="*/ 0 w 1283962"/>
              <a:gd name="connsiteY0" fmla="*/ 64198 h 641981"/>
              <a:gd name="connsiteX1" fmla="*/ 18803 w 1283962"/>
              <a:gd name="connsiteY1" fmla="*/ 18803 h 641981"/>
              <a:gd name="connsiteX2" fmla="*/ 64198 w 1283962"/>
              <a:gd name="connsiteY2" fmla="*/ 0 h 641981"/>
              <a:gd name="connsiteX3" fmla="*/ 1219764 w 1283962"/>
              <a:gd name="connsiteY3" fmla="*/ 0 h 641981"/>
              <a:gd name="connsiteX4" fmla="*/ 1265159 w 1283962"/>
              <a:gd name="connsiteY4" fmla="*/ 18803 h 641981"/>
              <a:gd name="connsiteX5" fmla="*/ 1283962 w 1283962"/>
              <a:gd name="connsiteY5" fmla="*/ 64198 h 641981"/>
              <a:gd name="connsiteX6" fmla="*/ 1283962 w 1283962"/>
              <a:gd name="connsiteY6" fmla="*/ 577783 h 641981"/>
              <a:gd name="connsiteX7" fmla="*/ 1265159 w 1283962"/>
              <a:gd name="connsiteY7" fmla="*/ 623178 h 641981"/>
              <a:gd name="connsiteX8" fmla="*/ 1219764 w 1283962"/>
              <a:gd name="connsiteY8" fmla="*/ 641981 h 641981"/>
              <a:gd name="connsiteX9" fmla="*/ 64198 w 1283962"/>
              <a:gd name="connsiteY9" fmla="*/ 641981 h 641981"/>
              <a:gd name="connsiteX10" fmla="*/ 18803 w 1283962"/>
              <a:gd name="connsiteY10" fmla="*/ 623178 h 641981"/>
              <a:gd name="connsiteX11" fmla="*/ 0 w 1283962"/>
              <a:gd name="connsiteY11" fmla="*/ 577783 h 641981"/>
              <a:gd name="connsiteX12" fmla="*/ 0 w 1283962"/>
              <a:gd name="connsiteY12" fmla="*/ 64198 h 6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3962" h="641981">
                <a:moveTo>
                  <a:pt x="0" y="64198"/>
                </a:moveTo>
                <a:cubicBezTo>
                  <a:pt x="0" y="47172"/>
                  <a:pt x="6764" y="30843"/>
                  <a:pt x="18803" y="18803"/>
                </a:cubicBezTo>
                <a:cubicBezTo>
                  <a:pt x="30842" y="6764"/>
                  <a:pt x="47172" y="0"/>
                  <a:pt x="64198" y="0"/>
                </a:cubicBezTo>
                <a:lnTo>
                  <a:pt x="1219764" y="0"/>
                </a:lnTo>
                <a:cubicBezTo>
                  <a:pt x="1236790" y="0"/>
                  <a:pt x="1253119" y="6764"/>
                  <a:pt x="1265159" y="18803"/>
                </a:cubicBezTo>
                <a:cubicBezTo>
                  <a:pt x="1277198" y="30842"/>
                  <a:pt x="1283962" y="47172"/>
                  <a:pt x="1283962" y="64198"/>
                </a:cubicBezTo>
                <a:lnTo>
                  <a:pt x="1283962" y="577783"/>
                </a:lnTo>
                <a:cubicBezTo>
                  <a:pt x="1283962" y="594809"/>
                  <a:pt x="1277198" y="611138"/>
                  <a:pt x="1265159" y="623178"/>
                </a:cubicBezTo>
                <a:cubicBezTo>
                  <a:pt x="1253120" y="635217"/>
                  <a:pt x="1236791" y="641981"/>
                  <a:pt x="1219764" y="641981"/>
                </a:cubicBezTo>
                <a:lnTo>
                  <a:pt x="64198" y="641981"/>
                </a:lnTo>
                <a:cubicBezTo>
                  <a:pt x="47172" y="641981"/>
                  <a:pt x="30843" y="635217"/>
                  <a:pt x="18803" y="623178"/>
                </a:cubicBezTo>
                <a:cubicBezTo>
                  <a:pt x="6764" y="611139"/>
                  <a:pt x="0" y="594809"/>
                  <a:pt x="0" y="577783"/>
                </a:cubicBezTo>
                <a:lnTo>
                  <a:pt x="0" y="64198"/>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085" tIns="58085" rIns="58085" bIns="58085" numCol="1" spcCol="1693" anchor="ctr" anchorCtr="0">
            <a:noAutofit/>
          </a:bodyPr>
          <a:lstStyle/>
          <a:p>
            <a:pPr algn="ctr" defTabSz="2310765">
              <a:lnSpc>
                <a:spcPct val="90000"/>
              </a:lnSpc>
              <a:spcBef>
                <a:spcPct val="0"/>
              </a:spcBef>
              <a:spcAft>
                <a:spcPct val="35000"/>
              </a:spcAft>
            </a:pPr>
            <a:r>
              <a:rPr lang="zh-CN" altLang="en-US" sz="2400" dirty="0">
                <a:latin typeface="+mn-ea"/>
              </a:rPr>
              <a:t>标题</a:t>
            </a:r>
            <a:endParaRPr lang="en-US" altLang="zh-CN" sz="2400" dirty="0">
              <a:latin typeface="+mn-ea"/>
            </a:endParaRPr>
          </a:p>
        </p:txBody>
      </p:sp>
      <p:sp>
        <p:nvSpPr>
          <p:cNvPr id="94" name="Freeform 93"/>
          <p:cNvSpPr/>
          <p:nvPr/>
        </p:nvSpPr>
        <p:spPr>
          <a:xfrm>
            <a:off x="3427448" y="3767568"/>
            <a:ext cx="1711726" cy="855975"/>
          </a:xfrm>
          <a:custGeom>
            <a:avLst/>
            <a:gdLst>
              <a:gd name="connsiteX0" fmla="*/ 0 w 1283962"/>
              <a:gd name="connsiteY0" fmla="*/ 64198 h 641981"/>
              <a:gd name="connsiteX1" fmla="*/ 18803 w 1283962"/>
              <a:gd name="connsiteY1" fmla="*/ 18803 h 641981"/>
              <a:gd name="connsiteX2" fmla="*/ 64198 w 1283962"/>
              <a:gd name="connsiteY2" fmla="*/ 0 h 641981"/>
              <a:gd name="connsiteX3" fmla="*/ 1219764 w 1283962"/>
              <a:gd name="connsiteY3" fmla="*/ 0 h 641981"/>
              <a:gd name="connsiteX4" fmla="*/ 1265159 w 1283962"/>
              <a:gd name="connsiteY4" fmla="*/ 18803 h 641981"/>
              <a:gd name="connsiteX5" fmla="*/ 1283962 w 1283962"/>
              <a:gd name="connsiteY5" fmla="*/ 64198 h 641981"/>
              <a:gd name="connsiteX6" fmla="*/ 1283962 w 1283962"/>
              <a:gd name="connsiteY6" fmla="*/ 577783 h 641981"/>
              <a:gd name="connsiteX7" fmla="*/ 1265159 w 1283962"/>
              <a:gd name="connsiteY7" fmla="*/ 623178 h 641981"/>
              <a:gd name="connsiteX8" fmla="*/ 1219764 w 1283962"/>
              <a:gd name="connsiteY8" fmla="*/ 641981 h 641981"/>
              <a:gd name="connsiteX9" fmla="*/ 64198 w 1283962"/>
              <a:gd name="connsiteY9" fmla="*/ 641981 h 641981"/>
              <a:gd name="connsiteX10" fmla="*/ 18803 w 1283962"/>
              <a:gd name="connsiteY10" fmla="*/ 623178 h 641981"/>
              <a:gd name="connsiteX11" fmla="*/ 0 w 1283962"/>
              <a:gd name="connsiteY11" fmla="*/ 577783 h 641981"/>
              <a:gd name="connsiteX12" fmla="*/ 0 w 1283962"/>
              <a:gd name="connsiteY12" fmla="*/ 64198 h 6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3962" h="641981">
                <a:moveTo>
                  <a:pt x="0" y="64198"/>
                </a:moveTo>
                <a:cubicBezTo>
                  <a:pt x="0" y="47172"/>
                  <a:pt x="6764" y="30843"/>
                  <a:pt x="18803" y="18803"/>
                </a:cubicBezTo>
                <a:cubicBezTo>
                  <a:pt x="30842" y="6764"/>
                  <a:pt x="47172" y="0"/>
                  <a:pt x="64198" y="0"/>
                </a:cubicBezTo>
                <a:lnTo>
                  <a:pt x="1219764" y="0"/>
                </a:lnTo>
                <a:cubicBezTo>
                  <a:pt x="1236790" y="0"/>
                  <a:pt x="1253119" y="6764"/>
                  <a:pt x="1265159" y="18803"/>
                </a:cubicBezTo>
                <a:cubicBezTo>
                  <a:pt x="1277198" y="30842"/>
                  <a:pt x="1283962" y="47172"/>
                  <a:pt x="1283962" y="64198"/>
                </a:cubicBezTo>
                <a:lnTo>
                  <a:pt x="1283962" y="577783"/>
                </a:lnTo>
                <a:cubicBezTo>
                  <a:pt x="1283962" y="594809"/>
                  <a:pt x="1277198" y="611138"/>
                  <a:pt x="1265159" y="623178"/>
                </a:cubicBezTo>
                <a:cubicBezTo>
                  <a:pt x="1253120" y="635217"/>
                  <a:pt x="1236791" y="641981"/>
                  <a:pt x="1219764" y="641981"/>
                </a:cubicBezTo>
                <a:lnTo>
                  <a:pt x="64198" y="641981"/>
                </a:lnTo>
                <a:cubicBezTo>
                  <a:pt x="47172" y="641981"/>
                  <a:pt x="30843" y="635217"/>
                  <a:pt x="18803" y="623178"/>
                </a:cubicBezTo>
                <a:cubicBezTo>
                  <a:pt x="6764" y="611139"/>
                  <a:pt x="0" y="594809"/>
                  <a:pt x="0" y="577783"/>
                </a:cubicBezTo>
                <a:lnTo>
                  <a:pt x="0" y="64198"/>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085" tIns="58085" rIns="58085" bIns="58085" numCol="1" spcCol="1693" anchor="ctr" anchorCtr="0">
            <a:noAutofit/>
          </a:bodyPr>
          <a:lstStyle/>
          <a:p>
            <a:pPr algn="ctr" defTabSz="2310765">
              <a:lnSpc>
                <a:spcPct val="90000"/>
              </a:lnSpc>
              <a:spcBef>
                <a:spcPct val="0"/>
              </a:spcBef>
              <a:spcAft>
                <a:spcPct val="35000"/>
              </a:spcAft>
            </a:pPr>
            <a:r>
              <a:rPr lang="zh-CN" altLang="en-US" sz="2400" dirty="0">
                <a:latin typeface="+mn-ea"/>
              </a:rPr>
              <a:t>标题</a:t>
            </a:r>
            <a:endParaRPr lang="en-US" altLang="zh-CN" sz="2400" dirty="0">
              <a:latin typeface="+mn-ea"/>
            </a:endParaRP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grpId="0" nodeType="afterEffect">
                                  <p:stCondLst>
                                    <p:cond delay="0"/>
                                  </p:stCondLst>
                                  <p:childTnLst>
                                    <p:set>
                                      <p:cBhvr>
                                        <p:cTn id="6" dur="1" fill="hold">
                                          <p:stCondLst>
                                            <p:cond delay="0"/>
                                          </p:stCondLst>
                                        </p:cTn>
                                        <p:tgtEl>
                                          <p:spTgt spid="70"/>
                                        </p:tgtEl>
                                        <p:attrNameLst>
                                          <p:attrName>style.visibility</p:attrName>
                                        </p:attrNameLst>
                                      </p:cBhvr>
                                      <p:to>
                                        <p:strVal val="visible"/>
                                      </p:to>
                                    </p:set>
                                    <p:anim calcmode="lin" valueType="num">
                                      <p:cBhvr additive="base">
                                        <p:cTn id="7" dur="500" fill="hold"/>
                                        <p:tgtEl>
                                          <p:spTgt spid="70"/>
                                        </p:tgtEl>
                                        <p:attrNameLst>
                                          <p:attrName>ppt_x</p:attrName>
                                        </p:attrNameLst>
                                      </p:cBhvr>
                                      <p:tavLst>
                                        <p:tav tm="0">
                                          <p:val>
                                            <p:strVal val="0-#ppt_w/2"/>
                                          </p:val>
                                        </p:tav>
                                        <p:tav tm="100000">
                                          <p:val>
                                            <p:strVal val="#ppt_x"/>
                                          </p:val>
                                        </p:tav>
                                      </p:tavLst>
                                    </p:anim>
                                    <p:anim calcmode="lin" valueType="num">
                                      <p:cBhvr additive="base">
                                        <p:cTn id="8" dur="500" fill="hold"/>
                                        <p:tgtEl>
                                          <p:spTgt spid="7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36"/>
                                        </p:tgtEl>
                                        <p:attrNameLst>
                                          <p:attrName>style.visibility</p:attrName>
                                        </p:attrNameLst>
                                      </p:cBhvr>
                                      <p:to>
                                        <p:strVal val="visible"/>
                                      </p:to>
                                    </p:set>
                                    <p:animEffect transition="in" filter="fade">
                                      <p:cBhvr>
                                        <p:cTn id="12" dur="500"/>
                                        <p:tgtEl>
                                          <p:spTgt spid="136"/>
                                        </p:tgtEl>
                                      </p:cBhvr>
                                    </p:animEffect>
                                  </p:childTnLst>
                                </p:cTn>
                              </p:par>
                            </p:childTnLst>
                          </p:cTn>
                        </p:par>
                        <p:par>
                          <p:cTn id="13" fill="hold">
                            <p:stCondLst>
                              <p:cond delay="1000"/>
                            </p:stCondLst>
                            <p:childTnLst>
                              <p:par>
                                <p:cTn id="14" presetID="12" presetClass="entr" presetSubtype="8" fill="hold" grpId="0" nodeType="afterEffect">
                                  <p:stCondLst>
                                    <p:cond delay="0"/>
                                  </p:stCondLst>
                                  <p:childTnLst>
                                    <p:set>
                                      <p:cBhvr>
                                        <p:cTn id="15" dur="1" fill="hold">
                                          <p:stCondLst>
                                            <p:cond delay="0"/>
                                          </p:stCondLst>
                                        </p:cTn>
                                        <p:tgtEl>
                                          <p:spTgt spid="75"/>
                                        </p:tgtEl>
                                        <p:attrNameLst>
                                          <p:attrName>style.visibility</p:attrName>
                                        </p:attrNameLst>
                                      </p:cBhvr>
                                      <p:to>
                                        <p:strVal val="visible"/>
                                      </p:to>
                                    </p:set>
                                    <p:animEffect transition="in" filter="slide(fromLeft)">
                                      <p:cBhvr>
                                        <p:cTn id="16" dur="500"/>
                                        <p:tgtEl>
                                          <p:spTgt spid="75"/>
                                        </p:tgtEl>
                                      </p:cBhvr>
                                    </p:animEffect>
                                  </p:childTnLst>
                                </p:cTn>
                              </p:par>
                            </p:childTnLst>
                          </p:cTn>
                        </p:par>
                        <p:par>
                          <p:cTn id="17" fill="hold">
                            <p:stCondLst>
                              <p:cond delay="1500"/>
                            </p:stCondLst>
                            <p:childTnLst>
                              <p:par>
                                <p:cTn id="18" presetID="12" presetClass="entr" presetSubtype="8" fill="hold" grpId="0" nodeType="afterEffect">
                                  <p:stCondLst>
                                    <p:cond delay="0"/>
                                  </p:stCondLst>
                                  <p:childTnLst>
                                    <p:set>
                                      <p:cBhvr>
                                        <p:cTn id="19" dur="1" fill="hold">
                                          <p:stCondLst>
                                            <p:cond delay="0"/>
                                          </p:stCondLst>
                                        </p:cTn>
                                        <p:tgtEl>
                                          <p:spTgt spid="94"/>
                                        </p:tgtEl>
                                        <p:attrNameLst>
                                          <p:attrName>style.visibility</p:attrName>
                                        </p:attrNameLst>
                                      </p:cBhvr>
                                      <p:to>
                                        <p:strVal val="visible"/>
                                      </p:to>
                                    </p:set>
                                    <p:animEffect transition="in" filter="slide(fromLeft)">
                                      <p:cBhvr>
                                        <p:cTn id="20" dur="500"/>
                                        <p:tgtEl>
                                          <p:spTgt spid="94"/>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85"/>
                                        </p:tgtEl>
                                        <p:attrNameLst>
                                          <p:attrName>style.visibility</p:attrName>
                                        </p:attrNameLst>
                                      </p:cBhvr>
                                      <p:to>
                                        <p:strVal val="visible"/>
                                      </p:to>
                                    </p:set>
                                    <p:animEffect transition="in" filter="fade">
                                      <p:cBhvr>
                                        <p:cTn id="24" dur="500"/>
                                        <p:tgtEl>
                                          <p:spTgt spid="85"/>
                                        </p:tgtEl>
                                      </p:cBhvr>
                                    </p:animEffect>
                                  </p:childTnLst>
                                </p:cTn>
                              </p:par>
                            </p:childTnLst>
                          </p:cTn>
                        </p:par>
                        <p:par>
                          <p:cTn id="25" fill="hold">
                            <p:stCondLst>
                              <p:cond delay="2500"/>
                            </p:stCondLst>
                            <p:childTnLst>
                              <p:par>
                                <p:cTn id="26" presetID="12" presetClass="entr" presetSubtype="8" fill="hold" grpId="0" nodeType="afterEffect">
                                  <p:stCondLst>
                                    <p:cond delay="0"/>
                                  </p:stCondLst>
                                  <p:childTnLst>
                                    <p:set>
                                      <p:cBhvr>
                                        <p:cTn id="27" dur="1" fill="hold">
                                          <p:stCondLst>
                                            <p:cond delay="0"/>
                                          </p:stCondLst>
                                        </p:cTn>
                                        <p:tgtEl>
                                          <p:spTgt spid="77"/>
                                        </p:tgtEl>
                                        <p:attrNameLst>
                                          <p:attrName>style.visibility</p:attrName>
                                        </p:attrNameLst>
                                      </p:cBhvr>
                                      <p:to>
                                        <p:strVal val="visible"/>
                                      </p:to>
                                    </p:set>
                                    <p:animEffect transition="in" filter="slide(fromLeft)">
                                      <p:cBhvr>
                                        <p:cTn id="28" dur="500"/>
                                        <p:tgtEl>
                                          <p:spTgt spid="77"/>
                                        </p:tgtEl>
                                      </p:cBhvr>
                                    </p:animEffect>
                                  </p:childTnLst>
                                </p:cTn>
                              </p:par>
                            </p:childTnLst>
                          </p:cTn>
                        </p:par>
                        <p:par>
                          <p:cTn id="29" fill="hold">
                            <p:stCondLst>
                              <p:cond delay="3000"/>
                            </p:stCondLst>
                            <p:childTnLst>
                              <p:par>
                                <p:cTn id="30" presetID="12" presetClass="entr" presetSubtype="8" fill="hold" grpId="0" nodeType="afterEffect">
                                  <p:stCondLst>
                                    <p:cond delay="0"/>
                                  </p:stCondLst>
                                  <p:childTnLst>
                                    <p:set>
                                      <p:cBhvr>
                                        <p:cTn id="31" dur="1" fill="hold">
                                          <p:stCondLst>
                                            <p:cond delay="0"/>
                                          </p:stCondLst>
                                        </p:cTn>
                                        <p:tgtEl>
                                          <p:spTgt spid="79"/>
                                        </p:tgtEl>
                                        <p:attrNameLst>
                                          <p:attrName>style.visibility</p:attrName>
                                        </p:attrNameLst>
                                      </p:cBhvr>
                                      <p:to>
                                        <p:strVal val="visible"/>
                                      </p:to>
                                    </p:set>
                                    <p:animEffect transition="in" filter="slide(fromLeft)">
                                      <p:cBhvr>
                                        <p:cTn id="32" dur="500"/>
                                        <p:tgtEl>
                                          <p:spTgt spid="79"/>
                                        </p:tgtEl>
                                      </p:cBhvr>
                                    </p:animEffect>
                                  </p:childTnLst>
                                </p:cTn>
                              </p:par>
                            </p:childTnLst>
                          </p:cTn>
                        </p:par>
                        <p:par>
                          <p:cTn id="33" fill="hold">
                            <p:stCondLst>
                              <p:cond delay="3500"/>
                            </p:stCondLst>
                            <p:childTnLst>
                              <p:par>
                                <p:cTn id="34" presetID="10" presetClass="entr" presetSubtype="0" fill="hold" nodeType="afterEffect">
                                  <p:stCondLst>
                                    <p:cond delay="0"/>
                                  </p:stCondLst>
                                  <p:childTnLst>
                                    <p:set>
                                      <p:cBhvr>
                                        <p:cTn id="35" dur="1" fill="hold">
                                          <p:stCondLst>
                                            <p:cond delay="0"/>
                                          </p:stCondLst>
                                        </p:cTn>
                                        <p:tgtEl>
                                          <p:spTgt spid="96"/>
                                        </p:tgtEl>
                                        <p:attrNameLst>
                                          <p:attrName>style.visibility</p:attrName>
                                        </p:attrNameLst>
                                      </p:cBhvr>
                                      <p:to>
                                        <p:strVal val="visible"/>
                                      </p:to>
                                    </p:set>
                                    <p:animEffect transition="in" filter="fade">
                                      <p:cBhvr>
                                        <p:cTn id="36" dur="500"/>
                                        <p:tgtEl>
                                          <p:spTgt spid="96"/>
                                        </p:tgtEl>
                                      </p:cBhvr>
                                    </p:animEffect>
                                  </p:childTnLst>
                                </p:cTn>
                              </p:par>
                            </p:childTnLst>
                          </p:cTn>
                        </p:par>
                        <p:par>
                          <p:cTn id="37" fill="hold">
                            <p:stCondLst>
                              <p:cond delay="4000"/>
                            </p:stCondLst>
                            <p:childTnLst>
                              <p:par>
                                <p:cTn id="38" presetID="12" presetClass="entr" presetSubtype="8" fill="hold" grpId="0" nodeType="afterEffect">
                                  <p:stCondLst>
                                    <p:cond delay="0"/>
                                  </p:stCondLst>
                                  <p:childTnLst>
                                    <p:set>
                                      <p:cBhvr>
                                        <p:cTn id="39" dur="1" fill="hold">
                                          <p:stCondLst>
                                            <p:cond delay="0"/>
                                          </p:stCondLst>
                                        </p:cTn>
                                        <p:tgtEl>
                                          <p:spTgt spid="95"/>
                                        </p:tgtEl>
                                        <p:attrNameLst>
                                          <p:attrName>style.visibility</p:attrName>
                                        </p:attrNameLst>
                                      </p:cBhvr>
                                      <p:to>
                                        <p:strVal val="visible"/>
                                      </p:to>
                                    </p:set>
                                    <p:animEffect transition="in" filter="slide(fromLeft)">
                                      <p:cBhvr>
                                        <p:cTn id="40" dur="500"/>
                                        <p:tgtEl>
                                          <p:spTgt spid="95"/>
                                        </p:tgtEl>
                                      </p:cBhvr>
                                    </p:animEffect>
                                  </p:childTnLst>
                                </p:cTn>
                              </p:par>
                            </p:childTnLst>
                          </p:cTn>
                        </p:par>
                        <p:par>
                          <p:cTn id="41" fill="hold">
                            <p:stCondLst>
                              <p:cond delay="4500"/>
                            </p:stCondLst>
                            <p:childTnLst>
                              <p:par>
                                <p:cTn id="42" presetID="12" presetClass="entr" presetSubtype="8" fill="hold" grpId="0" nodeType="afterEffect">
                                  <p:stCondLst>
                                    <p:cond delay="0"/>
                                  </p:stCondLst>
                                  <p:childTnLst>
                                    <p:set>
                                      <p:cBhvr>
                                        <p:cTn id="43" dur="1" fill="hold">
                                          <p:stCondLst>
                                            <p:cond delay="0"/>
                                          </p:stCondLst>
                                        </p:cTn>
                                        <p:tgtEl>
                                          <p:spTgt spid="99"/>
                                        </p:tgtEl>
                                        <p:attrNameLst>
                                          <p:attrName>style.visibility</p:attrName>
                                        </p:attrNameLst>
                                      </p:cBhvr>
                                      <p:to>
                                        <p:strVal val="visible"/>
                                      </p:to>
                                    </p:set>
                                    <p:animEffect transition="in" filter="slide(fromLeft)">
                                      <p:cBhvr>
                                        <p:cTn id="44" dur="500"/>
                                        <p:tgtEl>
                                          <p:spTgt spid="99"/>
                                        </p:tgtEl>
                                      </p:cBhvr>
                                    </p:animEffect>
                                  </p:childTnLst>
                                </p:cTn>
                              </p:par>
                            </p:childTnLst>
                          </p:cTn>
                        </p:par>
                        <p:par>
                          <p:cTn id="45" fill="hold">
                            <p:stCondLst>
                              <p:cond delay="5000"/>
                            </p:stCondLst>
                            <p:childTnLst>
                              <p:par>
                                <p:cTn id="46" presetID="10" presetClass="entr" presetSubtype="0" fill="hold" nodeType="afterEffect">
                                  <p:stCondLst>
                                    <p:cond delay="0"/>
                                  </p:stCondLst>
                                  <p:childTnLst>
                                    <p:set>
                                      <p:cBhvr>
                                        <p:cTn id="47" dur="1" fill="hold">
                                          <p:stCondLst>
                                            <p:cond delay="0"/>
                                          </p:stCondLst>
                                        </p:cTn>
                                        <p:tgtEl>
                                          <p:spTgt spid="126"/>
                                        </p:tgtEl>
                                        <p:attrNameLst>
                                          <p:attrName>style.visibility</p:attrName>
                                        </p:attrNameLst>
                                      </p:cBhvr>
                                      <p:to>
                                        <p:strVal val="visible"/>
                                      </p:to>
                                    </p:set>
                                    <p:animEffect transition="in" filter="fade">
                                      <p:cBhvr>
                                        <p:cTn id="48" dur="1000"/>
                                        <p:tgtEl>
                                          <p:spTgt spid="126"/>
                                        </p:tgtEl>
                                      </p:cBhvr>
                                    </p:animEffect>
                                  </p:childTnLst>
                                </p:cTn>
                              </p:par>
                            </p:childTnLst>
                          </p:cTn>
                        </p:par>
                        <p:par>
                          <p:cTn id="49" fill="hold">
                            <p:stCondLst>
                              <p:cond delay="6000"/>
                            </p:stCondLst>
                            <p:childTnLst>
                              <p:par>
                                <p:cTn id="50" presetID="18" presetClass="entr" presetSubtype="3" fill="hold" nodeType="afterEffect">
                                  <p:stCondLst>
                                    <p:cond delay="0"/>
                                  </p:stCondLst>
                                  <p:childTnLst>
                                    <p:set>
                                      <p:cBhvr>
                                        <p:cTn id="51" dur="1" fill="hold">
                                          <p:stCondLst>
                                            <p:cond delay="0"/>
                                          </p:stCondLst>
                                        </p:cTn>
                                        <p:tgtEl>
                                          <p:spTgt spid="135"/>
                                        </p:tgtEl>
                                        <p:attrNameLst>
                                          <p:attrName>style.visibility</p:attrName>
                                        </p:attrNameLst>
                                      </p:cBhvr>
                                      <p:to>
                                        <p:strVal val="visible"/>
                                      </p:to>
                                    </p:set>
                                    <p:animEffect transition="in" filter="strips(upRight)">
                                      <p:cBhvr>
                                        <p:cTn id="52" dur="500"/>
                                        <p:tgtEl>
                                          <p:spTgt spid="135"/>
                                        </p:tgtEl>
                                      </p:cBhvr>
                                    </p:animEffect>
                                  </p:childTnLst>
                                </p:cTn>
                              </p:par>
                            </p:childTnLst>
                          </p:cTn>
                        </p:par>
                        <p:par>
                          <p:cTn id="53" fill="hold">
                            <p:stCondLst>
                              <p:cond delay="6500"/>
                            </p:stCondLst>
                            <p:childTnLst>
                              <p:par>
                                <p:cTn id="54" presetID="10" presetClass="entr" presetSubtype="0" fill="hold" grpId="0" nodeType="afterEffect">
                                  <p:stCondLst>
                                    <p:cond delay="0"/>
                                  </p:stCondLst>
                                  <p:childTnLst>
                                    <p:set>
                                      <p:cBhvr>
                                        <p:cTn id="55" dur="1" fill="hold">
                                          <p:stCondLst>
                                            <p:cond delay="0"/>
                                          </p:stCondLst>
                                        </p:cTn>
                                        <p:tgtEl>
                                          <p:spTgt spid="131"/>
                                        </p:tgtEl>
                                        <p:attrNameLst>
                                          <p:attrName>style.visibility</p:attrName>
                                        </p:attrNameLst>
                                      </p:cBhvr>
                                      <p:to>
                                        <p:strVal val="visible"/>
                                      </p:to>
                                    </p:set>
                                    <p:animEffect transition="in" filter="fade">
                                      <p:cBhvr>
                                        <p:cTn id="56"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9" grpId="0" animBg="1"/>
      <p:bldP spid="95" grpId="0" animBg="1"/>
      <p:bldP spid="99" grpId="0" animBg="1"/>
      <p:bldP spid="70" grpId="0" animBg="1"/>
      <p:bldP spid="131" grpId="0"/>
      <p:bldP spid="75" grpId="0" animBg="1"/>
      <p:bldP spid="9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570246" y="2392475"/>
            <a:ext cx="1957611" cy="1957611"/>
            <a:chOff x="2848131" y="1860029"/>
            <a:chExt cx="3807502" cy="3807502"/>
          </a:xfrm>
        </p:grpSpPr>
        <p:grpSp>
          <p:nvGrpSpPr>
            <p:cNvPr id="3" name="组合 2"/>
            <p:cNvGrpSpPr/>
            <p:nvPr/>
          </p:nvGrpSpPr>
          <p:grpSpPr>
            <a:xfrm>
              <a:off x="2848131" y="1860029"/>
              <a:ext cx="3807502" cy="3807502"/>
              <a:chOff x="2848131" y="1860029"/>
              <a:chExt cx="3807502" cy="3807502"/>
            </a:xfrm>
          </p:grpSpPr>
          <p:sp>
            <p:nvSpPr>
              <p:cNvPr id="7" name="椭圆 6"/>
              <p:cNvSpPr/>
              <p:nvPr/>
            </p:nvSpPr>
            <p:spPr>
              <a:xfrm>
                <a:off x="2848131" y="1860029"/>
                <a:ext cx="3807502" cy="3807502"/>
              </a:xfrm>
              <a:prstGeom prst="ellipse">
                <a:avLst/>
              </a:prstGeom>
              <a:gradFill flip="none" rotWithShape="1">
                <a:gsLst>
                  <a:gs pos="0">
                    <a:schemeClr val="bg1"/>
                  </a:gs>
                  <a:gs pos="100000">
                    <a:srgbClr val="E0E0E0"/>
                  </a:gs>
                </a:gsLst>
                <a:lin ang="5400000" scaled="1"/>
                <a:tileRect/>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2"/>
                  </a:solidFill>
                  <a:latin typeface="+mj-ea"/>
                  <a:ea typeface="+mj-ea"/>
                </a:endParaRPr>
              </a:p>
            </p:txBody>
          </p:sp>
          <p:sp>
            <p:nvSpPr>
              <p:cNvPr id="8" name="椭圆 7"/>
              <p:cNvSpPr/>
              <p:nvPr/>
            </p:nvSpPr>
            <p:spPr>
              <a:xfrm>
                <a:off x="2936822" y="1948720"/>
                <a:ext cx="3630118" cy="3630118"/>
              </a:xfrm>
              <a:prstGeom prst="ellipse">
                <a:avLst/>
              </a:prstGeom>
              <a:gradFill flip="none" rotWithShape="1">
                <a:gsLst>
                  <a:gs pos="0">
                    <a:schemeClr val="bg1"/>
                  </a:gs>
                  <a:gs pos="100000">
                    <a:srgbClr val="DDDEDD"/>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tx2"/>
                  </a:solidFill>
                  <a:latin typeface="+mj-ea"/>
                  <a:ea typeface="+mj-ea"/>
                </a:endParaRPr>
              </a:p>
            </p:txBody>
          </p:sp>
        </p:grpSp>
        <p:grpSp>
          <p:nvGrpSpPr>
            <p:cNvPr id="4" name="组合 3"/>
            <p:cNvGrpSpPr/>
            <p:nvPr/>
          </p:nvGrpSpPr>
          <p:grpSpPr>
            <a:xfrm>
              <a:off x="2973693" y="2956054"/>
              <a:ext cx="3571374" cy="1884000"/>
              <a:chOff x="2973693" y="2956054"/>
              <a:chExt cx="3571374" cy="1884000"/>
            </a:xfrm>
          </p:grpSpPr>
          <p:sp>
            <p:nvSpPr>
              <p:cNvPr id="5" name="文本框 4"/>
              <p:cNvSpPr txBox="1"/>
              <p:nvPr/>
            </p:nvSpPr>
            <p:spPr>
              <a:xfrm>
                <a:off x="2973693" y="2956054"/>
                <a:ext cx="3571374" cy="897926"/>
              </a:xfrm>
              <a:prstGeom prst="rect">
                <a:avLst/>
              </a:prstGeom>
              <a:noFill/>
            </p:spPr>
            <p:txBody>
              <a:bodyPr wrap="none" rtlCol="0">
                <a:spAutoFit/>
              </a:bodyPr>
              <a:lstStyle/>
              <a:p>
                <a:pPr algn="ctr"/>
                <a:r>
                  <a:rPr lang="en-US" altLang="zh-CN" sz="2400" dirty="0">
                    <a:solidFill>
                      <a:schemeClr val="tx2"/>
                    </a:solidFill>
                    <a:latin typeface="+mj-ea"/>
                    <a:ea typeface="+mj-ea"/>
                  </a:rPr>
                  <a:t>CONTENTS</a:t>
                </a:r>
                <a:endParaRPr lang="zh-CN" altLang="en-US" sz="2400" dirty="0">
                  <a:solidFill>
                    <a:schemeClr val="tx2"/>
                  </a:solidFill>
                  <a:latin typeface="+mj-ea"/>
                  <a:ea typeface="+mj-ea"/>
                </a:endParaRPr>
              </a:p>
            </p:txBody>
          </p:sp>
          <p:sp>
            <p:nvSpPr>
              <p:cNvPr id="6" name="文本框 5"/>
              <p:cNvSpPr txBox="1"/>
              <p:nvPr/>
            </p:nvSpPr>
            <p:spPr>
              <a:xfrm>
                <a:off x="3370087" y="3543173"/>
                <a:ext cx="2778582" cy="1296881"/>
              </a:xfrm>
              <a:prstGeom prst="rect">
                <a:avLst/>
              </a:prstGeom>
              <a:noFill/>
            </p:spPr>
            <p:txBody>
              <a:bodyPr wrap="none" rtlCol="0">
                <a:spAutoFit/>
              </a:bodyPr>
              <a:lstStyle/>
              <a:p>
                <a:pPr algn="ctr"/>
                <a:r>
                  <a:rPr lang="zh-CN" altLang="en-US" sz="3735" b="1" dirty="0">
                    <a:solidFill>
                      <a:schemeClr val="tx2"/>
                    </a:solidFill>
                    <a:latin typeface="+mj-ea"/>
                    <a:ea typeface="+mj-ea"/>
                  </a:rPr>
                  <a:t>目  录</a:t>
                </a:r>
              </a:p>
            </p:txBody>
          </p:sp>
        </p:grpSp>
      </p:grpSp>
      <p:grpSp>
        <p:nvGrpSpPr>
          <p:cNvPr id="9" name="组合 8"/>
          <p:cNvGrpSpPr/>
          <p:nvPr/>
        </p:nvGrpSpPr>
        <p:grpSpPr>
          <a:xfrm>
            <a:off x="4703336" y="1099347"/>
            <a:ext cx="6003409" cy="917460"/>
            <a:chOff x="736575" y="3188469"/>
            <a:chExt cx="8755767" cy="1338084"/>
          </a:xfrm>
        </p:grpSpPr>
        <p:sp>
          <p:nvSpPr>
            <p:cNvPr id="10" name="圆角矩形 9"/>
            <p:cNvSpPr/>
            <p:nvPr/>
          </p:nvSpPr>
          <p:spPr>
            <a:xfrm flipH="1">
              <a:off x="1020576" y="3307962"/>
              <a:ext cx="8471766" cy="1132577"/>
            </a:xfrm>
            <a:prstGeom prst="roundRect">
              <a:avLst>
                <a:gd name="adj" fmla="val 50000"/>
              </a:avLst>
            </a:prstGeom>
            <a:gradFill flip="none" rotWithShape="1">
              <a:gsLst>
                <a:gs pos="0">
                  <a:schemeClr val="bg1"/>
                </a:gs>
                <a:gs pos="100000">
                  <a:srgbClr val="E0E0E0"/>
                </a:gs>
              </a:gsLst>
              <a:lin ang="5400000" scaled="1"/>
              <a:tileRect/>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grpSp>
          <p:nvGrpSpPr>
            <p:cNvPr id="11" name="组合 10"/>
            <p:cNvGrpSpPr/>
            <p:nvPr/>
          </p:nvGrpSpPr>
          <p:grpSpPr>
            <a:xfrm>
              <a:off x="736575" y="3188469"/>
              <a:ext cx="1338084" cy="1338084"/>
              <a:chOff x="3567745" y="3971974"/>
              <a:chExt cx="1338084" cy="1338084"/>
            </a:xfrm>
          </p:grpSpPr>
          <p:grpSp>
            <p:nvGrpSpPr>
              <p:cNvPr id="14" name="组合 13"/>
              <p:cNvGrpSpPr/>
              <p:nvPr/>
            </p:nvGrpSpPr>
            <p:grpSpPr>
              <a:xfrm>
                <a:off x="3567745" y="3971974"/>
                <a:ext cx="1338084" cy="1338084"/>
                <a:chOff x="5213600" y="2517129"/>
                <a:chExt cx="2023672" cy="2023672"/>
              </a:xfrm>
            </p:grpSpPr>
            <p:sp>
              <p:nvSpPr>
                <p:cNvPr id="16" name="椭圆 15"/>
                <p:cNvSpPr/>
                <p:nvPr/>
              </p:nvSpPr>
              <p:spPr>
                <a:xfrm>
                  <a:off x="5213600" y="2517129"/>
                  <a:ext cx="2023672" cy="2023672"/>
                </a:xfrm>
                <a:prstGeom prst="ellipse">
                  <a:avLst/>
                </a:prstGeom>
                <a:gradFill flip="none" rotWithShape="1">
                  <a:gsLst>
                    <a:gs pos="0">
                      <a:schemeClr val="bg1"/>
                    </a:gs>
                    <a:gs pos="100000">
                      <a:srgbClr val="E0E0E0"/>
                    </a:gs>
                  </a:gsLst>
                  <a:lin ang="5400000" scaled="1"/>
                  <a:tileRect/>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sp>
              <p:nvSpPr>
                <p:cNvPr id="17" name="椭圆 16"/>
                <p:cNvSpPr/>
                <p:nvPr/>
              </p:nvSpPr>
              <p:spPr>
                <a:xfrm>
                  <a:off x="5260739" y="2564268"/>
                  <a:ext cx="1929394" cy="1929394"/>
                </a:xfrm>
                <a:prstGeom prst="ellipse">
                  <a:avLst/>
                </a:prstGeom>
                <a:gradFill flip="none" rotWithShape="1">
                  <a:gsLst>
                    <a:gs pos="0">
                      <a:schemeClr val="bg1"/>
                    </a:gs>
                    <a:gs pos="100000">
                      <a:srgbClr val="DDDEDD"/>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grpSp>
          <p:sp>
            <p:nvSpPr>
              <p:cNvPr id="15" name="椭圆 14"/>
              <p:cNvSpPr/>
              <p:nvPr/>
            </p:nvSpPr>
            <p:spPr>
              <a:xfrm>
                <a:off x="3695022" y="4099252"/>
                <a:ext cx="1083527" cy="1083527"/>
              </a:xfrm>
              <a:prstGeom prst="ellipse">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latin typeface="+mj-ea"/>
                  <a:ea typeface="+mj-ea"/>
                </a:endParaRPr>
              </a:p>
            </p:txBody>
          </p:sp>
        </p:grpSp>
        <p:sp>
          <p:nvSpPr>
            <p:cNvPr id="12" name="文本框 77"/>
            <p:cNvSpPr txBox="1"/>
            <p:nvPr/>
          </p:nvSpPr>
          <p:spPr>
            <a:xfrm>
              <a:off x="839801" y="3446782"/>
              <a:ext cx="1092551" cy="852874"/>
            </a:xfrm>
            <a:prstGeom prst="rect">
              <a:avLst/>
            </a:prstGeom>
            <a:noFill/>
          </p:spPr>
          <p:txBody>
            <a:bodyPr wrap="square" rtlCol="0">
              <a:spAutoFit/>
            </a:bodyPr>
            <a:lstStyle/>
            <a:p>
              <a:pPr algn="ctr"/>
              <a:r>
                <a:rPr lang="zh-CN" altLang="en-US" sz="1600" b="1" dirty="0">
                  <a:solidFill>
                    <a:schemeClr val="bg1"/>
                  </a:solidFill>
                  <a:latin typeface="+mj-ea"/>
                  <a:ea typeface="+mj-ea"/>
                </a:rPr>
                <a:t>年度概述</a:t>
              </a:r>
              <a:endParaRPr lang="en-US" altLang="zh-CN" sz="1600" b="1" dirty="0">
                <a:solidFill>
                  <a:schemeClr val="bg1"/>
                </a:solidFill>
                <a:latin typeface="+mj-ea"/>
                <a:ea typeface="+mj-ea"/>
              </a:endParaRPr>
            </a:p>
          </p:txBody>
        </p:sp>
        <p:sp>
          <p:nvSpPr>
            <p:cNvPr id="13" name="TextBox 72"/>
            <p:cNvSpPr txBox="1"/>
            <p:nvPr/>
          </p:nvSpPr>
          <p:spPr>
            <a:xfrm>
              <a:off x="2261366" y="3619883"/>
              <a:ext cx="5905248" cy="46393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65">
                <a:defRPr/>
              </a:pPr>
              <a:r>
                <a:rPr lang="zh-CN" altLang="en-US" sz="1465" kern="0" dirty="0">
                  <a:solidFill>
                    <a:schemeClr val="tx2"/>
                  </a:solidFill>
                  <a:latin typeface="+mj-ea"/>
                  <a:ea typeface="+mj-ea"/>
                  <a:cs typeface="Arial" panose="020B0604020202020204" pitchFamily="34" charset="0"/>
                </a:rPr>
                <a:t>单击此处可添加文本单击此处可添加文本</a:t>
              </a:r>
              <a:endParaRPr lang="en-US" altLang="zh-CN" sz="1465" kern="0" dirty="0">
                <a:solidFill>
                  <a:schemeClr val="tx2"/>
                </a:solidFill>
                <a:latin typeface="+mj-ea"/>
                <a:ea typeface="+mj-ea"/>
                <a:cs typeface="Arial" panose="020B0604020202020204" pitchFamily="34" charset="0"/>
              </a:endParaRPr>
            </a:p>
          </p:txBody>
        </p:sp>
      </p:grpSp>
      <p:grpSp>
        <p:nvGrpSpPr>
          <p:cNvPr id="18" name="组合 17"/>
          <p:cNvGrpSpPr/>
          <p:nvPr/>
        </p:nvGrpSpPr>
        <p:grpSpPr>
          <a:xfrm>
            <a:off x="4703336" y="2364606"/>
            <a:ext cx="6003409" cy="917460"/>
            <a:chOff x="736575" y="3188469"/>
            <a:chExt cx="8755767" cy="1338084"/>
          </a:xfrm>
        </p:grpSpPr>
        <p:sp>
          <p:nvSpPr>
            <p:cNvPr id="19" name="圆角矩形 18"/>
            <p:cNvSpPr/>
            <p:nvPr/>
          </p:nvSpPr>
          <p:spPr>
            <a:xfrm flipH="1">
              <a:off x="1020576" y="3307962"/>
              <a:ext cx="8471766" cy="1132577"/>
            </a:xfrm>
            <a:prstGeom prst="roundRect">
              <a:avLst>
                <a:gd name="adj" fmla="val 50000"/>
              </a:avLst>
            </a:prstGeom>
            <a:gradFill flip="none" rotWithShape="1">
              <a:gsLst>
                <a:gs pos="0">
                  <a:schemeClr val="bg1"/>
                </a:gs>
                <a:gs pos="100000">
                  <a:srgbClr val="E0E0E0"/>
                </a:gs>
              </a:gsLst>
              <a:lin ang="5400000" scaled="1"/>
              <a:tileRect/>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grpSp>
          <p:nvGrpSpPr>
            <p:cNvPr id="20" name="组合 19"/>
            <p:cNvGrpSpPr/>
            <p:nvPr/>
          </p:nvGrpSpPr>
          <p:grpSpPr>
            <a:xfrm>
              <a:off x="736575" y="3188469"/>
              <a:ext cx="1338084" cy="1338084"/>
              <a:chOff x="3567745" y="3971974"/>
              <a:chExt cx="1338084" cy="1338084"/>
            </a:xfrm>
          </p:grpSpPr>
          <p:grpSp>
            <p:nvGrpSpPr>
              <p:cNvPr id="23" name="组合 22"/>
              <p:cNvGrpSpPr/>
              <p:nvPr/>
            </p:nvGrpSpPr>
            <p:grpSpPr>
              <a:xfrm>
                <a:off x="3567745" y="3971974"/>
                <a:ext cx="1338084" cy="1338084"/>
                <a:chOff x="5213600" y="2517129"/>
                <a:chExt cx="2023672" cy="2023672"/>
              </a:xfrm>
            </p:grpSpPr>
            <p:sp>
              <p:nvSpPr>
                <p:cNvPr id="25" name="椭圆 24"/>
                <p:cNvSpPr/>
                <p:nvPr/>
              </p:nvSpPr>
              <p:spPr>
                <a:xfrm>
                  <a:off x="5213600" y="2517129"/>
                  <a:ext cx="2023672" cy="2023672"/>
                </a:xfrm>
                <a:prstGeom prst="ellipse">
                  <a:avLst/>
                </a:prstGeom>
                <a:gradFill flip="none" rotWithShape="1">
                  <a:gsLst>
                    <a:gs pos="0">
                      <a:schemeClr val="bg1"/>
                    </a:gs>
                    <a:gs pos="100000">
                      <a:srgbClr val="E0E0E0"/>
                    </a:gs>
                  </a:gsLst>
                  <a:lin ang="5400000" scaled="1"/>
                  <a:tileRect/>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sp>
              <p:nvSpPr>
                <p:cNvPr id="26" name="椭圆 25"/>
                <p:cNvSpPr/>
                <p:nvPr/>
              </p:nvSpPr>
              <p:spPr>
                <a:xfrm>
                  <a:off x="5260739" y="2564268"/>
                  <a:ext cx="1929394" cy="1929394"/>
                </a:xfrm>
                <a:prstGeom prst="ellipse">
                  <a:avLst/>
                </a:prstGeom>
                <a:gradFill flip="none" rotWithShape="1">
                  <a:gsLst>
                    <a:gs pos="0">
                      <a:schemeClr val="bg1"/>
                    </a:gs>
                    <a:gs pos="100000">
                      <a:srgbClr val="DDDEDD"/>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grpSp>
          <p:sp>
            <p:nvSpPr>
              <p:cNvPr id="24" name="椭圆 23"/>
              <p:cNvSpPr/>
              <p:nvPr/>
            </p:nvSpPr>
            <p:spPr>
              <a:xfrm>
                <a:off x="3695022" y="4099252"/>
                <a:ext cx="1083527" cy="1083527"/>
              </a:xfrm>
              <a:prstGeom prst="ellipse">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latin typeface="+mj-ea"/>
                  <a:ea typeface="+mj-ea"/>
                </a:endParaRPr>
              </a:p>
            </p:txBody>
          </p:sp>
        </p:grpSp>
        <p:sp>
          <p:nvSpPr>
            <p:cNvPr id="21" name="文本框 77"/>
            <p:cNvSpPr txBox="1"/>
            <p:nvPr/>
          </p:nvSpPr>
          <p:spPr>
            <a:xfrm>
              <a:off x="839801" y="3461600"/>
              <a:ext cx="1092551" cy="852874"/>
            </a:xfrm>
            <a:prstGeom prst="rect">
              <a:avLst/>
            </a:prstGeom>
            <a:noFill/>
          </p:spPr>
          <p:txBody>
            <a:bodyPr wrap="square" rtlCol="0">
              <a:spAutoFit/>
            </a:bodyPr>
            <a:lstStyle/>
            <a:p>
              <a:pPr algn="ctr"/>
              <a:r>
                <a:rPr lang="zh-CN" altLang="en-US" sz="1600" b="1" dirty="0">
                  <a:solidFill>
                    <a:schemeClr val="bg1"/>
                  </a:solidFill>
                  <a:latin typeface="+mj-ea"/>
                </a:rPr>
                <a:t>项目成果</a:t>
              </a:r>
              <a:endParaRPr lang="en-US" altLang="zh-CN" sz="1600" b="1" dirty="0">
                <a:solidFill>
                  <a:schemeClr val="bg1"/>
                </a:solidFill>
                <a:latin typeface="+mj-ea"/>
              </a:endParaRPr>
            </a:p>
          </p:txBody>
        </p:sp>
        <p:sp>
          <p:nvSpPr>
            <p:cNvPr id="22" name="TextBox 72"/>
            <p:cNvSpPr txBox="1"/>
            <p:nvPr/>
          </p:nvSpPr>
          <p:spPr>
            <a:xfrm>
              <a:off x="2261366" y="3619883"/>
              <a:ext cx="5905248" cy="46393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65">
                <a:defRPr/>
              </a:pPr>
              <a:r>
                <a:rPr lang="zh-CN" altLang="en-US" sz="1465" kern="0" dirty="0">
                  <a:solidFill>
                    <a:schemeClr val="accent1"/>
                  </a:solidFill>
                  <a:latin typeface="+mj-ea"/>
                  <a:ea typeface="+mj-ea"/>
                  <a:cs typeface="Arial" panose="020B0604020202020204" pitchFamily="34" charset="0"/>
                </a:rPr>
                <a:t>单击此处可添加文本单击此处可添加文本</a:t>
              </a:r>
              <a:endParaRPr lang="en-US" altLang="zh-CN" sz="1465" kern="0" dirty="0">
                <a:solidFill>
                  <a:schemeClr val="accent1"/>
                </a:solidFill>
                <a:latin typeface="+mj-ea"/>
                <a:ea typeface="+mj-ea"/>
                <a:cs typeface="Arial" panose="020B0604020202020204" pitchFamily="34" charset="0"/>
              </a:endParaRPr>
            </a:p>
          </p:txBody>
        </p:sp>
      </p:grpSp>
      <p:grpSp>
        <p:nvGrpSpPr>
          <p:cNvPr id="27" name="组合 26"/>
          <p:cNvGrpSpPr/>
          <p:nvPr/>
        </p:nvGrpSpPr>
        <p:grpSpPr>
          <a:xfrm>
            <a:off x="4703336" y="3629866"/>
            <a:ext cx="6003409" cy="917460"/>
            <a:chOff x="736575" y="3188469"/>
            <a:chExt cx="8755767" cy="1338084"/>
          </a:xfrm>
        </p:grpSpPr>
        <p:sp>
          <p:nvSpPr>
            <p:cNvPr id="28" name="圆角矩形 27"/>
            <p:cNvSpPr/>
            <p:nvPr/>
          </p:nvSpPr>
          <p:spPr>
            <a:xfrm flipH="1">
              <a:off x="1020576" y="3307962"/>
              <a:ext cx="8471766" cy="1132577"/>
            </a:xfrm>
            <a:prstGeom prst="roundRect">
              <a:avLst>
                <a:gd name="adj" fmla="val 50000"/>
              </a:avLst>
            </a:prstGeom>
            <a:gradFill flip="none" rotWithShape="1">
              <a:gsLst>
                <a:gs pos="0">
                  <a:schemeClr val="bg1"/>
                </a:gs>
                <a:gs pos="100000">
                  <a:srgbClr val="E0E0E0"/>
                </a:gs>
              </a:gsLst>
              <a:lin ang="5400000" scaled="1"/>
              <a:tileRect/>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grpSp>
          <p:nvGrpSpPr>
            <p:cNvPr id="29" name="组合 28"/>
            <p:cNvGrpSpPr/>
            <p:nvPr/>
          </p:nvGrpSpPr>
          <p:grpSpPr>
            <a:xfrm>
              <a:off x="736575" y="3188469"/>
              <a:ext cx="1338084" cy="1338084"/>
              <a:chOff x="3567745" y="3971974"/>
              <a:chExt cx="1338084" cy="1338084"/>
            </a:xfrm>
          </p:grpSpPr>
          <p:grpSp>
            <p:nvGrpSpPr>
              <p:cNvPr id="32" name="组合 31"/>
              <p:cNvGrpSpPr/>
              <p:nvPr/>
            </p:nvGrpSpPr>
            <p:grpSpPr>
              <a:xfrm>
                <a:off x="3567745" y="3971974"/>
                <a:ext cx="1338084" cy="1338084"/>
                <a:chOff x="5213600" y="2517129"/>
                <a:chExt cx="2023672" cy="2023672"/>
              </a:xfrm>
            </p:grpSpPr>
            <p:sp>
              <p:nvSpPr>
                <p:cNvPr id="34" name="椭圆 33"/>
                <p:cNvSpPr/>
                <p:nvPr/>
              </p:nvSpPr>
              <p:spPr>
                <a:xfrm>
                  <a:off x="5213600" y="2517129"/>
                  <a:ext cx="2023672" cy="2023672"/>
                </a:xfrm>
                <a:prstGeom prst="ellipse">
                  <a:avLst/>
                </a:prstGeom>
                <a:gradFill flip="none" rotWithShape="1">
                  <a:gsLst>
                    <a:gs pos="0">
                      <a:schemeClr val="bg1"/>
                    </a:gs>
                    <a:gs pos="100000">
                      <a:srgbClr val="E0E0E0"/>
                    </a:gs>
                  </a:gsLst>
                  <a:lin ang="5400000" scaled="1"/>
                  <a:tileRect/>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sp>
              <p:nvSpPr>
                <p:cNvPr id="35" name="椭圆 34"/>
                <p:cNvSpPr/>
                <p:nvPr/>
              </p:nvSpPr>
              <p:spPr>
                <a:xfrm>
                  <a:off x="5260739" y="2564268"/>
                  <a:ext cx="1929394" cy="1929394"/>
                </a:xfrm>
                <a:prstGeom prst="ellipse">
                  <a:avLst/>
                </a:prstGeom>
                <a:gradFill flip="none" rotWithShape="1">
                  <a:gsLst>
                    <a:gs pos="0">
                      <a:schemeClr val="bg1"/>
                    </a:gs>
                    <a:gs pos="100000">
                      <a:srgbClr val="DDDEDD"/>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grpSp>
          <p:sp>
            <p:nvSpPr>
              <p:cNvPr id="33" name="椭圆 32"/>
              <p:cNvSpPr/>
              <p:nvPr/>
            </p:nvSpPr>
            <p:spPr>
              <a:xfrm>
                <a:off x="3695022" y="4099252"/>
                <a:ext cx="1083527" cy="1083527"/>
              </a:xfrm>
              <a:prstGeom prst="ellipse">
                <a:avLst/>
              </a:prstGeom>
              <a:solidFill>
                <a:schemeClr val="tx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latin typeface="+mj-ea"/>
                  <a:ea typeface="+mj-ea"/>
                </a:endParaRPr>
              </a:p>
            </p:txBody>
          </p:sp>
        </p:grpSp>
        <p:sp>
          <p:nvSpPr>
            <p:cNvPr id="30" name="文本框 77"/>
            <p:cNvSpPr txBox="1"/>
            <p:nvPr/>
          </p:nvSpPr>
          <p:spPr>
            <a:xfrm>
              <a:off x="839801" y="3476418"/>
              <a:ext cx="1092551" cy="852874"/>
            </a:xfrm>
            <a:prstGeom prst="rect">
              <a:avLst/>
            </a:prstGeom>
            <a:noFill/>
          </p:spPr>
          <p:txBody>
            <a:bodyPr wrap="square" rtlCol="0">
              <a:spAutoFit/>
            </a:bodyPr>
            <a:lstStyle/>
            <a:p>
              <a:pPr algn="ctr"/>
              <a:r>
                <a:rPr lang="zh-CN" altLang="en-US" sz="1600" b="1" dirty="0">
                  <a:solidFill>
                    <a:schemeClr val="bg1"/>
                  </a:solidFill>
                  <a:latin typeface="+mj-ea"/>
                </a:rPr>
                <a:t>工作总结</a:t>
              </a:r>
              <a:endParaRPr lang="en-US" altLang="zh-CN" sz="1600" b="1" dirty="0">
                <a:solidFill>
                  <a:schemeClr val="bg1"/>
                </a:solidFill>
                <a:latin typeface="+mj-ea"/>
              </a:endParaRPr>
            </a:p>
          </p:txBody>
        </p:sp>
        <p:sp>
          <p:nvSpPr>
            <p:cNvPr id="31" name="TextBox 72"/>
            <p:cNvSpPr txBox="1"/>
            <p:nvPr/>
          </p:nvSpPr>
          <p:spPr>
            <a:xfrm>
              <a:off x="2261366" y="3619883"/>
              <a:ext cx="5905248" cy="46393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65">
                <a:defRPr/>
              </a:pPr>
              <a:r>
                <a:rPr lang="zh-CN" altLang="en-US" sz="1465" kern="0" dirty="0">
                  <a:solidFill>
                    <a:schemeClr val="tx2"/>
                  </a:solidFill>
                  <a:latin typeface="+mj-ea"/>
                  <a:ea typeface="+mj-ea"/>
                  <a:cs typeface="Arial" panose="020B0604020202020204" pitchFamily="34" charset="0"/>
                </a:rPr>
                <a:t>单击此处可添加文本单击此处可添加文本</a:t>
              </a:r>
              <a:endParaRPr lang="en-US" altLang="zh-CN" sz="1465" kern="0" dirty="0">
                <a:solidFill>
                  <a:schemeClr val="tx2"/>
                </a:solidFill>
                <a:latin typeface="+mj-ea"/>
                <a:ea typeface="+mj-ea"/>
                <a:cs typeface="Arial" panose="020B0604020202020204" pitchFamily="34" charset="0"/>
              </a:endParaRPr>
            </a:p>
          </p:txBody>
        </p:sp>
      </p:grpSp>
      <p:grpSp>
        <p:nvGrpSpPr>
          <p:cNvPr id="36" name="组合 35"/>
          <p:cNvGrpSpPr/>
          <p:nvPr/>
        </p:nvGrpSpPr>
        <p:grpSpPr>
          <a:xfrm>
            <a:off x="4703336" y="4895126"/>
            <a:ext cx="6003409" cy="917460"/>
            <a:chOff x="736575" y="3188469"/>
            <a:chExt cx="8755767" cy="1338084"/>
          </a:xfrm>
        </p:grpSpPr>
        <p:sp>
          <p:nvSpPr>
            <p:cNvPr id="37" name="圆角矩形 36"/>
            <p:cNvSpPr/>
            <p:nvPr/>
          </p:nvSpPr>
          <p:spPr>
            <a:xfrm flipH="1">
              <a:off x="1020576" y="3307962"/>
              <a:ext cx="8471766" cy="1132577"/>
            </a:xfrm>
            <a:prstGeom prst="roundRect">
              <a:avLst>
                <a:gd name="adj" fmla="val 50000"/>
              </a:avLst>
            </a:prstGeom>
            <a:gradFill flip="none" rotWithShape="1">
              <a:gsLst>
                <a:gs pos="0">
                  <a:schemeClr val="bg1"/>
                </a:gs>
                <a:gs pos="100000">
                  <a:srgbClr val="E0E0E0"/>
                </a:gs>
              </a:gsLst>
              <a:lin ang="5400000" scaled="1"/>
              <a:tileRect/>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grpSp>
          <p:nvGrpSpPr>
            <p:cNvPr id="38" name="组合 37"/>
            <p:cNvGrpSpPr/>
            <p:nvPr/>
          </p:nvGrpSpPr>
          <p:grpSpPr>
            <a:xfrm>
              <a:off x="736575" y="3188469"/>
              <a:ext cx="1338084" cy="1338084"/>
              <a:chOff x="3567745" y="3971974"/>
              <a:chExt cx="1338084" cy="1338084"/>
            </a:xfrm>
          </p:grpSpPr>
          <p:grpSp>
            <p:nvGrpSpPr>
              <p:cNvPr id="41" name="组合 40"/>
              <p:cNvGrpSpPr/>
              <p:nvPr/>
            </p:nvGrpSpPr>
            <p:grpSpPr>
              <a:xfrm>
                <a:off x="3567745" y="3971974"/>
                <a:ext cx="1338084" cy="1338084"/>
                <a:chOff x="5213600" y="2517129"/>
                <a:chExt cx="2023672" cy="2023672"/>
              </a:xfrm>
            </p:grpSpPr>
            <p:sp>
              <p:nvSpPr>
                <p:cNvPr id="43" name="椭圆 42"/>
                <p:cNvSpPr/>
                <p:nvPr/>
              </p:nvSpPr>
              <p:spPr>
                <a:xfrm>
                  <a:off x="5213600" y="2517129"/>
                  <a:ext cx="2023672" cy="2023672"/>
                </a:xfrm>
                <a:prstGeom prst="ellipse">
                  <a:avLst/>
                </a:prstGeom>
                <a:gradFill flip="none" rotWithShape="1">
                  <a:gsLst>
                    <a:gs pos="0">
                      <a:schemeClr val="bg1"/>
                    </a:gs>
                    <a:gs pos="100000">
                      <a:srgbClr val="E0E0E0"/>
                    </a:gs>
                  </a:gsLst>
                  <a:lin ang="5400000" scaled="1"/>
                  <a:tileRect/>
                </a:gradFill>
                <a:ln>
                  <a:noFill/>
                </a:ln>
                <a:effectLst>
                  <a:outerShdw blurRad="279400" dist="254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sp>
              <p:nvSpPr>
                <p:cNvPr id="44" name="椭圆 43"/>
                <p:cNvSpPr/>
                <p:nvPr/>
              </p:nvSpPr>
              <p:spPr>
                <a:xfrm>
                  <a:off x="5260739" y="2564268"/>
                  <a:ext cx="1929394" cy="1929394"/>
                </a:xfrm>
                <a:prstGeom prst="ellipse">
                  <a:avLst/>
                </a:prstGeom>
                <a:gradFill flip="none" rotWithShape="1">
                  <a:gsLst>
                    <a:gs pos="0">
                      <a:schemeClr val="bg1"/>
                    </a:gs>
                    <a:gs pos="100000">
                      <a:srgbClr val="DDDEDD"/>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j-ea"/>
                    <a:ea typeface="+mj-ea"/>
                  </a:endParaRPr>
                </a:p>
              </p:txBody>
            </p:sp>
          </p:grpSp>
          <p:sp>
            <p:nvSpPr>
              <p:cNvPr id="42" name="椭圆 41"/>
              <p:cNvSpPr/>
              <p:nvPr/>
            </p:nvSpPr>
            <p:spPr>
              <a:xfrm>
                <a:off x="3695022" y="4099252"/>
                <a:ext cx="1083527" cy="1083527"/>
              </a:xfrm>
              <a:prstGeom prst="ellipse">
                <a:avLst/>
              </a:prstGeom>
              <a:solidFill>
                <a:schemeClr val="accent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latin typeface="+mj-ea"/>
                  <a:ea typeface="+mj-ea"/>
                </a:endParaRPr>
              </a:p>
            </p:txBody>
          </p:sp>
        </p:grpSp>
        <p:sp>
          <p:nvSpPr>
            <p:cNvPr id="39" name="文本框 77"/>
            <p:cNvSpPr txBox="1"/>
            <p:nvPr/>
          </p:nvSpPr>
          <p:spPr>
            <a:xfrm>
              <a:off x="839801" y="3446782"/>
              <a:ext cx="1092551" cy="852874"/>
            </a:xfrm>
            <a:prstGeom prst="rect">
              <a:avLst/>
            </a:prstGeom>
            <a:noFill/>
          </p:spPr>
          <p:txBody>
            <a:bodyPr wrap="square" rtlCol="0">
              <a:spAutoFit/>
            </a:bodyPr>
            <a:lstStyle/>
            <a:p>
              <a:pPr algn="ctr"/>
              <a:r>
                <a:rPr lang="zh-CN" altLang="en-US" sz="1600" b="1" dirty="0">
                  <a:solidFill>
                    <a:schemeClr val="bg1"/>
                  </a:solidFill>
                  <a:latin typeface="+mj-ea"/>
                </a:rPr>
                <a:t>明年计划</a:t>
              </a:r>
              <a:endParaRPr lang="en-US" altLang="zh-CN" sz="1600" b="1" dirty="0">
                <a:solidFill>
                  <a:schemeClr val="bg1"/>
                </a:solidFill>
                <a:latin typeface="+mj-ea"/>
              </a:endParaRPr>
            </a:p>
          </p:txBody>
        </p:sp>
        <p:sp>
          <p:nvSpPr>
            <p:cNvPr id="40" name="TextBox 72"/>
            <p:cNvSpPr txBox="1"/>
            <p:nvPr/>
          </p:nvSpPr>
          <p:spPr>
            <a:xfrm>
              <a:off x="2261366" y="3619883"/>
              <a:ext cx="5905248" cy="46393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65">
                <a:defRPr/>
              </a:pPr>
              <a:r>
                <a:rPr lang="zh-CN" altLang="en-US" sz="1465" kern="0" dirty="0">
                  <a:solidFill>
                    <a:schemeClr val="accent1"/>
                  </a:solidFill>
                  <a:latin typeface="+mj-ea"/>
                  <a:ea typeface="+mj-ea"/>
                  <a:cs typeface="Arial" panose="020B0604020202020204" pitchFamily="34" charset="0"/>
                </a:rPr>
                <a:t>单击此处可添加文本单击此处可添加文本</a:t>
              </a:r>
              <a:endParaRPr lang="en-US" altLang="zh-CN" sz="1465" kern="0" dirty="0">
                <a:solidFill>
                  <a:schemeClr val="accent1"/>
                </a:solidFill>
                <a:latin typeface="+mj-ea"/>
                <a:ea typeface="+mj-ea"/>
                <a:cs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2" presetClass="entr" presetSubtype="2"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1+#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par>
                          <p:cTn id="15" fill="hold">
                            <p:stCondLst>
                              <p:cond delay="1000"/>
                            </p:stCondLst>
                            <p:childTnLst>
                              <p:par>
                                <p:cTn id="16" presetID="2" presetClass="entr" presetSubtype="2" fill="hold" nodeType="afterEffect">
                                  <p:stCondLst>
                                    <p:cond delay="0"/>
                                  </p:stCondLst>
                                  <p:childTnLst>
                                    <p:set>
                                      <p:cBhvr>
                                        <p:cTn id="17" dur="1" fill="hold">
                                          <p:stCondLst>
                                            <p:cond delay="0"/>
                                          </p:stCondLst>
                                        </p:cTn>
                                        <p:tgtEl>
                                          <p:spTgt spid="18"/>
                                        </p:tgtEl>
                                        <p:attrNameLst>
                                          <p:attrName>style.visibility</p:attrName>
                                        </p:attrNameLst>
                                      </p:cBhvr>
                                      <p:to>
                                        <p:strVal val="visible"/>
                                      </p:to>
                                    </p:set>
                                    <p:anim calcmode="lin" valueType="num">
                                      <p:cBhvr additive="base">
                                        <p:cTn id="18" dur="500" fill="hold"/>
                                        <p:tgtEl>
                                          <p:spTgt spid="18"/>
                                        </p:tgtEl>
                                        <p:attrNameLst>
                                          <p:attrName>ppt_x</p:attrName>
                                        </p:attrNameLst>
                                      </p:cBhvr>
                                      <p:tavLst>
                                        <p:tav tm="0">
                                          <p:val>
                                            <p:strVal val="1+#ppt_w/2"/>
                                          </p:val>
                                        </p:tav>
                                        <p:tav tm="100000">
                                          <p:val>
                                            <p:strVal val="#ppt_x"/>
                                          </p:val>
                                        </p:tav>
                                      </p:tavLst>
                                    </p:anim>
                                    <p:anim calcmode="lin" valueType="num">
                                      <p:cBhvr additive="base">
                                        <p:cTn id="19" dur="500" fill="hold"/>
                                        <p:tgtEl>
                                          <p:spTgt spid="18"/>
                                        </p:tgtEl>
                                        <p:attrNameLst>
                                          <p:attrName>ppt_y</p:attrName>
                                        </p:attrNameLst>
                                      </p:cBhvr>
                                      <p:tavLst>
                                        <p:tav tm="0">
                                          <p:val>
                                            <p:strVal val="#ppt_y"/>
                                          </p:val>
                                        </p:tav>
                                        <p:tav tm="100000">
                                          <p:val>
                                            <p:strVal val="#ppt_y"/>
                                          </p:val>
                                        </p:tav>
                                      </p:tavLst>
                                    </p:anim>
                                  </p:childTnLst>
                                </p:cTn>
                              </p:par>
                            </p:childTnLst>
                          </p:cTn>
                        </p:par>
                        <p:par>
                          <p:cTn id="20" fill="hold">
                            <p:stCondLst>
                              <p:cond delay="1500"/>
                            </p:stCondLst>
                            <p:childTnLst>
                              <p:par>
                                <p:cTn id="21" presetID="2" presetClass="entr" presetSubtype="2"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1+#ppt_w/2"/>
                                          </p:val>
                                        </p:tav>
                                        <p:tav tm="100000">
                                          <p:val>
                                            <p:strVal val="#ppt_x"/>
                                          </p:val>
                                        </p:tav>
                                      </p:tavLst>
                                    </p:anim>
                                    <p:anim calcmode="lin" valueType="num">
                                      <p:cBhvr additive="base">
                                        <p:cTn id="24" dur="500" fill="hold"/>
                                        <p:tgtEl>
                                          <p:spTgt spid="27"/>
                                        </p:tgtEl>
                                        <p:attrNameLst>
                                          <p:attrName>ppt_y</p:attrName>
                                        </p:attrNameLst>
                                      </p:cBhvr>
                                      <p:tavLst>
                                        <p:tav tm="0">
                                          <p:val>
                                            <p:strVal val="#ppt_y"/>
                                          </p:val>
                                        </p:tav>
                                        <p:tav tm="100000">
                                          <p:val>
                                            <p:strVal val="#ppt_y"/>
                                          </p:val>
                                        </p:tav>
                                      </p:tavLst>
                                    </p:anim>
                                  </p:childTnLst>
                                </p:cTn>
                              </p:par>
                            </p:childTnLst>
                          </p:cTn>
                        </p:par>
                        <p:par>
                          <p:cTn id="25" fill="hold">
                            <p:stCondLst>
                              <p:cond delay="2000"/>
                            </p:stCondLst>
                            <p:childTnLst>
                              <p:par>
                                <p:cTn id="26" presetID="2" presetClass="entr" presetSubtype="2" fill="hold" nodeType="afterEffect">
                                  <p:stCondLst>
                                    <p:cond delay="0"/>
                                  </p:stCondLst>
                                  <p:childTnLst>
                                    <p:set>
                                      <p:cBhvr>
                                        <p:cTn id="27" dur="1" fill="hold">
                                          <p:stCondLst>
                                            <p:cond delay="0"/>
                                          </p:stCondLst>
                                        </p:cTn>
                                        <p:tgtEl>
                                          <p:spTgt spid="36"/>
                                        </p:tgtEl>
                                        <p:attrNameLst>
                                          <p:attrName>style.visibility</p:attrName>
                                        </p:attrNameLst>
                                      </p:cBhvr>
                                      <p:to>
                                        <p:strVal val="visible"/>
                                      </p:to>
                                    </p:set>
                                    <p:anim calcmode="lin" valueType="num">
                                      <p:cBhvr additive="base">
                                        <p:cTn id="28" dur="500" fill="hold"/>
                                        <p:tgtEl>
                                          <p:spTgt spid="36"/>
                                        </p:tgtEl>
                                        <p:attrNameLst>
                                          <p:attrName>ppt_x</p:attrName>
                                        </p:attrNameLst>
                                      </p:cBhvr>
                                      <p:tavLst>
                                        <p:tav tm="0">
                                          <p:val>
                                            <p:strVal val="1+#ppt_w/2"/>
                                          </p:val>
                                        </p:tav>
                                        <p:tav tm="100000">
                                          <p:val>
                                            <p:strVal val="#ppt_x"/>
                                          </p:val>
                                        </p:tav>
                                      </p:tavLst>
                                    </p:anim>
                                    <p:anim calcmode="lin" valueType="num">
                                      <p:cBhvr additive="base">
                                        <p:cTn id="29" dur="500" fill="hold"/>
                                        <p:tgtEl>
                                          <p:spTgt spid="3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 name="Text Placeholder 3"/>
          <p:cNvSpPr txBox="1"/>
          <p:nvPr/>
        </p:nvSpPr>
        <p:spPr>
          <a:xfrm>
            <a:off x="2870429" y="4044097"/>
            <a:ext cx="1997087" cy="615553"/>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tx1">
                    <a:lumMod val="50000"/>
                    <a:lumOff val="50000"/>
                  </a:schemeClr>
                </a:solidFill>
              </a:rPr>
              <a:t>此处添加详细文本描述，建议与标题相关并符合整体语言风格</a:t>
            </a:r>
            <a:endParaRPr lang="en-US" sz="1300" dirty="0">
              <a:solidFill>
                <a:schemeClr val="tx1">
                  <a:lumMod val="65000"/>
                  <a:lumOff val="35000"/>
                </a:schemeClr>
              </a:solidFill>
            </a:endParaRPr>
          </a:p>
        </p:txBody>
      </p:sp>
      <p:sp>
        <p:nvSpPr>
          <p:cNvPr id="254" name="Text Placeholder 3"/>
          <p:cNvSpPr txBox="1"/>
          <p:nvPr/>
        </p:nvSpPr>
        <p:spPr>
          <a:xfrm>
            <a:off x="7263839" y="4044097"/>
            <a:ext cx="1997087" cy="615553"/>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r" defTabSz="1218565">
              <a:spcBef>
                <a:spcPct val="20000"/>
              </a:spcBef>
              <a:defRPr/>
            </a:pPr>
            <a:r>
              <a:rPr lang="zh-CN" altLang="en-US" sz="1300" dirty="0">
                <a:solidFill>
                  <a:schemeClr val="tx1">
                    <a:lumMod val="50000"/>
                    <a:lumOff val="50000"/>
                  </a:schemeClr>
                </a:solidFill>
              </a:rPr>
              <a:t>此处添加详细文本描述，建议与标题相关并符合整体语言风格</a:t>
            </a:r>
          </a:p>
        </p:txBody>
      </p:sp>
      <p:sp>
        <p:nvSpPr>
          <p:cNvPr id="256" name="Text Placeholder 3"/>
          <p:cNvSpPr txBox="1"/>
          <p:nvPr/>
        </p:nvSpPr>
        <p:spPr>
          <a:xfrm>
            <a:off x="7917522" y="1535865"/>
            <a:ext cx="1997087" cy="615553"/>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1300" dirty="0">
                <a:solidFill>
                  <a:schemeClr val="tx1">
                    <a:lumMod val="50000"/>
                    <a:lumOff val="50000"/>
                  </a:schemeClr>
                </a:solidFill>
              </a:rPr>
              <a:t>此处添加详细文本描述，建议与标题相关并符合整体语言风格</a:t>
            </a:r>
            <a:endParaRPr lang="en-US" altLang="zh-CN" sz="1300" dirty="0">
              <a:solidFill>
                <a:schemeClr val="tx1">
                  <a:lumMod val="65000"/>
                  <a:lumOff val="35000"/>
                </a:schemeClr>
              </a:solidFill>
            </a:endParaRPr>
          </a:p>
        </p:txBody>
      </p:sp>
      <p:cxnSp>
        <p:nvCxnSpPr>
          <p:cNvPr id="213" name="Straight Connector 212"/>
          <p:cNvCxnSpPr>
            <a:endCxn id="209" idx="6"/>
          </p:cNvCxnSpPr>
          <p:nvPr/>
        </p:nvCxnSpPr>
        <p:spPr>
          <a:xfrm flipH="1">
            <a:off x="4364943" y="3010752"/>
            <a:ext cx="548043" cy="0"/>
          </a:xfrm>
          <a:prstGeom prst="line">
            <a:avLst/>
          </a:prstGeom>
          <a:ln w="19050">
            <a:solidFill>
              <a:schemeClr val="tx1">
                <a:lumMod val="65000"/>
                <a:lumOff val="3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208" name="Freeform 130"/>
          <p:cNvSpPr>
            <a:spLocks noEditPoints="1"/>
          </p:cNvSpPr>
          <p:nvPr/>
        </p:nvSpPr>
        <p:spPr bwMode="auto">
          <a:xfrm>
            <a:off x="5046331" y="2001232"/>
            <a:ext cx="2096974" cy="2019043"/>
          </a:xfrm>
          <a:custGeom>
            <a:avLst/>
            <a:gdLst/>
            <a:ahLst/>
            <a:cxnLst>
              <a:cxn ang="0">
                <a:pos x="275" y="12"/>
              </a:cxn>
              <a:cxn ang="0">
                <a:pos x="297" y="7"/>
              </a:cxn>
              <a:cxn ang="0">
                <a:pos x="237" y="26"/>
              </a:cxn>
              <a:cxn ang="0">
                <a:pos x="731" y="474"/>
              </a:cxn>
              <a:cxn ang="0">
                <a:pos x="724" y="482"/>
              </a:cxn>
              <a:cxn ang="0">
                <a:pos x="470" y="13"/>
              </a:cxn>
              <a:cxn ang="0">
                <a:pos x="454" y="10"/>
              </a:cxn>
              <a:cxn ang="0">
                <a:pos x="470" y="32"/>
              </a:cxn>
              <a:cxn ang="0">
                <a:pos x="475" y="26"/>
              </a:cxn>
              <a:cxn ang="0">
                <a:pos x="432" y="9"/>
              </a:cxn>
              <a:cxn ang="0">
                <a:pos x="423" y="8"/>
              </a:cxn>
              <a:cxn ang="0">
                <a:pos x="397" y="9"/>
              </a:cxn>
              <a:cxn ang="0">
                <a:pos x="386" y="10"/>
              </a:cxn>
              <a:cxn ang="0">
                <a:pos x="390" y="18"/>
              </a:cxn>
              <a:cxn ang="0">
                <a:pos x="538" y="408"/>
              </a:cxn>
              <a:cxn ang="0">
                <a:pos x="730" y="264"/>
              </a:cxn>
              <a:cxn ang="0">
                <a:pos x="478" y="71"/>
              </a:cxn>
              <a:cxn ang="0">
                <a:pos x="418" y="50"/>
              </a:cxn>
              <a:cxn ang="0">
                <a:pos x="363" y="88"/>
              </a:cxn>
              <a:cxn ang="0">
                <a:pos x="418" y="83"/>
              </a:cxn>
              <a:cxn ang="0">
                <a:pos x="389" y="134"/>
              </a:cxn>
              <a:cxn ang="0">
                <a:pos x="366" y="141"/>
              </a:cxn>
              <a:cxn ang="0">
                <a:pos x="283" y="212"/>
              </a:cxn>
              <a:cxn ang="0">
                <a:pos x="375" y="215"/>
              </a:cxn>
              <a:cxn ang="0">
                <a:pos x="451" y="261"/>
              </a:cxn>
              <a:cxn ang="0">
                <a:pos x="492" y="285"/>
              </a:cxn>
              <a:cxn ang="0">
                <a:pos x="500" y="23"/>
              </a:cxn>
              <a:cxn ang="0">
                <a:pos x="512" y="40"/>
              </a:cxn>
              <a:cxn ang="0">
                <a:pos x="514" y="62"/>
              </a:cxn>
              <a:cxn ang="0">
                <a:pos x="671" y="360"/>
              </a:cxn>
              <a:cxn ang="0">
                <a:pos x="733" y="432"/>
              </a:cxn>
              <a:cxn ang="0">
                <a:pos x="314" y="123"/>
              </a:cxn>
              <a:cxn ang="0">
                <a:pos x="291" y="165"/>
              </a:cxn>
              <a:cxn ang="0">
                <a:pos x="288" y="153"/>
              </a:cxn>
              <a:cxn ang="0">
                <a:pos x="460" y="297"/>
              </a:cxn>
              <a:cxn ang="0">
                <a:pos x="364" y="533"/>
              </a:cxn>
              <a:cxn ang="0">
                <a:pos x="48" y="434"/>
              </a:cxn>
              <a:cxn ang="0">
                <a:pos x="126" y="647"/>
              </a:cxn>
              <a:cxn ang="0">
                <a:pos x="166" y="674"/>
              </a:cxn>
              <a:cxn ang="0">
                <a:pos x="11" y="348"/>
              </a:cxn>
              <a:cxn ang="0">
                <a:pos x="290" y="70"/>
              </a:cxn>
              <a:cxn ang="0">
                <a:pos x="88" y="161"/>
              </a:cxn>
              <a:cxn ang="0">
                <a:pos x="351" y="3"/>
              </a:cxn>
              <a:cxn ang="0">
                <a:pos x="352" y="1"/>
              </a:cxn>
              <a:cxn ang="0">
                <a:pos x="347" y="1"/>
              </a:cxn>
              <a:cxn ang="0">
                <a:pos x="341" y="2"/>
              </a:cxn>
              <a:cxn ang="0">
                <a:pos x="322" y="4"/>
              </a:cxn>
              <a:cxn ang="0">
                <a:pos x="281" y="13"/>
              </a:cxn>
              <a:cxn ang="0">
                <a:pos x="270" y="17"/>
              </a:cxn>
              <a:cxn ang="0">
                <a:pos x="242" y="33"/>
              </a:cxn>
              <a:cxn ang="0">
                <a:pos x="175" y="96"/>
              </a:cxn>
              <a:cxn ang="0">
                <a:pos x="299" y="35"/>
              </a:cxn>
              <a:cxn ang="0">
                <a:pos x="351" y="0"/>
              </a:cxn>
              <a:cxn ang="0">
                <a:pos x="330" y="2"/>
              </a:cxn>
              <a:cxn ang="0">
                <a:pos x="271" y="14"/>
              </a:cxn>
              <a:cxn ang="0">
                <a:pos x="319" y="3"/>
              </a:cxn>
              <a:cxn ang="0">
                <a:pos x="186" y="52"/>
              </a:cxn>
              <a:cxn ang="0">
                <a:pos x="208" y="42"/>
              </a:cxn>
              <a:cxn ang="0">
                <a:pos x="179" y="53"/>
              </a:cxn>
              <a:cxn ang="0">
                <a:pos x="193" y="48"/>
              </a:cxn>
              <a:cxn ang="0">
                <a:pos x="108" y="138"/>
              </a:cxn>
              <a:cxn ang="0">
                <a:pos x="86" y="134"/>
              </a:cxn>
              <a:cxn ang="0">
                <a:pos x="66" y="186"/>
              </a:cxn>
            </a:cxnLst>
            <a:rect l="0" t="0" r="r" b="b"/>
            <a:pathLst>
              <a:path w="746" h="719">
                <a:moveTo>
                  <a:pt x="713" y="218"/>
                </a:moveTo>
                <a:cubicBezTo>
                  <a:pt x="709" y="210"/>
                  <a:pt x="709" y="210"/>
                  <a:pt x="709" y="210"/>
                </a:cubicBezTo>
                <a:cubicBezTo>
                  <a:pt x="711" y="213"/>
                  <a:pt x="712" y="216"/>
                  <a:pt x="713" y="218"/>
                </a:cubicBezTo>
                <a:cubicBezTo>
                  <a:pt x="713" y="218"/>
                  <a:pt x="713" y="218"/>
                  <a:pt x="713" y="218"/>
                </a:cubicBezTo>
                <a:moveTo>
                  <a:pt x="709" y="210"/>
                </a:moveTo>
                <a:cubicBezTo>
                  <a:pt x="706" y="203"/>
                  <a:pt x="701" y="194"/>
                  <a:pt x="697" y="187"/>
                </a:cubicBezTo>
                <a:cubicBezTo>
                  <a:pt x="697" y="186"/>
                  <a:pt x="697" y="186"/>
                  <a:pt x="697" y="186"/>
                </a:cubicBezTo>
                <a:cubicBezTo>
                  <a:pt x="702" y="195"/>
                  <a:pt x="704" y="199"/>
                  <a:pt x="709" y="210"/>
                </a:cubicBezTo>
                <a:cubicBezTo>
                  <a:pt x="709" y="210"/>
                  <a:pt x="709" y="210"/>
                  <a:pt x="709" y="210"/>
                </a:cubicBezTo>
                <a:moveTo>
                  <a:pt x="696" y="186"/>
                </a:moveTo>
                <a:cubicBezTo>
                  <a:pt x="697" y="186"/>
                  <a:pt x="697" y="186"/>
                  <a:pt x="697" y="186"/>
                </a:cubicBezTo>
                <a:cubicBezTo>
                  <a:pt x="697" y="187"/>
                  <a:pt x="697" y="187"/>
                  <a:pt x="697" y="187"/>
                </a:cubicBezTo>
                <a:cubicBezTo>
                  <a:pt x="697" y="186"/>
                  <a:pt x="697" y="186"/>
                  <a:pt x="696" y="186"/>
                </a:cubicBezTo>
                <a:moveTo>
                  <a:pt x="746" y="352"/>
                </a:moveTo>
                <a:cubicBezTo>
                  <a:pt x="745" y="351"/>
                  <a:pt x="745" y="350"/>
                  <a:pt x="745" y="348"/>
                </a:cubicBezTo>
                <a:cubicBezTo>
                  <a:pt x="745" y="350"/>
                  <a:pt x="745" y="351"/>
                  <a:pt x="746" y="352"/>
                </a:cubicBezTo>
                <a:cubicBezTo>
                  <a:pt x="746" y="352"/>
                  <a:pt x="746" y="352"/>
                  <a:pt x="746" y="352"/>
                </a:cubicBezTo>
                <a:moveTo>
                  <a:pt x="745" y="347"/>
                </a:moveTo>
                <a:cubicBezTo>
                  <a:pt x="745" y="346"/>
                  <a:pt x="745" y="344"/>
                  <a:pt x="745" y="343"/>
                </a:cubicBezTo>
                <a:cubicBezTo>
                  <a:pt x="745" y="345"/>
                  <a:pt x="745" y="347"/>
                  <a:pt x="745" y="348"/>
                </a:cubicBezTo>
                <a:cubicBezTo>
                  <a:pt x="745" y="348"/>
                  <a:pt x="745" y="348"/>
                  <a:pt x="745" y="347"/>
                </a:cubicBezTo>
                <a:moveTo>
                  <a:pt x="743" y="327"/>
                </a:moveTo>
                <a:cubicBezTo>
                  <a:pt x="743" y="321"/>
                  <a:pt x="743" y="321"/>
                  <a:pt x="743" y="321"/>
                </a:cubicBezTo>
                <a:cubicBezTo>
                  <a:pt x="743" y="324"/>
                  <a:pt x="743" y="326"/>
                  <a:pt x="743" y="329"/>
                </a:cubicBezTo>
                <a:cubicBezTo>
                  <a:pt x="743" y="328"/>
                  <a:pt x="743" y="327"/>
                  <a:pt x="743" y="327"/>
                </a:cubicBezTo>
                <a:moveTo>
                  <a:pt x="309" y="4"/>
                </a:moveTo>
                <a:cubicBezTo>
                  <a:pt x="309" y="5"/>
                  <a:pt x="309" y="5"/>
                  <a:pt x="309" y="5"/>
                </a:cubicBezTo>
                <a:cubicBezTo>
                  <a:pt x="313" y="4"/>
                  <a:pt x="313" y="4"/>
                  <a:pt x="313" y="4"/>
                </a:cubicBezTo>
                <a:cubicBezTo>
                  <a:pt x="313" y="4"/>
                  <a:pt x="313" y="4"/>
                  <a:pt x="313" y="4"/>
                </a:cubicBezTo>
                <a:cubicBezTo>
                  <a:pt x="312" y="4"/>
                  <a:pt x="311" y="4"/>
                  <a:pt x="309" y="4"/>
                </a:cubicBezTo>
                <a:moveTo>
                  <a:pt x="307" y="5"/>
                </a:moveTo>
                <a:cubicBezTo>
                  <a:pt x="304" y="5"/>
                  <a:pt x="304" y="5"/>
                  <a:pt x="304" y="5"/>
                </a:cubicBezTo>
                <a:cubicBezTo>
                  <a:pt x="305" y="5"/>
                  <a:pt x="305" y="5"/>
                  <a:pt x="305" y="5"/>
                </a:cubicBezTo>
                <a:cubicBezTo>
                  <a:pt x="306" y="5"/>
                  <a:pt x="306" y="5"/>
                  <a:pt x="307" y="5"/>
                </a:cubicBezTo>
                <a:moveTo>
                  <a:pt x="259" y="17"/>
                </a:moveTo>
                <a:cubicBezTo>
                  <a:pt x="259" y="17"/>
                  <a:pt x="258" y="17"/>
                  <a:pt x="258" y="17"/>
                </a:cubicBezTo>
                <a:cubicBezTo>
                  <a:pt x="258" y="17"/>
                  <a:pt x="259" y="17"/>
                  <a:pt x="259" y="17"/>
                </a:cubicBezTo>
                <a:moveTo>
                  <a:pt x="266" y="15"/>
                </a:moveTo>
                <a:cubicBezTo>
                  <a:pt x="267" y="14"/>
                  <a:pt x="267" y="14"/>
                  <a:pt x="268" y="14"/>
                </a:cubicBezTo>
                <a:cubicBezTo>
                  <a:pt x="268" y="14"/>
                  <a:pt x="268" y="14"/>
                  <a:pt x="268" y="14"/>
                </a:cubicBezTo>
                <a:cubicBezTo>
                  <a:pt x="267" y="14"/>
                  <a:pt x="267" y="14"/>
                  <a:pt x="267" y="14"/>
                </a:cubicBezTo>
                <a:cubicBezTo>
                  <a:pt x="267" y="14"/>
                  <a:pt x="267" y="14"/>
                  <a:pt x="267" y="14"/>
                </a:cubicBezTo>
                <a:cubicBezTo>
                  <a:pt x="266" y="15"/>
                  <a:pt x="266" y="15"/>
                  <a:pt x="266" y="15"/>
                </a:cubicBezTo>
                <a:cubicBezTo>
                  <a:pt x="266" y="15"/>
                  <a:pt x="266" y="15"/>
                  <a:pt x="266" y="15"/>
                </a:cubicBezTo>
                <a:moveTo>
                  <a:pt x="269" y="14"/>
                </a:moveTo>
                <a:cubicBezTo>
                  <a:pt x="269" y="14"/>
                  <a:pt x="269" y="14"/>
                  <a:pt x="269" y="14"/>
                </a:cubicBezTo>
                <a:cubicBezTo>
                  <a:pt x="269" y="14"/>
                  <a:pt x="269" y="14"/>
                  <a:pt x="268" y="14"/>
                </a:cubicBezTo>
                <a:cubicBezTo>
                  <a:pt x="267" y="14"/>
                  <a:pt x="267" y="14"/>
                  <a:pt x="266" y="15"/>
                </a:cubicBezTo>
                <a:cubicBezTo>
                  <a:pt x="269" y="14"/>
                  <a:pt x="269" y="14"/>
                  <a:pt x="269" y="14"/>
                </a:cubicBezTo>
                <a:moveTo>
                  <a:pt x="267" y="14"/>
                </a:moveTo>
                <a:cubicBezTo>
                  <a:pt x="268" y="14"/>
                  <a:pt x="268" y="14"/>
                  <a:pt x="268" y="14"/>
                </a:cubicBezTo>
                <a:cubicBezTo>
                  <a:pt x="269" y="14"/>
                  <a:pt x="269" y="14"/>
                  <a:pt x="270" y="13"/>
                </a:cubicBezTo>
                <a:cubicBezTo>
                  <a:pt x="269" y="14"/>
                  <a:pt x="268" y="14"/>
                  <a:pt x="268" y="14"/>
                </a:cubicBezTo>
                <a:cubicBezTo>
                  <a:pt x="267" y="14"/>
                  <a:pt x="267" y="14"/>
                  <a:pt x="267" y="14"/>
                </a:cubicBezTo>
                <a:cubicBezTo>
                  <a:pt x="267" y="14"/>
                  <a:pt x="267" y="14"/>
                  <a:pt x="267" y="14"/>
                </a:cubicBezTo>
                <a:moveTo>
                  <a:pt x="270" y="13"/>
                </a:moveTo>
                <a:cubicBezTo>
                  <a:pt x="274" y="12"/>
                  <a:pt x="274" y="12"/>
                  <a:pt x="274" y="12"/>
                </a:cubicBezTo>
                <a:cubicBezTo>
                  <a:pt x="274" y="12"/>
                  <a:pt x="274" y="12"/>
                  <a:pt x="274" y="12"/>
                </a:cubicBezTo>
                <a:cubicBezTo>
                  <a:pt x="275" y="12"/>
                  <a:pt x="275" y="12"/>
                  <a:pt x="275" y="12"/>
                </a:cubicBezTo>
                <a:cubicBezTo>
                  <a:pt x="275" y="12"/>
                  <a:pt x="275" y="12"/>
                  <a:pt x="275" y="12"/>
                </a:cubicBezTo>
                <a:cubicBezTo>
                  <a:pt x="273" y="13"/>
                  <a:pt x="272" y="13"/>
                  <a:pt x="270" y="13"/>
                </a:cubicBezTo>
                <a:cubicBezTo>
                  <a:pt x="269" y="14"/>
                  <a:pt x="269" y="14"/>
                  <a:pt x="268" y="14"/>
                </a:cubicBezTo>
                <a:cubicBezTo>
                  <a:pt x="270" y="13"/>
                  <a:pt x="270" y="13"/>
                  <a:pt x="270" y="13"/>
                </a:cubicBezTo>
                <a:moveTo>
                  <a:pt x="279" y="11"/>
                </a:moveTo>
                <a:cubicBezTo>
                  <a:pt x="279" y="11"/>
                  <a:pt x="279" y="11"/>
                  <a:pt x="279" y="11"/>
                </a:cubicBezTo>
                <a:cubicBezTo>
                  <a:pt x="280" y="11"/>
                  <a:pt x="281" y="11"/>
                  <a:pt x="281" y="10"/>
                </a:cubicBezTo>
                <a:cubicBezTo>
                  <a:pt x="284" y="10"/>
                  <a:pt x="284" y="10"/>
                  <a:pt x="284" y="10"/>
                </a:cubicBezTo>
                <a:cubicBezTo>
                  <a:pt x="284" y="10"/>
                  <a:pt x="284" y="10"/>
                  <a:pt x="284" y="10"/>
                </a:cubicBezTo>
                <a:cubicBezTo>
                  <a:pt x="283" y="10"/>
                  <a:pt x="283" y="10"/>
                  <a:pt x="283" y="10"/>
                </a:cubicBezTo>
                <a:cubicBezTo>
                  <a:pt x="282" y="10"/>
                  <a:pt x="281" y="10"/>
                  <a:pt x="280" y="11"/>
                </a:cubicBezTo>
                <a:cubicBezTo>
                  <a:pt x="280" y="11"/>
                  <a:pt x="280" y="11"/>
                  <a:pt x="280" y="11"/>
                </a:cubicBezTo>
                <a:cubicBezTo>
                  <a:pt x="279" y="11"/>
                  <a:pt x="279" y="11"/>
                  <a:pt x="279" y="11"/>
                </a:cubicBezTo>
                <a:moveTo>
                  <a:pt x="286" y="9"/>
                </a:moveTo>
                <a:cubicBezTo>
                  <a:pt x="287" y="9"/>
                  <a:pt x="287" y="9"/>
                  <a:pt x="287" y="9"/>
                </a:cubicBezTo>
                <a:cubicBezTo>
                  <a:pt x="289" y="9"/>
                  <a:pt x="289" y="9"/>
                  <a:pt x="289" y="9"/>
                </a:cubicBezTo>
                <a:cubicBezTo>
                  <a:pt x="290" y="8"/>
                  <a:pt x="290" y="8"/>
                  <a:pt x="290" y="8"/>
                </a:cubicBezTo>
                <a:cubicBezTo>
                  <a:pt x="288" y="9"/>
                  <a:pt x="288" y="9"/>
                  <a:pt x="288" y="9"/>
                </a:cubicBezTo>
                <a:cubicBezTo>
                  <a:pt x="287" y="9"/>
                  <a:pt x="287" y="9"/>
                  <a:pt x="287" y="9"/>
                </a:cubicBezTo>
                <a:cubicBezTo>
                  <a:pt x="286" y="9"/>
                  <a:pt x="286" y="9"/>
                  <a:pt x="286" y="9"/>
                </a:cubicBezTo>
                <a:cubicBezTo>
                  <a:pt x="286" y="9"/>
                  <a:pt x="286" y="9"/>
                  <a:pt x="286" y="9"/>
                </a:cubicBezTo>
                <a:moveTo>
                  <a:pt x="293" y="8"/>
                </a:moveTo>
                <a:cubicBezTo>
                  <a:pt x="294" y="7"/>
                  <a:pt x="294" y="7"/>
                  <a:pt x="294" y="7"/>
                </a:cubicBezTo>
                <a:cubicBezTo>
                  <a:pt x="298" y="7"/>
                  <a:pt x="298" y="7"/>
                  <a:pt x="298" y="7"/>
                </a:cubicBezTo>
                <a:cubicBezTo>
                  <a:pt x="298" y="7"/>
                  <a:pt x="298" y="7"/>
                  <a:pt x="298" y="7"/>
                </a:cubicBezTo>
                <a:cubicBezTo>
                  <a:pt x="296" y="7"/>
                  <a:pt x="296" y="7"/>
                  <a:pt x="296" y="7"/>
                </a:cubicBezTo>
                <a:cubicBezTo>
                  <a:pt x="293" y="8"/>
                  <a:pt x="293" y="8"/>
                  <a:pt x="293" y="8"/>
                </a:cubicBezTo>
                <a:cubicBezTo>
                  <a:pt x="292" y="8"/>
                  <a:pt x="292" y="8"/>
                  <a:pt x="292" y="8"/>
                </a:cubicBezTo>
                <a:cubicBezTo>
                  <a:pt x="292" y="8"/>
                  <a:pt x="291" y="8"/>
                  <a:pt x="291" y="8"/>
                </a:cubicBezTo>
                <a:cubicBezTo>
                  <a:pt x="293" y="8"/>
                  <a:pt x="293" y="8"/>
                  <a:pt x="293" y="8"/>
                </a:cubicBezTo>
                <a:moveTo>
                  <a:pt x="298" y="7"/>
                </a:moveTo>
                <a:cubicBezTo>
                  <a:pt x="298" y="7"/>
                  <a:pt x="298" y="7"/>
                  <a:pt x="298" y="7"/>
                </a:cubicBezTo>
                <a:cubicBezTo>
                  <a:pt x="298" y="7"/>
                  <a:pt x="298" y="7"/>
                  <a:pt x="298" y="7"/>
                </a:cubicBezTo>
                <a:cubicBezTo>
                  <a:pt x="298" y="7"/>
                  <a:pt x="298" y="7"/>
                  <a:pt x="298" y="7"/>
                </a:cubicBezTo>
                <a:moveTo>
                  <a:pt x="309" y="5"/>
                </a:moveTo>
                <a:cubicBezTo>
                  <a:pt x="314" y="4"/>
                  <a:pt x="314" y="4"/>
                  <a:pt x="314" y="4"/>
                </a:cubicBezTo>
                <a:cubicBezTo>
                  <a:pt x="315" y="4"/>
                  <a:pt x="315" y="4"/>
                  <a:pt x="315" y="4"/>
                </a:cubicBezTo>
                <a:cubicBezTo>
                  <a:pt x="314" y="4"/>
                  <a:pt x="313" y="4"/>
                  <a:pt x="312" y="4"/>
                </a:cubicBezTo>
                <a:cubicBezTo>
                  <a:pt x="311" y="4"/>
                  <a:pt x="311" y="4"/>
                  <a:pt x="311" y="4"/>
                </a:cubicBezTo>
                <a:cubicBezTo>
                  <a:pt x="308" y="5"/>
                  <a:pt x="308" y="5"/>
                  <a:pt x="308" y="5"/>
                </a:cubicBezTo>
                <a:cubicBezTo>
                  <a:pt x="309" y="5"/>
                  <a:pt x="309" y="5"/>
                  <a:pt x="309" y="5"/>
                </a:cubicBezTo>
                <a:moveTo>
                  <a:pt x="315" y="4"/>
                </a:moveTo>
                <a:cubicBezTo>
                  <a:pt x="315" y="4"/>
                  <a:pt x="315" y="4"/>
                  <a:pt x="315" y="4"/>
                </a:cubicBezTo>
                <a:cubicBezTo>
                  <a:pt x="315" y="4"/>
                  <a:pt x="315" y="4"/>
                  <a:pt x="315" y="4"/>
                </a:cubicBezTo>
                <a:cubicBezTo>
                  <a:pt x="315" y="4"/>
                  <a:pt x="315" y="4"/>
                  <a:pt x="315" y="4"/>
                </a:cubicBezTo>
                <a:moveTo>
                  <a:pt x="295" y="7"/>
                </a:moveTo>
                <a:cubicBezTo>
                  <a:pt x="295" y="7"/>
                  <a:pt x="295" y="7"/>
                  <a:pt x="295" y="7"/>
                </a:cubicBezTo>
                <a:cubicBezTo>
                  <a:pt x="295" y="7"/>
                  <a:pt x="295" y="7"/>
                  <a:pt x="294" y="8"/>
                </a:cubicBezTo>
                <a:cubicBezTo>
                  <a:pt x="295" y="7"/>
                  <a:pt x="295" y="7"/>
                  <a:pt x="295" y="7"/>
                </a:cubicBezTo>
                <a:moveTo>
                  <a:pt x="295" y="7"/>
                </a:moveTo>
                <a:cubicBezTo>
                  <a:pt x="296" y="7"/>
                  <a:pt x="296" y="7"/>
                  <a:pt x="296" y="7"/>
                </a:cubicBezTo>
                <a:cubicBezTo>
                  <a:pt x="298" y="7"/>
                  <a:pt x="298" y="7"/>
                  <a:pt x="298" y="7"/>
                </a:cubicBezTo>
                <a:cubicBezTo>
                  <a:pt x="301" y="6"/>
                  <a:pt x="301" y="6"/>
                  <a:pt x="301" y="6"/>
                </a:cubicBezTo>
                <a:cubicBezTo>
                  <a:pt x="300" y="6"/>
                  <a:pt x="300" y="6"/>
                  <a:pt x="300" y="6"/>
                </a:cubicBezTo>
                <a:cubicBezTo>
                  <a:pt x="303" y="6"/>
                  <a:pt x="303" y="6"/>
                  <a:pt x="303" y="6"/>
                </a:cubicBezTo>
                <a:cubicBezTo>
                  <a:pt x="305" y="5"/>
                  <a:pt x="305" y="5"/>
                  <a:pt x="305" y="5"/>
                </a:cubicBezTo>
                <a:cubicBezTo>
                  <a:pt x="305" y="5"/>
                  <a:pt x="305" y="5"/>
                  <a:pt x="305" y="5"/>
                </a:cubicBezTo>
                <a:cubicBezTo>
                  <a:pt x="305" y="5"/>
                  <a:pt x="305" y="5"/>
                  <a:pt x="305" y="5"/>
                </a:cubicBezTo>
                <a:cubicBezTo>
                  <a:pt x="302" y="6"/>
                  <a:pt x="300" y="6"/>
                  <a:pt x="297" y="7"/>
                </a:cubicBezTo>
                <a:cubicBezTo>
                  <a:pt x="296" y="7"/>
                  <a:pt x="296" y="7"/>
                  <a:pt x="295" y="7"/>
                </a:cubicBezTo>
                <a:cubicBezTo>
                  <a:pt x="295" y="7"/>
                  <a:pt x="295" y="7"/>
                  <a:pt x="295" y="7"/>
                </a:cubicBezTo>
                <a:moveTo>
                  <a:pt x="2" y="405"/>
                </a:moveTo>
                <a:cubicBezTo>
                  <a:pt x="2" y="405"/>
                  <a:pt x="2" y="405"/>
                  <a:pt x="2" y="405"/>
                </a:cubicBezTo>
                <a:cubicBezTo>
                  <a:pt x="2" y="406"/>
                  <a:pt x="2" y="406"/>
                  <a:pt x="2" y="406"/>
                </a:cubicBezTo>
                <a:cubicBezTo>
                  <a:pt x="2" y="405"/>
                  <a:pt x="2" y="405"/>
                  <a:pt x="2" y="405"/>
                </a:cubicBezTo>
                <a:moveTo>
                  <a:pt x="2" y="404"/>
                </a:moveTo>
                <a:cubicBezTo>
                  <a:pt x="2" y="403"/>
                  <a:pt x="2" y="402"/>
                  <a:pt x="1" y="401"/>
                </a:cubicBezTo>
                <a:cubicBezTo>
                  <a:pt x="2" y="401"/>
                  <a:pt x="2" y="401"/>
                  <a:pt x="2" y="402"/>
                </a:cubicBezTo>
                <a:cubicBezTo>
                  <a:pt x="2" y="405"/>
                  <a:pt x="2" y="405"/>
                  <a:pt x="2" y="405"/>
                </a:cubicBezTo>
                <a:cubicBezTo>
                  <a:pt x="2" y="404"/>
                  <a:pt x="2" y="404"/>
                  <a:pt x="2" y="404"/>
                </a:cubicBezTo>
                <a:moveTo>
                  <a:pt x="1" y="383"/>
                </a:moveTo>
                <a:cubicBezTo>
                  <a:pt x="1" y="385"/>
                  <a:pt x="1" y="386"/>
                  <a:pt x="1" y="388"/>
                </a:cubicBezTo>
                <a:cubicBezTo>
                  <a:pt x="1" y="392"/>
                  <a:pt x="1" y="395"/>
                  <a:pt x="1" y="398"/>
                </a:cubicBezTo>
                <a:cubicBezTo>
                  <a:pt x="1" y="399"/>
                  <a:pt x="1" y="399"/>
                  <a:pt x="1" y="399"/>
                </a:cubicBezTo>
                <a:cubicBezTo>
                  <a:pt x="1" y="394"/>
                  <a:pt x="1" y="388"/>
                  <a:pt x="1" y="383"/>
                </a:cubicBezTo>
                <a:moveTo>
                  <a:pt x="23" y="243"/>
                </a:moveTo>
                <a:cubicBezTo>
                  <a:pt x="24" y="240"/>
                  <a:pt x="26" y="236"/>
                  <a:pt x="27" y="232"/>
                </a:cubicBezTo>
                <a:cubicBezTo>
                  <a:pt x="26" y="235"/>
                  <a:pt x="25" y="237"/>
                  <a:pt x="25" y="239"/>
                </a:cubicBezTo>
                <a:cubicBezTo>
                  <a:pt x="23" y="243"/>
                  <a:pt x="23" y="243"/>
                  <a:pt x="23" y="243"/>
                </a:cubicBezTo>
                <a:cubicBezTo>
                  <a:pt x="23" y="243"/>
                  <a:pt x="23" y="243"/>
                  <a:pt x="23" y="243"/>
                </a:cubicBezTo>
                <a:moveTo>
                  <a:pt x="33" y="217"/>
                </a:moveTo>
                <a:cubicBezTo>
                  <a:pt x="33" y="218"/>
                  <a:pt x="33" y="218"/>
                  <a:pt x="33" y="219"/>
                </a:cubicBezTo>
                <a:cubicBezTo>
                  <a:pt x="31" y="224"/>
                  <a:pt x="29" y="228"/>
                  <a:pt x="27" y="232"/>
                </a:cubicBezTo>
                <a:cubicBezTo>
                  <a:pt x="26" y="236"/>
                  <a:pt x="24" y="240"/>
                  <a:pt x="23" y="243"/>
                </a:cubicBezTo>
                <a:cubicBezTo>
                  <a:pt x="27" y="232"/>
                  <a:pt x="29" y="227"/>
                  <a:pt x="33" y="217"/>
                </a:cubicBezTo>
                <a:moveTo>
                  <a:pt x="33" y="217"/>
                </a:moveTo>
                <a:cubicBezTo>
                  <a:pt x="33" y="217"/>
                  <a:pt x="33" y="217"/>
                  <a:pt x="33" y="217"/>
                </a:cubicBezTo>
                <a:cubicBezTo>
                  <a:pt x="33" y="218"/>
                  <a:pt x="33" y="218"/>
                  <a:pt x="33" y="218"/>
                </a:cubicBezTo>
                <a:cubicBezTo>
                  <a:pt x="33" y="219"/>
                  <a:pt x="33" y="219"/>
                  <a:pt x="33" y="219"/>
                </a:cubicBezTo>
                <a:cubicBezTo>
                  <a:pt x="33" y="218"/>
                  <a:pt x="33" y="218"/>
                  <a:pt x="33" y="217"/>
                </a:cubicBezTo>
                <a:moveTo>
                  <a:pt x="47" y="190"/>
                </a:moveTo>
                <a:cubicBezTo>
                  <a:pt x="47" y="190"/>
                  <a:pt x="48" y="189"/>
                  <a:pt x="48" y="188"/>
                </a:cubicBezTo>
                <a:cubicBezTo>
                  <a:pt x="48" y="189"/>
                  <a:pt x="48" y="189"/>
                  <a:pt x="47" y="190"/>
                </a:cubicBezTo>
                <a:cubicBezTo>
                  <a:pt x="47" y="190"/>
                  <a:pt x="47" y="190"/>
                  <a:pt x="47" y="190"/>
                </a:cubicBezTo>
                <a:cubicBezTo>
                  <a:pt x="47" y="190"/>
                  <a:pt x="47" y="190"/>
                  <a:pt x="47" y="190"/>
                </a:cubicBezTo>
                <a:moveTo>
                  <a:pt x="47" y="190"/>
                </a:moveTo>
                <a:cubicBezTo>
                  <a:pt x="47" y="190"/>
                  <a:pt x="48" y="189"/>
                  <a:pt x="48" y="188"/>
                </a:cubicBezTo>
                <a:cubicBezTo>
                  <a:pt x="48" y="189"/>
                  <a:pt x="47" y="190"/>
                  <a:pt x="47" y="190"/>
                </a:cubicBezTo>
                <a:cubicBezTo>
                  <a:pt x="52" y="181"/>
                  <a:pt x="55" y="177"/>
                  <a:pt x="59" y="170"/>
                </a:cubicBezTo>
                <a:cubicBezTo>
                  <a:pt x="55" y="176"/>
                  <a:pt x="52" y="182"/>
                  <a:pt x="48" y="188"/>
                </a:cubicBezTo>
                <a:cubicBezTo>
                  <a:pt x="48" y="189"/>
                  <a:pt x="47" y="190"/>
                  <a:pt x="47" y="190"/>
                </a:cubicBezTo>
                <a:cubicBezTo>
                  <a:pt x="47" y="190"/>
                  <a:pt x="47" y="190"/>
                  <a:pt x="47" y="190"/>
                </a:cubicBezTo>
                <a:moveTo>
                  <a:pt x="135" y="87"/>
                </a:moveTo>
                <a:cubicBezTo>
                  <a:pt x="136" y="86"/>
                  <a:pt x="136" y="85"/>
                  <a:pt x="137" y="85"/>
                </a:cubicBezTo>
                <a:cubicBezTo>
                  <a:pt x="138" y="84"/>
                  <a:pt x="139" y="83"/>
                  <a:pt x="140" y="82"/>
                </a:cubicBezTo>
                <a:cubicBezTo>
                  <a:pt x="140" y="82"/>
                  <a:pt x="140" y="82"/>
                  <a:pt x="140" y="82"/>
                </a:cubicBezTo>
                <a:cubicBezTo>
                  <a:pt x="138" y="83"/>
                  <a:pt x="138" y="83"/>
                  <a:pt x="138" y="83"/>
                </a:cubicBezTo>
                <a:cubicBezTo>
                  <a:pt x="134" y="87"/>
                  <a:pt x="134" y="87"/>
                  <a:pt x="134" y="87"/>
                </a:cubicBezTo>
                <a:cubicBezTo>
                  <a:pt x="134" y="87"/>
                  <a:pt x="134" y="87"/>
                  <a:pt x="134" y="87"/>
                </a:cubicBezTo>
                <a:cubicBezTo>
                  <a:pt x="135" y="87"/>
                  <a:pt x="135" y="87"/>
                  <a:pt x="135" y="87"/>
                </a:cubicBezTo>
                <a:moveTo>
                  <a:pt x="140" y="81"/>
                </a:moveTo>
                <a:cubicBezTo>
                  <a:pt x="141" y="81"/>
                  <a:pt x="141" y="81"/>
                  <a:pt x="141" y="81"/>
                </a:cubicBezTo>
                <a:cubicBezTo>
                  <a:pt x="143" y="79"/>
                  <a:pt x="143" y="79"/>
                  <a:pt x="143" y="79"/>
                </a:cubicBezTo>
                <a:cubicBezTo>
                  <a:pt x="140" y="81"/>
                  <a:pt x="137" y="83"/>
                  <a:pt x="137" y="84"/>
                </a:cubicBezTo>
                <a:cubicBezTo>
                  <a:pt x="137" y="84"/>
                  <a:pt x="139" y="82"/>
                  <a:pt x="140" y="81"/>
                </a:cubicBezTo>
                <a:moveTo>
                  <a:pt x="231" y="28"/>
                </a:moveTo>
                <a:cubicBezTo>
                  <a:pt x="233" y="28"/>
                  <a:pt x="233" y="28"/>
                  <a:pt x="233" y="28"/>
                </a:cubicBezTo>
                <a:cubicBezTo>
                  <a:pt x="237" y="26"/>
                  <a:pt x="237" y="26"/>
                  <a:pt x="237" y="26"/>
                </a:cubicBezTo>
                <a:cubicBezTo>
                  <a:pt x="237" y="26"/>
                  <a:pt x="237" y="26"/>
                  <a:pt x="237" y="26"/>
                </a:cubicBezTo>
                <a:cubicBezTo>
                  <a:pt x="236" y="25"/>
                  <a:pt x="236" y="25"/>
                  <a:pt x="236" y="25"/>
                </a:cubicBezTo>
                <a:cubicBezTo>
                  <a:pt x="231" y="28"/>
                  <a:pt x="231" y="28"/>
                  <a:pt x="231" y="28"/>
                </a:cubicBezTo>
                <a:cubicBezTo>
                  <a:pt x="228" y="29"/>
                  <a:pt x="228" y="29"/>
                  <a:pt x="228" y="29"/>
                </a:cubicBezTo>
                <a:cubicBezTo>
                  <a:pt x="228" y="30"/>
                  <a:pt x="228" y="30"/>
                  <a:pt x="228" y="30"/>
                </a:cubicBezTo>
                <a:cubicBezTo>
                  <a:pt x="231" y="28"/>
                  <a:pt x="231" y="28"/>
                  <a:pt x="231" y="28"/>
                </a:cubicBezTo>
                <a:moveTo>
                  <a:pt x="695" y="448"/>
                </a:moveTo>
                <a:cubicBezTo>
                  <a:pt x="695" y="447"/>
                  <a:pt x="695" y="446"/>
                  <a:pt x="695" y="445"/>
                </a:cubicBezTo>
                <a:cubicBezTo>
                  <a:pt x="695" y="445"/>
                  <a:pt x="695" y="444"/>
                  <a:pt x="695" y="444"/>
                </a:cubicBezTo>
                <a:cubicBezTo>
                  <a:pt x="695" y="443"/>
                  <a:pt x="696" y="443"/>
                  <a:pt x="696" y="443"/>
                </a:cubicBezTo>
                <a:cubicBezTo>
                  <a:pt x="696" y="443"/>
                  <a:pt x="696" y="440"/>
                  <a:pt x="694" y="436"/>
                </a:cubicBezTo>
                <a:cubicBezTo>
                  <a:pt x="694" y="436"/>
                  <a:pt x="694" y="436"/>
                  <a:pt x="694" y="433"/>
                </a:cubicBezTo>
                <a:cubicBezTo>
                  <a:pt x="694" y="432"/>
                  <a:pt x="694" y="432"/>
                  <a:pt x="694" y="432"/>
                </a:cubicBezTo>
                <a:cubicBezTo>
                  <a:pt x="693" y="433"/>
                  <a:pt x="693" y="433"/>
                  <a:pt x="693" y="433"/>
                </a:cubicBezTo>
                <a:cubicBezTo>
                  <a:pt x="692" y="435"/>
                  <a:pt x="692" y="435"/>
                  <a:pt x="692" y="435"/>
                </a:cubicBezTo>
                <a:cubicBezTo>
                  <a:pt x="692" y="435"/>
                  <a:pt x="692" y="437"/>
                  <a:pt x="692" y="438"/>
                </a:cubicBezTo>
                <a:cubicBezTo>
                  <a:pt x="692" y="438"/>
                  <a:pt x="692" y="438"/>
                  <a:pt x="692" y="439"/>
                </a:cubicBezTo>
                <a:cubicBezTo>
                  <a:pt x="692" y="439"/>
                  <a:pt x="692" y="439"/>
                  <a:pt x="692" y="439"/>
                </a:cubicBezTo>
                <a:cubicBezTo>
                  <a:pt x="692" y="440"/>
                  <a:pt x="692" y="441"/>
                  <a:pt x="692" y="441"/>
                </a:cubicBezTo>
                <a:cubicBezTo>
                  <a:pt x="691" y="444"/>
                  <a:pt x="691" y="444"/>
                  <a:pt x="691" y="444"/>
                </a:cubicBezTo>
                <a:cubicBezTo>
                  <a:pt x="690" y="447"/>
                  <a:pt x="690" y="449"/>
                  <a:pt x="690" y="450"/>
                </a:cubicBezTo>
                <a:cubicBezTo>
                  <a:pt x="690" y="451"/>
                  <a:pt x="691" y="453"/>
                  <a:pt x="691" y="453"/>
                </a:cubicBezTo>
                <a:cubicBezTo>
                  <a:pt x="692" y="453"/>
                  <a:pt x="692" y="453"/>
                  <a:pt x="694" y="453"/>
                </a:cubicBezTo>
                <a:cubicBezTo>
                  <a:pt x="694" y="451"/>
                  <a:pt x="695" y="449"/>
                  <a:pt x="695" y="448"/>
                </a:cubicBezTo>
                <a:moveTo>
                  <a:pt x="711" y="529"/>
                </a:moveTo>
                <a:cubicBezTo>
                  <a:pt x="714" y="522"/>
                  <a:pt x="714" y="522"/>
                  <a:pt x="714" y="522"/>
                </a:cubicBezTo>
                <a:cubicBezTo>
                  <a:pt x="714" y="522"/>
                  <a:pt x="715" y="520"/>
                  <a:pt x="715" y="520"/>
                </a:cubicBezTo>
                <a:cubicBezTo>
                  <a:pt x="714" y="521"/>
                  <a:pt x="713" y="521"/>
                  <a:pt x="712" y="522"/>
                </a:cubicBezTo>
                <a:cubicBezTo>
                  <a:pt x="712" y="522"/>
                  <a:pt x="712" y="522"/>
                  <a:pt x="711" y="523"/>
                </a:cubicBezTo>
                <a:cubicBezTo>
                  <a:pt x="712" y="523"/>
                  <a:pt x="712" y="523"/>
                  <a:pt x="712" y="523"/>
                </a:cubicBezTo>
                <a:cubicBezTo>
                  <a:pt x="711" y="524"/>
                  <a:pt x="711" y="525"/>
                  <a:pt x="711" y="525"/>
                </a:cubicBezTo>
                <a:cubicBezTo>
                  <a:pt x="711" y="525"/>
                  <a:pt x="711" y="525"/>
                  <a:pt x="711" y="525"/>
                </a:cubicBezTo>
                <a:cubicBezTo>
                  <a:pt x="711" y="526"/>
                  <a:pt x="711" y="526"/>
                  <a:pt x="710" y="527"/>
                </a:cubicBezTo>
                <a:cubicBezTo>
                  <a:pt x="710" y="528"/>
                  <a:pt x="710" y="528"/>
                  <a:pt x="710" y="528"/>
                </a:cubicBezTo>
                <a:cubicBezTo>
                  <a:pt x="710" y="528"/>
                  <a:pt x="710" y="528"/>
                  <a:pt x="710" y="528"/>
                </a:cubicBezTo>
                <a:cubicBezTo>
                  <a:pt x="710" y="528"/>
                  <a:pt x="711" y="527"/>
                  <a:pt x="711" y="527"/>
                </a:cubicBezTo>
                <a:cubicBezTo>
                  <a:pt x="711" y="527"/>
                  <a:pt x="711" y="526"/>
                  <a:pt x="712" y="527"/>
                </a:cubicBezTo>
                <a:cubicBezTo>
                  <a:pt x="711" y="527"/>
                  <a:pt x="711" y="528"/>
                  <a:pt x="711" y="529"/>
                </a:cubicBezTo>
                <a:cubicBezTo>
                  <a:pt x="711" y="528"/>
                  <a:pt x="711" y="528"/>
                  <a:pt x="711" y="528"/>
                </a:cubicBezTo>
                <a:cubicBezTo>
                  <a:pt x="711" y="528"/>
                  <a:pt x="711" y="528"/>
                  <a:pt x="711" y="528"/>
                </a:cubicBezTo>
                <a:cubicBezTo>
                  <a:pt x="711" y="529"/>
                  <a:pt x="710" y="530"/>
                  <a:pt x="710" y="531"/>
                </a:cubicBezTo>
                <a:cubicBezTo>
                  <a:pt x="710" y="531"/>
                  <a:pt x="710" y="531"/>
                  <a:pt x="710" y="531"/>
                </a:cubicBezTo>
                <a:cubicBezTo>
                  <a:pt x="710" y="531"/>
                  <a:pt x="710" y="531"/>
                  <a:pt x="710" y="531"/>
                </a:cubicBezTo>
                <a:cubicBezTo>
                  <a:pt x="710" y="530"/>
                  <a:pt x="710" y="530"/>
                  <a:pt x="711" y="529"/>
                </a:cubicBezTo>
                <a:moveTo>
                  <a:pt x="712" y="517"/>
                </a:moveTo>
                <a:cubicBezTo>
                  <a:pt x="712" y="517"/>
                  <a:pt x="712" y="516"/>
                  <a:pt x="712" y="516"/>
                </a:cubicBezTo>
                <a:cubicBezTo>
                  <a:pt x="712" y="515"/>
                  <a:pt x="712" y="515"/>
                  <a:pt x="712" y="515"/>
                </a:cubicBezTo>
                <a:cubicBezTo>
                  <a:pt x="713" y="515"/>
                  <a:pt x="713" y="514"/>
                  <a:pt x="713" y="514"/>
                </a:cubicBezTo>
                <a:cubicBezTo>
                  <a:pt x="713" y="514"/>
                  <a:pt x="713" y="515"/>
                  <a:pt x="712" y="515"/>
                </a:cubicBezTo>
                <a:cubicBezTo>
                  <a:pt x="712" y="515"/>
                  <a:pt x="712" y="516"/>
                  <a:pt x="712" y="516"/>
                </a:cubicBezTo>
                <a:cubicBezTo>
                  <a:pt x="712" y="517"/>
                  <a:pt x="712" y="517"/>
                  <a:pt x="712" y="517"/>
                </a:cubicBezTo>
                <a:moveTo>
                  <a:pt x="728" y="487"/>
                </a:moveTo>
                <a:cubicBezTo>
                  <a:pt x="734" y="465"/>
                  <a:pt x="734" y="465"/>
                  <a:pt x="734" y="465"/>
                </a:cubicBezTo>
                <a:cubicBezTo>
                  <a:pt x="733" y="469"/>
                  <a:pt x="733" y="469"/>
                  <a:pt x="733" y="469"/>
                </a:cubicBezTo>
                <a:cubicBezTo>
                  <a:pt x="732" y="471"/>
                  <a:pt x="732" y="473"/>
                  <a:pt x="731" y="475"/>
                </a:cubicBezTo>
                <a:cubicBezTo>
                  <a:pt x="731" y="476"/>
                  <a:pt x="731" y="476"/>
                  <a:pt x="731" y="476"/>
                </a:cubicBezTo>
                <a:cubicBezTo>
                  <a:pt x="731" y="475"/>
                  <a:pt x="731" y="475"/>
                  <a:pt x="731" y="474"/>
                </a:cubicBezTo>
                <a:cubicBezTo>
                  <a:pt x="731" y="473"/>
                  <a:pt x="731" y="473"/>
                  <a:pt x="731" y="473"/>
                </a:cubicBezTo>
                <a:cubicBezTo>
                  <a:pt x="731" y="474"/>
                  <a:pt x="731" y="474"/>
                  <a:pt x="731" y="474"/>
                </a:cubicBezTo>
                <a:cubicBezTo>
                  <a:pt x="728" y="480"/>
                  <a:pt x="727" y="486"/>
                  <a:pt x="725" y="493"/>
                </a:cubicBezTo>
                <a:cubicBezTo>
                  <a:pt x="725" y="493"/>
                  <a:pt x="725" y="493"/>
                  <a:pt x="725" y="493"/>
                </a:cubicBezTo>
                <a:cubicBezTo>
                  <a:pt x="725" y="494"/>
                  <a:pt x="725" y="494"/>
                  <a:pt x="725" y="494"/>
                </a:cubicBezTo>
                <a:cubicBezTo>
                  <a:pt x="723" y="498"/>
                  <a:pt x="723" y="498"/>
                  <a:pt x="722" y="501"/>
                </a:cubicBezTo>
                <a:cubicBezTo>
                  <a:pt x="722" y="504"/>
                  <a:pt x="721" y="504"/>
                  <a:pt x="721" y="504"/>
                </a:cubicBezTo>
                <a:cubicBezTo>
                  <a:pt x="722" y="504"/>
                  <a:pt x="722" y="504"/>
                  <a:pt x="722" y="504"/>
                </a:cubicBezTo>
                <a:cubicBezTo>
                  <a:pt x="728" y="487"/>
                  <a:pt x="728" y="487"/>
                  <a:pt x="728" y="487"/>
                </a:cubicBezTo>
                <a:moveTo>
                  <a:pt x="714" y="506"/>
                </a:moveTo>
                <a:cubicBezTo>
                  <a:pt x="715" y="505"/>
                  <a:pt x="715" y="503"/>
                  <a:pt x="716" y="502"/>
                </a:cubicBezTo>
                <a:cubicBezTo>
                  <a:pt x="716" y="501"/>
                  <a:pt x="716" y="501"/>
                  <a:pt x="716" y="501"/>
                </a:cubicBezTo>
                <a:cubicBezTo>
                  <a:pt x="716" y="500"/>
                  <a:pt x="716" y="500"/>
                  <a:pt x="716" y="500"/>
                </a:cubicBezTo>
                <a:cubicBezTo>
                  <a:pt x="716" y="500"/>
                  <a:pt x="716" y="500"/>
                  <a:pt x="716" y="500"/>
                </a:cubicBezTo>
                <a:cubicBezTo>
                  <a:pt x="716" y="500"/>
                  <a:pt x="716" y="499"/>
                  <a:pt x="716" y="496"/>
                </a:cubicBezTo>
                <a:cubicBezTo>
                  <a:pt x="718" y="491"/>
                  <a:pt x="718" y="491"/>
                  <a:pt x="718" y="491"/>
                </a:cubicBezTo>
                <a:cubicBezTo>
                  <a:pt x="715" y="496"/>
                  <a:pt x="715" y="502"/>
                  <a:pt x="715" y="503"/>
                </a:cubicBezTo>
                <a:cubicBezTo>
                  <a:pt x="715" y="503"/>
                  <a:pt x="715" y="503"/>
                  <a:pt x="715" y="504"/>
                </a:cubicBezTo>
                <a:cubicBezTo>
                  <a:pt x="714" y="505"/>
                  <a:pt x="714" y="506"/>
                  <a:pt x="714" y="506"/>
                </a:cubicBezTo>
                <a:cubicBezTo>
                  <a:pt x="714" y="506"/>
                  <a:pt x="714" y="506"/>
                  <a:pt x="714" y="506"/>
                </a:cubicBezTo>
                <a:moveTo>
                  <a:pt x="719" y="481"/>
                </a:moveTo>
                <a:cubicBezTo>
                  <a:pt x="719" y="480"/>
                  <a:pt x="719" y="480"/>
                  <a:pt x="719" y="480"/>
                </a:cubicBezTo>
                <a:cubicBezTo>
                  <a:pt x="719" y="480"/>
                  <a:pt x="719" y="480"/>
                  <a:pt x="719" y="481"/>
                </a:cubicBezTo>
                <a:cubicBezTo>
                  <a:pt x="719" y="481"/>
                  <a:pt x="719" y="481"/>
                  <a:pt x="719" y="481"/>
                </a:cubicBezTo>
                <a:moveTo>
                  <a:pt x="719" y="485"/>
                </a:moveTo>
                <a:cubicBezTo>
                  <a:pt x="719" y="484"/>
                  <a:pt x="719" y="484"/>
                  <a:pt x="719" y="484"/>
                </a:cubicBezTo>
                <a:cubicBezTo>
                  <a:pt x="719" y="483"/>
                  <a:pt x="719" y="482"/>
                  <a:pt x="719" y="482"/>
                </a:cubicBezTo>
                <a:cubicBezTo>
                  <a:pt x="720" y="479"/>
                  <a:pt x="720" y="479"/>
                  <a:pt x="720" y="479"/>
                </a:cubicBezTo>
                <a:cubicBezTo>
                  <a:pt x="719" y="478"/>
                  <a:pt x="719" y="478"/>
                  <a:pt x="719" y="478"/>
                </a:cubicBezTo>
                <a:cubicBezTo>
                  <a:pt x="719" y="479"/>
                  <a:pt x="719" y="479"/>
                  <a:pt x="719" y="479"/>
                </a:cubicBezTo>
                <a:cubicBezTo>
                  <a:pt x="719" y="480"/>
                  <a:pt x="719" y="480"/>
                  <a:pt x="719" y="482"/>
                </a:cubicBezTo>
                <a:cubicBezTo>
                  <a:pt x="719" y="485"/>
                  <a:pt x="719" y="485"/>
                  <a:pt x="718" y="486"/>
                </a:cubicBezTo>
                <a:cubicBezTo>
                  <a:pt x="719" y="485"/>
                  <a:pt x="719" y="485"/>
                  <a:pt x="719" y="485"/>
                </a:cubicBezTo>
                <a:moveTo>
                  <a:pt x="720" y="475"/>
                </a:moveTo>
                <a:cubicBezTo>
                  <a:pt x="720" y="475"/>
                  <a:pt x="720" y="474"/>
                  <a:pt x="720" y="474"/>
                </a:cubicBezTo>
                <a:cubicBezTo>
                  <a:pt x="720" y="473"/>
                  <a:pt x="720" y="473"/>
                  <a:pt x="720" y="473"/>
                </a:cubicBezTo>
                <a:cubicBezTo>
                  <a:pt x="720" y="472"/>
                  <a:pt x="720" y="471"/>
                  <a:pt x="720" y="471"/>
                </a:cubicBezTo>
                <a:cubicBezTo>
                  <a:pt x="720" y="470"/>
                  <a:pt x="720" y="470"/>
                  <a:pt x="720" y="470"/>
                </a:cubicBezTo>
                <a:cubicBezTo>
                  <a:pt x="720" y="470"/>
                  <a:pt x="720" y="471"/>
                  <a:pt x="720" y="471"/>
                </a:cubicBezTo>
                <a:cubicBezTo>
                  <a:pt x="720" y="472"/>
                  <a:pt x="720" y="472"/>
                  <a:pt x="719" y="473"/>
                </a:cubicBezTo>
                <a:cubicBezTo>
                  <a:pt x="719" y="474"/>
                  <a:pt x="719" y="474"/>
                  <a:pt x="719" y="475"/>
                </a:cubicBezTo>
                <a:cubicBezTo>
                  <a:pt x="719" y="475"/>
                  <a:pt x="719" y="475"/>
                  <a:pt x="719" y="475"/>
                </a:cubicBezTo>
                <a:cubicBezTo>
                  <a:pt x="719" y="475"/>
                  <a:pt x="719" y="475"/>
                  <a:pt x="719" y="475"/>
                </a:cubicBezTo>
                <a:cubicBezTo>
                  <a:pt x="719" y="475"/>
                  <a:pt x="719" y="475"/>
                  <a:pt x="719" y="475"/>
                </a:cubicBezTo>
                <a:cubicBezTo>
                  <a:pt x="719" y="475"/>
                  <a:pt x="719" y="475"/>
                  <a:pt x="719" y="475"/>
                </a:cubicBezTo>
                <a:cubicBezTo>
                  <a:pt x="719" y="475"/>
                  <a:pt x="719" y="475"/>
                  <a:pt x="719" y="475"/>
                </a:cubicBezTo>
                <a:cubicBezTo>
                  <a:pt x="719" y="475"/>
                  <a:pt x="719" y="475"/>
                  <a:pt x="719" y="475"/>
                </a:cubicBezTo>
                <a:cubicBezTo>
                  <a:pt x="719" y="475"/>
                  <a:pt x="719" y="475"/>
                  <a:pt x="719" y="475"/>
                </a:cubicBezTo>
                <a:cubicBezTo>
                  <a:pt x="719" y="475"/>
                  <a:pt x="719" y="475"/>
                  <a:pt x="719" y="475"/>
                </a:cubicBezTo>
                <a:cubicBezTo>
                  <a:pt x="719" y="475"/>
                  <a:pt x="719" y="475"/>
                  <a:pt x="719" y="475"/>
                </a:cubicBezTo>
                <a:cubicBezTo>
                  <a:pt x="720" y="475"/>
                  <a:pt x="720" y="475"/>
                  <a:pt x="720" y="475"/>
                </a:cubicBezTo>
                <a:moveTo>
                  <a:pt x="721" y="502"/>
                </a:moveTo>
                <a:cubicBezTo>
                  <a:pt x="721" y="502"/>
                  <a:pt x="723" y="495"/>
                  <a:pt x="723" y="494"/>
                </a:cubicBezTo>
                <a:cubicBezTo>
                  <a:pt x="722" y="495"/>
                  <a:pt x="722" y="495"/>
                  <a:pt x="721" y="497"/>
                </a:cubicBezTo>
                <a:cubicBezTo>
                  <a:pt x="721" y="497"/>
                  <a:pt x="721" y="497"/>
                  <a:pt x="721" y="497"/>
                </a:cubicBezTo>
                <a:cubicBezTo>
                  <a:pt x="723" y="492"/>
                  <a:pt x="723" y="492"/>
                  <a:pt x="723" y="492"/>
                </a:cubicBezTo>
                <a:cubicBezTo>
                  <a:pt x="723" y="492"/>
                  <a:pt x="723" y="492"/>
                  <a:pt x="723" y="492"/>
                </a:cubicBezTo>
                <a:cubicBezTo>
                  <a:pt x="722" y="491"/>
                  <a:pt x="722" y="491"/>
                  <a:pt x="722" y="491"/>
                </a:cubicBezTo>
                <a:cubicBezTo>
                  <a:pt x="723" y="490"/>
                  <a:pt x="723" y="489"/>
                  <a:pt x="723" y="488"/>
                </a:cubicBezTo>
                <a:cubicBezTo>
                  <a:pt x="724" y="486"/>
                  <a:pt x="724" y="484"/>
                  <a:pt x="725" y="482"/>
                </a:cubicBezTo>
                <a:cubicBezTo>
                  <a:pt x="724" y="482"/>
                  <a:pt x="724" y="482"/>
                  <a:pt x="724" y="482"/>
                </a:cubicBezTo>
                <a:cubicBezTo>
                  <a:pt x="724" y="482"/>
                  <a:pt x="724" y="482"/>
                  <a:pt x="724" y="482"/>
                </a:cubicBezTo>
                <a:cubicBezTo>
                  <a:pt x="724" y="480"/>
                  <a:pt x="725" y="477"/>
                  <a:pt x="726" y="474"/>
                </a:cubicBezTo>
                <a:cubicBezTo>
                  <a:pt x="725" y="475"/>
                  <a:pt x="725" y="475"/>
                  <a:pt x="725" y="475"/>
                </a:cubicBezTo>
                <a:cubicBezTo>
                  <a:pt x="725" y="475"/>
                  <a:pt x="725" y="475"/>
                  <a:pt x="725" y="475"/>
                </a:cubicBezTo>
                <a:cubicBezTo>
                  <a:pt x="725" y="475"/>
                  <a:pt x="724" y="474"/>
                  <a:pt x="725" y="473"/>
                </a:cubicBezTo>
                <a:cubicBezTo>
                  <a:pt x="725" y="472"/>
                  <a:pt x="725" y="472"/>
                  <a:pt x="725" y="472"/>
                </a:cubicBezTo>
                <a:cubicBezTo>
                  <a:pt x="725" y="471"/>
                  <a:pt x="725" y="464"/>
                  <a:pt x="725" y="461"/>
                </a:cubicBezTo>
                <a:cubicBezTo>
                  <a:pt x="725" y="461"/>
                  <a:pt x="725" y="461"/>
                  <a:pt x="725" y="457"/>
                </a:cubicBezTo>
                <a:cubicBezTo>
                  <a:pt x="725" y="457"/>
                  <a:pt x="724" y="458"/>
                  <a:pt x="724" y="458"/>
                </a:cubicBezTo>
                <a:cubicBezTo>
                  <a:pt x="724" y="458"/>
                  <a:pt x="723" y="456"/>
                  <a:pt x="723" y="455"/>
                </a:cubicBezTo>
                <a:cubicBezTo>
                  <a:pt x="722" y="455"/>
                  <a:pt x="722" y="456"/>
                  <a:pt x="722" y="458"/>
                </a:cubicBezTo>
                <a:cubicBezTo>
                  <a:pt x="722" y="461"/>
                  <a:pt x="722" y="461"/>
                  <a:pt x="722" y="465"/>
                </a:cubicBezTo>
                <a:cubicBezTo>
                  <a:pt x="723" y="468"/>
                  <a:pt x="721" y="470"/>
                  <a:pt x="721" y="473"/>
                </a:cubicBezTo>
                <a:cubicBezTo>
                  <a:pt x="721" y="473"/>
                  <a:pt x="721" y="473"/>
                  <a:pt x="721" y="473"/>
                </a:cubicBezTo>
                <a:cubicBezTo>
                  <a:pt x="722" y="474"/>
                  <a:pt x="722" y="474"/>
                  <a:pt x="722" y="474"/>
                </a:cubicBezTo>
                <a:cubicBezTo>
                  <a:pt x="722" y="475"/>
                  <a:pt x="721" y="478"/>
                  <a:pt x="721" y="481"/>
                </a:cubicBezTo>
                <a:cubicBezTo>
                  <a:pt x="721" y="481"/>
                  <a:pt x="720" y="481"/>
                  <a:pt x="720" y="482"/>
                </a:cubicBezTo>
                <a:cubicBezTo>
                  <a:pt x="720" y="485"/>
                  <a:pt x="720" y="488"/>
                  <a:pt x="719" y="491"/>
                </a:cubicBezTo>
                <a:cubicBezTo>
                  <a:pt x="719" y="494"/>
                  <a:pt x="718" y="497"/>
                  <a:pt x="717" y="500"/>
                </a:cubicBezTo>
                <a:cubicBezTo>
                  <a:pt x="716" y="506"/>
                  <a:pt x="715" y="512"/>
                  <a:pt x="713" y="517"/>
                </a:cubicBezTo>
                <a:cubicBezTo>
                  <a:pt x="714" y="516"/>
                  <a:pt x="715" y="515"/>
                  <a:pt x="715" y="514"/>
                </a:cubicBezTo>
                <a:cubicBezTo>
                  <a:pt x="715" y="514"/>
                  <a:pt x="716" y="513"/>
                  <a:pt x="716" y="513"/>
                </a:cubicBezTo>
                <a:cubicBezTo>
                  <a:pt x="716" y="513"/>
                  <a:pt x="718" y="508"/>
                  <a:pt x="719" y="506"/>
                </a:cubicBezTo>
                <a:cubicBezTo>
                  <a:pt x="719" y="506"/>
                  <a:pt x="719" y="506"/>
                  <a:pt x="719" y="505"/>
                </a:cubicBezTo>
                <a:cubicBezTo>
                  <a:pt x="720" y="503"/>
                  <a:pt x="720" y="503"/>
                  <a:pt x="720" y="503"/>
                </a:cubicBezTo>
                <a:cubicBezTo>
                  <a:pt x="720" y="504"/>
                  <a:pt x="720" y="504"/>
                  <a:pt x="720" y="504"/>
                </a:cubicBezTo>
                <a:cubicBezTo>
                  <a:pt x="720" y="503"/>
                  <a:pt x="720" y="503"/>
                  <a:pt x="721" y="502"/>
                </a:cubicBezTo>
                <a:moveTo>
                  <a:pt x="482" y="16"/>
                </a:moveTo>
                <a:cubicBezTo>
                  <a:pt x="480" y="15"/>
                  <a:pt x="479" y="15"/>
                  <a:pt x="479" y="15"/>
                </a:cubicBezTo>
                <a:cubicBezTo>
                  <a:pt x="479" y="15"/>
                  <a:pt x="479" y="15"/>
                  <a:pt x="479" y="15"/>
                </a:cubicBezTo>
                <a:cubicBezTo>
                  <a:pt x="478" y="15"/>
                  <a:pt x="478" y="15"/>
                  <a:pt x="478" y="15"/>
                </a:cubicBezTo>
                <a:cubicBezTo>
                  <a:pt x="478" y="15"/>
                  <a:pt x="478" y="15"/>
                  <a:pt x="478" y="15"/>
                </a:cubicBezTo>
                <a:cubicBezTo>
                  <a:pt x="478" y="15"/>
                  <a:pt x="478" y="15"/>
                  <a:pt x="478" y="15"/>
                </a:cubicBezTo>
                <a:cubicBezTo>
                  <a:pt x="479" y="15"/>
                  <a:pt x="479" y="15"/>
                  <a:pt x="479" y="15"/>
                </a:cubicBezTo>
                <a:cubicBezTo>
                  <a:pt x="480" y="15"/>
                  <a:pt x="480" y="15"/>
                  <a:pt x="481" y="15"/>
                </a:cubicBezTo>
                <a:cubicBezTo>
                  <a:pt x="481" y="15"/>
                  <a:pt x="481" y="15"/>
                  <a:pt x="481" y="15"/>
                </a:cubicBezTo>
                <a:cubicBezTo>
                  <a:pt x="481" y="16"/>
                  <a:pt x="482" y="16"/>
                  <a:pt x="482" y="16"/>
                </a:cubicBezTo>
                <a:cubicBezTo>
                  <a:pt x="483" y="16"/>
                  <a:pt x="483" y="16"/>
                  <a:pt x="483" y="16"/>
                </a:cubicBezTo>
                <a:cubicBezTo>
                  <a:pt x="483" y="16"/>
                  <a:pt x="483" y="16"/>
                  <a:pt x="483" y="16"/>
                </a:cubicBezTo>
                <a:cubicBezTo>
                  <a:pt x="483" y="16"/>
                  <a:pt x="482" y="16"/>
                  <a:pt x="482" y="16"/>
                </a:cubicBezTo>
                <a:moveTo>
                  <a:pt x="492" y="21"/>
                </a:moveTo>
                <a:cubicBezTo>
                  <a:pt x="492" y="20"/>
                  <a:pt x="488" y="19"/>
                  <a:pt x="488" y="19"/>
                </a:cubicBezTo>
                <a:cubicBezTo>
                  <a:pt x="488" y="19"/>
                  <a:pt x="488" y="19"/>
                  <a:pt x="488" y="19"/>
                </a:cubicBezTo>
                <a:cubicBezTo>
                  <a:pt x="489" y="20"/>
                  <a:pt x="490" y="20"/>
                  <a:pt x="490" y="20"/>
                </a:cubicBezTo>
                <a:cubicBezTo>
                  <a:pt x="491" y="20"/>
                  <a:pt x="491" y="20"/>
                  <a:pt x="491" y="21"/>
                </a:cubicBezTo>
                <a:cubicBezTo>
                  <a:pt x="491" y="20"/>
                  <a:pt x="491" y="20"/>
                  <a:pt x="491" y="20"/>
                </a:cubicBezTo>
                <a:cubicBezTo>
                  <a:pt x="491" y="20"/>
                  <a:pt x="492" y="21"/>
                  <a:pt x="492" y="21"/>
                </a:cubicBezTo>
                <a:cubicBezTo>
                  <a:pt x="492" y="21"/>
                  <a:pt x="492" y="21"/>
                  <a:pt x="492" y="21"/>
                </a:cubicBezTo>
                <a:moveTo>
                  <a:pt x="476" y="14"/>
                </a:moveTo>
                <a:cubicBezTo>
                  <a:pt x="475" y="14"/>
                  <a:pt x="475" y="14"/>
                  <a:pt x="474" y="14"/>
                </a:cubicBezTo>
                <a:cubicBezTo>
                  <a:pt x="474" y="13"/>
                  <a:pt x="473" y="13"/>
                  <a:pt x="473" y="13"/>
                </a:cubicBezTo>
                <a:cubicBezTo>
                  <a:pt x="473" y="13"/>
                  <a:pt x="473" y="13"/>
                  <a:pt x="473" y="13"/>
                </a:cubicBezTo>
                <a:cubicBezTo>
                  <a:pt x="469" y="12"/>
                  <a:pt x="468" y="12"/>
                  <a:pt x="467" y="12"/>
                </a:cubicBezTo>
                <a:cubicBezTo>
                  <a:pt x="468" y="12"/>
                  <a:pt x="469" y="12"/>
                  <a:pt x="469" y="12"/>
                </a:cubicBezTo>
                <a:cubicBezTo>
                  <a:pt x="469" y="12"/>
                  <a:pt x="469" y="12"/>
                  <a:pt x="469" y="12"/>
                </a:cubicBezTo>
                <a:cubicBezTo>
                  <a:pt x="467" y="12"/>
                  <a:pt x="465" y="11"/>
                  <a:pt x="463" y="11"/>
                </a:cubicBezTo>
                <a:cubicBezTo>
                  <a:pt x="463" y="11"/>
                  <a:pt x="463" y="11"/>
                  <a:pt x="463" y="11"/>
                </a:cubicBezTo>
                <a:cubicBezTo>
                  <a:pt x="465" y="12"/>
                  <a:pt x="468" y="12"/>
                  <a:pt x="470" y="13"/>
                </a:cubicBezTo>
                <a:cubicBezTo>
                  <a:pt x="470" y="13"/>
                  <a:pt x="470" y="13"/>
                  <a:pt x="470" y="13"/>
                </a:cubicBezTo>
                <a:cubicBezTo>
                  <a:pt x="482" y="17"/>
                  <a:pt x="482" y="17"/>
                  <a:pt x="483" y="17"/>
                </a:cubicBezTo>
                <a:cubicBezTo>
                  <a:pt x="482" y="16"/>
                  <a:pt x="480" y="16"/>
                  <a:pt x="479" y="15"/>
                </a:cubicBezTo>
                <a:cubicBezTo>
                  <a:pt x="480" y="16"/>
                  <a:pt x="480" y="16"/>
                  <a:pt x="480" y="16"/>
                </a:cubicBezTo>
                <a:cubicBezTo>
                  <a:pt x="480" y="16"/>
                  <a:pt x="480" y="16"/>
                  <a:pt x="480" y="16"/>
                </a:cubicBezTo>
                <a:cubicBezTo>
                  <a:pt x="479" y="15"/>
                  <a:pt x="479" y="15"/>
                  <a:pt x="478" y="15"/>
                </a:cubicBezTo>
                <a:cubicBezTo>
                  <a:pt x="479" y="15"/>
                  <a:pt x="479" y="15"/>
                  <a:pt x="479" y="15"/>
                </a:cubicBezTo>
                <a:cubicBezTo>
                  <a:pt x="478" y="15"/>
                  <a:pt x="478" y="15"/>
                  <a:pt x="478" y="15"/>
                </a:cubicBezTo>
                <a:cubicBezTo>
                  <a:pt x="478" y="15"/>
                  <a:pt x="478" y="15"/>
                  <a:pt x="478" y="15"/>
                </a:cubicBezTo>
                <a:cubicBezTo>
                  <a:pt x="478" y="15"/>
                  <a:pt x="477" y="14"/>
                  <a:pt x="476" y="14"/>
                </a:cubicBezTo>
                <a:moveTo>
                  <a:pt x="460" y="10"/>
                </a:moveTo>
                <a:cubicBezTo>
                  <a:pt x="455" y="9"/>
                  <a:pt x="455" y="9"/>
                  <a:pt x="455" y="9"/>
                </a:cubicBezTo>
                <a:cubicBezTo>
                  <a:pt x="455" y="9"/>
                  <a:pt x="456" y="9"/>
                  <a:pt x="457" y="10"/>
                </a:cubicBezTo>
                <a:cubicBezTo>
                  <a:pt x="457" y="10"/>
                  <a:pt x="457" y="10"/>
                  <a:pt x="455" y="9"/>
                </a:cubicBezTo>
                <a:cubicBezTo>
                  <a:pt x="454" y="9"/>
                  <a:pt x="454" y="9"/>
                  <a:pt x="453" y="9"/>
                </a:cubicBezTo>
                <a:cubicBezTo>
                  <a:pt x="453" y="9"/>
                  <a:pt x="453" y="9"/>
                  <a:pt x="453" y="9"/>
                </a:cubicBezTo>
                <a:cubicBezTo>
                  <a:pt x="454" y="9"/>
                  <a:pt x="455" y="9"/>
                  <a:pt x="456" y="10"/>
                </a:cubicBezTo>
                <a:cubicBezTo>
                  <a:pt x="455" y="10"/>
                  <a:pt x="455" y="10"/>
                  <a:pt x="455" y="10"/>
                </a:cubicBezTo>
                <a:cubicBezTo>
                  <a:pt x="456" y="10"/>
                  <a:pt x="457" y="10"/>
                  <a:pt x="458" y="10"/>
                </a:cubicBezTo>
                <a:cubicBezTo>
                  <a:pt x="457" y="10"/>
                  <a:pt x="457" y="10"/>
                  <a:pt x="457" y="10"/>
                </a:cubicBezTo>
                <a:cubicBezTo>
                  <a:pt x="458" y="11"/>
                  <a:pt x="459" y="11"/>
                  <a:pt x="460" y="11"/>
                </a:cubicBezTo>
                <a:cubicBezTo>
                  <a:pt x="461" y="11"/>
                  <a:pt x="461" y="11"/>
                  <a:pt x="461" y="11"/>
                </a:cubicBezTo>
                <a:cubicBezTo>
                  <a:pt x="462" y="11"/>
                  <a:pt x="462" y="11"/>
                  <a:pt x="466" y="13"/>
                </a:cubicBezTo>
                <a:cubicBezTo>
                  <a:pt x="467" y="13"/>
                  <a:pt x="467" y="13"/>
                  <a:pt x="467" y="13"/>
                </a:cubicBezTo>
                <a:cubicBezTo>
                  <a:pt x="468" y="13"/>
                  <a:pt x="469" y="13"/>
                  <a:pt x="470" y="13"/>
                </a:cubicBezTo>
                <a:cubicBezTo>
                  <a:pt x="470" y="13"/>
                  <a:pt x="470" y="13"/>
                  <a:pt x="470" y="13"/>
                </a:cubicBezTo>
                <a:cubicBezTo>
                  <a:pt x="471" y="13"/>
                  <a:pt x="471" y="13"/>
                  <a:pt x="471" y="13"/>
                </a:cubicBezTo>
                <a:cubicBezTo>
                  <a:pt x="471" y="13"/>
                  <a:pt x="471" y="13"/>
                  <a:pt x="471" y="13"/>
                </a:cubicBezTo>
                <a:cubicBezTo>
                  <a:pt x="470" y="13"/>
                  <a:pt x="470" y="13"/>
                  <a:pt x="469" y="13"/>
                </a:cubicBezTo>
                <a:cubicBezTo>
                  <a:pt x="468" y="12"/>
                  <a:pt x="467" y="12"/>
                  <a:pt x="466" y="12"/>
                </a:cubicBezTo>
                <a:cubicBezTo>
                  <a:pt x="464" y="12"/>
                  <a:pt x="462" y="11"/>
                  <a:pt x="460" y="10"/>
                </a:cubicBezTo>
                <a:moveTo>
                  <a:pt x="445" y="7"/>
                </a:moveTo>
                <a:cubicBezTo>
                  <a:pt x="444" y="7"/>
                  <a:pt x="444" y="7"/>
                  <a:pt x="444" y="7"/>
                </a:cubicBezTo>
                <a:cubicBezTo>
                  <a:pt x="444" y="7"/>
                  <a:pt x="444" y="7"/>
                  <a:pt x="444" y="7"/>
                </a:cubicBezTo>
                <a:cubicBezTo>
                  <a:pt x="443" y="7"/>
                  <a:pt x="443" y="7"/>
                  <a:pt x="443" y="7"/>
                </a:cubicBezTo>
                <a:cubicBezTo>
                  <a:pt x="440" y="6"/>
                  <a:pt x="439" y="6"/>
                  <a:pt x="438" y="6"/>
                </a:cubicBezTo>
                <a:cubicBezTo>
                  <a:pt x="440" y="6"/>
                  <a:pt x="441" y="6"/>
                  <a:pt x="442" y="7"/>
                </a:cubicBezTo>
                <a:cubicBezTo>
                  <a:pt x="442" y="7"/>
                  <a:pt x="442" y="7"/>
                  <a:pt x="442" y="7"/>
                </a:cubicBezTo>
                <a:cubicBezTo>
                  <a:pt x="444" y="7"/>
                  <a:pt x="445" y="7"/>
                  <a:pt x="447" y="8"/>
                </a:cubicBezTo>
                <a:cubicBezTo>
                  <a:pt x="447" y="8"/>
                  <a:pt x="447" y="8"/>
                  <a:pt x="447" y="8"/>
                </a:cubicBezTo>
                <a:cubicBezTo>
                  <a:pt x="450" y="9"/>
                  <a:pt x="450" y="9"/>
                  <a:pt x="450" y="9"/>
                </a:cubicBezTo>
                <a:cubicBezTo>
                  <a:pt x="450" y="9"/>
                  <a:pt x="450" y="9"/>
                  <a:pt x="450" y="9"/>
                </a:cubicBezTo>
                <a:cubicBezTo>
                  <a:pt x="450" y="9"/>
                  <a:pt x="450" y="9"/>
                  <a:pt x="450" y="9"/>
                </a:cubicBezTo>
                <a:cubicBezTo>
                  <a:pt x="451" y="9"/>
                  <a:pt x="452" y="9"/>
                  <a:pt x="452" y="9"/>
                </a:cubicBezTo>
                <a:cubicBezTo>
                  <a:pt x="454" y="9"/>
                  <a:pt x="454" y="9"/>
                  <a:pt x="454" y="9"/>
                </a:cubicBezTo>
                <a:cubicBezTo>
                  <a:pt x="454" y="9"/>
                  <a:pt x="453" y="9"/>
                  <a:pt x="452" y="9"/>
                </a:cubicBezTo>
                <a:cubicBezTo>
                  <a:pt x="453" y="9"/>
                  <a:pt x="453" y="9"/>
                  <a:pt x="453" y="9"/>
                </a:cubicBezTo>
                <a:cubicBezTo>
                  <a:pt x="452" y="9"/>
                  <a:pt x="452" y="9"/>
                  <a:pt x="451" y="9"/>
                </a:cubicBezTo>
                <a:cubicBezTo>
                  <a:pt x="451" y="8"/>
                  <a:pt x="451" y="8"/>
                  <a:pt x="451" y="8"/>
                </a:cubicBezTo>
                <a:cubicBezTo>
                  <a:pt x="451" y="8"/>
                  <a:pt x="451" y="8"/>
                  <a:pt x="449" y="8"/>
                </a:cubicBezTo>
                <a:cubicBezTo>
                  <a:pt x="448" y="8"/>
                  <a:pt x="447" y="7"/>
                  <a:pt x="446" y="7"/>
                </a:cubicBezTo>
                <a:cubicBezTo>
                  <a:pt x="446" y="7"/>
                  <a:pt x="446" y="7"/>
                  <a:pt x="446" y="7"/>
                </a:cubicBezTo>
                <a:cubicBezTo>
                  <a:pt x="446" y="7"/>
                  <a:pt x="445" y="7"/>
                  <a:pt x="445" y="7"/>
                </a:cubicBezTo>
                <a:moveTo>
                  <a:pt x="459" y="11"/>
                </a:moveTo>
                <a:cubicBezTo>
                  <a:pt x="458" y="10"/>
                  <a:pt x="458" y="10"/>
                  <a:pt x="458" y="10"/>
                </a:cubicBezTo>
                <a:cubicBezTo>
                  <a:pt x="457" y="10"/>
                  <a:pt x="457" y="10"/>
                  <a:pt x="457" y="10"/>
                </a:cubicBezTo>
                <a:cubicBezTo>
                  <a:pt x="456" y="10"/>
                  <a:pt x="456" y="10"/>
                  <a:pt x="456" y="10"/>
                </a:cubicBezTo>
                <a:cubicBezTo>
                  <a:pt x="456" y="10"/>
                  <a:pt x="456" y="10"/>
                  <a:pt x="456" y="10"/>
                </a:cubicBezTo>
                <a:cubicBezTo>
                  <a:pt x="455" y="10"/>
                  <a:pt x="454" y="10"/>
                  <a:pt x="454" y="10"/>
                </a:cubicBezTo>
                <a:cubicBezTo>
                  <a:pt x="454" y="10"/>
                  <a:pt x="454" y="10"/>
                  <a:pt x="454" y="10"/>
                </a:cubicBezTo>
                <a:cubicBezTo>
                  <a:pt x="453" y="9"/>
                  <a:pt x="453" y="9"/>
                  <a:pt x="453" y="9"/>
                </a:cubicBezTo>
                <a:cubicBezTo>
                  <a:pt x="454" y="10"/>
                  <a:pt x="454" y="10"/>
                  <a:pt x="454" y="10"/>
                </a:cubicBezTo>
                <a:cubicBezTo>
                  <a:pt x="454" y="10"/>
                  <a:pt x="454" y="10"/>
                  <a:pt x="454" y="10"/>
                </a:cubicBezTo>
                <a:cubicBezTo>
                  <a:pt x="454" y="10"/>
                  <a:pt x="454" y="10"/>
                  <a:pt x="454" y="10"/>
                </a:cubicBezTo>
                <a:cubicBezTo>
                  <a:pt x="457" y="10"/>
                  <a:pt x="457" y="10"/>
                  <a:pt x="458" y="11"/>
                </a:cubicBezTo>
                <a:cubicBezTo>
                  <a:pt x="458" y="11"/>
                  <a:pt x="458" y="11"/>
                  <a:pt x="458" y="11"/>
                </a:cubicBezTo>
                <a:cubicBezTo>
                  <a:pt x="458" y="11"/>
                  <a:pt x="459" y="11"/>
                  <a:pt x="460" y="11"/>
                </a:cubicBezTo>
                <a:cubicBezTo>
                  <a:pt x="460" y="11"/>
                  <a:pt x="460" y="11"/>
                  <a:pt x="460" y="11"/>
                </a:cubicBezTo>
                <a:cubicBezTo>
                  <a:pt x="460" y="11"/>
                  <a:pt x="459" y="11"/>
                  <a:pt x="459" y="11"/>
                </a:cubicBezTo>
                <a:moveTo>
                  <a:pt x="440" y="6"/>
                </a:moveTo>
                <a:cubicBezTo>
                  <a:pt x="440" y="6"/>
                  <a:pt x="437" y="6"/>
                  <a:pt x="436" y="6"/>
                </a:cubicBezTo>
                <a:cubicBezTo>
                  <a:pt x="437" y="6"/>
                  <a:pt x="437" y="6"/>
                  <a:pt x="437" y="6"/>
                </a:cubicBezTo>
                <a:cubicBezTo>
                  <a:pt x="437" y="6"/>
                  <a:pt x="436" y="6"/>
                  <a:pt x="436" y="6"/>
                </a:cubicBezTo>
                <a:cubicBezTo>
                  <a:pt x="437" y="6"/>
                  <a:pt x="437" y="6"/>
                  <a:pt x="437" y="6"/>
                </a:cubicBezTo>
                <a:cubicBezTo>
                  <a:pt x="438" y="6"/>
                  <a:pt x="439" y="6"/>
                  <a:pt x="440" y="6"/>
                </a:cubicBezTo>
                <a:cubicBezTo>
                  <a:pt x="440" y="7"/>
                  <a:pt x="441" y="7"/>
                  <a:pt x="442" y="7"/>
                </a:cubicBezTo>
                <a:cubicBezTo>
                  <a:pt x="442" y="7"/>
                  <a:pt x="442" y="7"/>
                  <a:pt x="442" y="7"/>
                </a:cubicBezTo>
                <a:cubicBezTo>
                  <a:pt x="441" y="7"/>
                  <a:pt x="441" y="7"/>
                  <a:pt x="440" y="6"/>
                </a:cubicBezTo>
                <a:moveTo>
                  <a:pt x="487" y="60"/>
                </a:moveTo>
                <a:cubicBezTo>
                  <a:pt x="487" y="59"/>
                  <a:pt x="487" y="59"/>
                  <a:pt x="486" y="59"/>
                </a:cubicBezTo>
                <a:cubicBezTo>
                  <a:pt x="485" y="59"/>
                  <a:pt x="485" y="59"/>
                  <a:pt x="485" y="59"/>
                </a:cubicBezTo>
                <a:cubicBezTo>
                  <a:pt x="484" y="58"/>
                  <a:pt x="484" y="58"/>
                  <a:pt x="484" y="58"/>
                </a:cubicBezTo>
                <a:cubicBezTo>
                  <a:pt x="483" y="58"/>
                  <a:pt x="482" y="58"/>
                  <a:pt x="480" y="58"/>
                </a:cubicBezTo>
                <a:cubicBezTo>
                  <a:pt x="481" y="58"/>
                  <a:pt x="481" y="58"/>
                  <a:pt x="481" y="58"/>
                </a:cubicBezTo>
                <a:cubicBezTo>
                  <a:pt x="482" y="59"/>
                  <a:pt x="482" y="59"/>
                  <a:pt x="482" y="59"/>
                </a:cubicBezTo>
                <a:cubicBezTo>
                  <a:pt x="483" y="60"/>
                  <a:pt x="483" y="61"/>
                  <a:pt x="484" y="62"/>
                </a:cubicBezTo>
                <a:cubicBezTo>
                  <a:pt x="485" y="62"/>
                  <a:pt x="485" y="62"/>
                  <a:pt x="486" y="62"/>
                </a:cubicBezTo>
                <a:cubicBezTo>
                  <a:pt x="487" y="62"/>
                  <a:pt x="486" y="62"/>
                  <a:pt x="486" y="61"/>
                </a:cubicBezTo>
                <a:cubicBezTo>
                  <a:pt x="486" y="61"/>
                  <a:pt x="486" y="61"/>
                  <a:pt x="486" y="61"/>
                </a:cubicBezTo>
                <a:cubicBezTo>
                  <a:pt x="486" y="61"/>
                  <a:pt x="486" y="61"/>
                  <a:pt x="486" y="61"/>
                </a:cubicBezTo>
                <a:cubicBezTo>
                  <a:pt x="487" y="61"/>
                  <a:pt x="487" y="61"/>
                  <a:pt x="487" y="61"/>
                </a:cubicBezTo>
                <a:cubicBezTo>
                  <a:pt x="487" y="61"/>
                  <a:pt x="487" y="61"/>
                  <a:pt x="487" y="61"/>
                </a:cubicBezTo>
                <a:cubicBezTo>
                  <a:pt x="487" y="60"/>
                  <a:pt x="487" y="60"/>
                  <a:pt x="487" y="60"/>
                </a:cubicBezTo>
                <a:moveTo>
                  <a:pt x="473" y="23"/>
                </a:moveTo>
                <a:cubicBezTo>
                  <a:pt x="471" y="22"/>
                  <a:pt x="471" y="22"/>
                  <a:pt x="468" y="21"/>
                </a:cubicBezTo>
                <a:cubicBezTo>
                  <a:pt x="468" y="21"/>
                  <a:pt x="468" y="21"/>
                  <a:pt x="468" y="21"/>
                </a:cubicBezTo>
                <a:cubicBezTo>
                  <a:pt x="468" y="21"/>
                  <a:pt x="468" y="21"/>
                  <a:pt x="468" y="21"/>
                </a:cubicBezTo>
                <a:cubicBezTo>
                  <a:pt x="468" y="21"/>
                  <a:pt x="468" y="21"/>
                  <a:pt x="467" y="21"/>
                </a:cubicBezTo>
                <a:cubicBezTo>
                  <a:pt x="468" y="22"/>
                  <a:pt x="469" y="22"/>
                  <a:pt x="470" y="23"/>
                </a:cubicBezTo>
                <a:cubicBezTo>
                  <a:pt x="470" y="23"/>
                  <a:pt x="470" y="23"/>
                  <a:pt x="470" y="23"/>
                </a:cubicBezTo>
                <a:cubicBezTo>
                  <a:pt x="469" y="23"/>
                  <a:pt x="469" y="23"/>
                  <a:pt x="469" y="23"/>
                </a:cubicBezTo>
                <a:cubicBezTo>
                  <a:pt x="469" y="23"/>
                  <a:pt x="470" y="23"/>
                  <a:pt x="470" y="23"/>
                </a:cubicBezTo>
                <a:cubicBezTo>
                  <a:pt x="469" y="23"/>
                  <a:pt x="469" y="23"/>
                  <a:pt x="469" y="23"/>
                </a:cubicBezTo>
                <a:cubicBezTo>
                  <a:pt x="469" y="24"/>
                  <a:pt x="469" y="24"/>
                  <a:pt x="469" y="24"/>
                </a:cubicBezTo>
                <a:cubicBezTo>
                  <a:pt x="469" y="24"/>
                  <a:pt x="469" y="24"/>
                  <a:pt x="469" y="24"/>
                </a:cubicBezTo>
                <a:cubicBezTo>
                  <a:pt x="469" y="24"/>
                  <a:pt x="469" y="24"/>
                  <a:pt x="469" y="24"/>
                </a:cubicBezTo>
                <a:cubicBezTo>
                  <a:pt x="468" y="24"/>
                  <a:pt x="468" y="24"/>
                  <a:pt x="467" y="24"/>
                </a:cubicBezTo>
                <a:cubicBezTo>
                  <a:pt x="467" y="24"/>
                  <a:pt x="467" y="24"/>
                  <a:pt x="467" y="24"/>
                </a:cubicBezTo>
                <a:cubicBezTo>
                  <a:pt x="467" y="24"/>
                  <a:pt x="467" y="24"/>
                  <a:pt x="467" y="24"/>
                </a:cubicBezTo>
                <a:cubicBezTo>
                  <a:pt x="466" y="24"/>
                  <a:pt x="466" y="24"/>
                  <a:pt x="466" y="24"/>
                </a:cubicBezTo>
                <a:cubicBezTo>
                  <a:pt x="466" y="24"/>
                  <a:pt x="466" y="24"/>
                  <a:pt x="466" y="24"/>
                </a:cubicBezTo>
                <a:cubicBezTo>
                  <a:pt x="466" y="25"/>
                  <a:pt x="466" y="25"/>
                  <a:pt x="468" y="26"/>
                </a:cubicBezTo>
                <a:cubicBezTo>
                  <a:pt x="467" y="26"/>
                  <a:pt x="466" y="26"/>
                  <a:pt x="466" y="26"/>
                </a:cubicBezTo>
                <a:cubicBezTo>
                  <a:pt x="466" y="26"/>
                  <a:pt x="466" y="26"/>
                  <a:pt x="467" y="27"/>
                </a:cubicBezTo>
                <a:cubicBezTo>
                  <a:pt x="467" y="27"/>
                  <a:pt x="467" y="27"/>
                  <a:pt x="467" y="27"/>
                </a:cubicBezTo>
                <a:cubicBezTo>
                  <a:pt x="467" y="27"/>
                  <a:pt x="467" y="27"/>
                  <a:pt x="466" y="28"/>
                </a:cubicBezTo>
                <a:cubicBezTo>
                  <a:pt x="466" y="28"/>
                  <a:pt x="466" y="28"/>
                  <a:pt x="469" y="30"/>
                </a:cubicBezTo>
                <a:cubicBezTo>
                  <a:pt x="468" y="30"/>
                  <a:pt x="467" y="29"/>
                  <a:pt x="467" y="30"/>
                </a:cubicBezTo>
                <a:cubicBezTo>
                  <a:pt x="468" y="30"/>
                  <a:pt x="469" y="31"/>
                  <a:pt x="470" y="32"/>
                </a:cubicBezTo>
                <a:cubicBezTo>
                  <a:pt x="470" y="33"/>
                  <a:pt x="470" y="33"/>
                  <a:pt x="470" y="33"/>
                </a:cubicBezTo>
                <a:cubicBezTo>
                  <a:pt x="471" y="33"/>
                  <a:pt x="471" y="33"/>
                  <a:pt x="472" y="34"/>
                </a:cubicBezTo>
                <a:cubicBezTo>
                  <a:pt x="471" y="34"/>
                  <a:pt x="471" y="33"/>
                  <a:pt x="470" y="34"/>
                </a:cubicBezTo>
                <a:cubicBezTo>
                  <a:pt x="470" y="34"/>
                  <a:pt x="470" y="34"/>
                  <a:pt x="470" y="35"/>
                </a:cubicBezTo>
                <a:cubicBezTo>
                  <a:pt x="470" y="35"/>
                  <a:pt x="472" y="37"/>
                  <a:pt x="472" y="36"/>
                </a:cubicBezTo>
                <a:cubicBezTo>
                  <a:pt x="472" y="36"/>
                  <a:pt x="472" y="36"/>
                  <a:pt x="474" y="37"/>
                </a:cubicBezTo>
                <a:cubicBezTo>
                  <a:pt x="474" y="37"/>
                  <a:pt x="474" y="37"/>
                  <a:pt x="474" y="37"/>
                </a:cubicBezTo>
                <a:cubicBezTo>
                  <a:pt x="475" y="37"/>
                  <a:pt x="475" y="37"/>
                  <a:pt x="475" y="37"/>
                </a:cubicBezTo>
                <a:cubicBezTo>
                  <a:pt x="474" y="38"/>
                  <a:pt x="473" y="37"/>
                  <a:pt x="473" y="38"/>
                </a:cubicBezTo>
                <a:cubicBezTo>
                  <a:pt x="473" y="38"/>
                  <a:pt x="474" y="39"/>
                  <a:pt x="475" y="39"/>
                </a:cubicBezTo>
                <a:cubicBezTo>
                  <a:pt x="474" y="39"/>
                  <a:pt x="473" y="39"/>
                  <a:pt x="473" y="40"/>
                </a:cubicBezTo>
                <a:cubicBezTo>
                  <a:pt x="474" y="41"/>
                  <a:pt x="475" y="41"/>
                  <a:pt x="475" y="42"/>
                </a:cubicBezTo>
                <a:cubicBezTo>
                  <a:pt x="475" y="42"/>
                  <a:pt x="475" y="42"/>
                  <a:pt x="476" y="43"/>
                </a:cubicBezTo>
                <a:cubicBezTo>
                  <a:pt x="475" y="43"/>
                  <a:pt x="475" y="43"/>
                  <a:pt x="475" y="43"/>
                </a:cubicBezTo>
                <a:cubicBezTo>
                  <a:pt x="475" y="43"/>
                  <a:pt x="475" y="43"/>
                  <a:pt x="476" y="44"/>
                </a:cubicBezTo>
                <a:cubicBezTo>
                  <a:pt x="476" y="44"/>
                  <a:pt x="476" y="44"/>
                  <a:pt x="476" y="44"/>
                </a:cubicBezTo>
                <a:cubicBezTo>
                  <a:pt x="477" y="46"/>
                  <a:pt x="478" y="46"/>
                  <a:pt x="479" y="47"/>
                </a:cubicBezTo>
                <a:cubicBezTo>
                  <a:pt x="479" y="47"/>
                  <a:pt x="480" y="47"/>
                  <a:pt x="480" y="47"/>
                </a:cubicBezTo>
                <a:cubicBezTo>
                  <a:pt x="480" y="47"/>
                  <a:pt x="480" y="47"/>
                  <a:pt x="480" y="47"/>
                </a:cubicBezTo>
                <a:cubicBezTo>
                  <a:pt x="480" y="47"/>
                  <a:pt x="480" y="47"/>
                  <a:pt x="480" y="47"/>
                </a:cubicBezTo>
                <a:cubicBezTo>
                  <a:pt x="481" y="47"/>
                  <a:pt x="481" y="47"/>
                  <a:pt x="482" y="48"/>
                </a:cubicBezTo>
                <a:cubicBezTo>
                  <a:pt x="482" y="47"/>
                  <a:pt x="482" y="47"/>
                  <a:pt x="481" y="47"/>
                </a:cubicBezTo>
                <a:cubicBezTo>
                  <a:pt x="484" y="48"/>
                  <a:pt x="485" y="48"/>
                  <a:pt x="486" y="49"/>
                </a:cubicBezTo>
                <a:cubicBezTo>
                  <a:pt x="486" y="50"/>
                  <a:pt x="486" y="50"/>
                  <a:pt x="486" y="50"/>
                </a:cubicBezTo>
                <a:cubicBezTo>
                  <a:pt x="487" y="51"/>
                  <a:pt x="487" y="51"/>
                  <a:pt x="487" y="51"/>
                </a:cubicBezTo>
                <a:cubicBezTo>
                  <a:pt x="488" y="51"/>
                  <a:pt x="488" y="51"/>
                  <a:pt x="488" y="51"/>
                </a:cubicBezTo>
                <a:cubicBezTo>
                  <a:pt x="488" y="51"/>
                  <a:pt x="489" y="51"/>
                  <a:pt x="490" y="51"/>
                </a:cubicBezTo>
                <a:cubicBezTo>
                  <a:pt x="492" y="51"/>
                  <a:pt x="494" y="52"/>
                  <a:pt x="495" y="52"/>
                </a:cubicBezTo>
                <a:cubicBezTo>
                  <a:pt x="495" y="52"/>
                  <a:pt x="496" y="52"/>
                  <a:pt x="496" y="52"/>
                </a:cubicBezTo>
                <a:cubicBezTo>
                  <a:pt x="496" y="52"/>
                  <a:pt x="496" y="52"/>
                  <a:pt x="497" y="52"/>
                </a:cubicBezTo>
                <a:cubicBezTo>
                  <a:pt x="496" y="52"/>
                  <a:pt x="496" y="51"/>
                  <a:pt x="495" y="51"/>
                </a:cubicBezTo>
                <a:cubicBezTo>
                  <a:pt x="495" y="51"/>
                  <a:pt x="495" y="51"/>
                  <a:pt x="487" y="46"/>
                </a:cubicBezTo>
                <a:cubicBezTo>
                  <a:pt x="486" y="45"/>
                  <a:pt x="484" y="44"/>
                  <a:pt x="483" y="43"/>
                </a:cubicBezTo>
                <a:cubicBezTo>
                  <a:pt x="483" y="43"/>
                  <a:pt x="483" y="43"/>
                  <a:pt x="483" y="43"/>
                </a:cubicBezTo>
                <a:cubicBezTo>
                  <a:pt x="483" y="42"/>
                  <a:pt x="483" y="42"/>
                  <a:pt x="481" y="41"/>
                </a:cubicBezTo>
                <a:cubicBezTo>
                  <a:pt x="480" y="40"/>
                  <a:pt x="480" y="40"/>
                  <a:pt x="480" y="40"/>
                </a:cubicBezTo>
                <a:cubicBezTo>
                  <a:pt x="480" y="40"/>
                  <a:pt x="480" y="40"/>
                  <a:pt x="480" y="40"/>
                </a:cubicBezTo>
                <a:cubicBezTo>
                  <a:pt x="480" y="39"/>
                  <a:pt x="480" y="39"/>
                  <a:pt x="479" y="39"/>
                </a:cubicBezTo>
                <a:cubicBezTo>
                  <a:pt x="479" y="38"/>
                  <a:pt x="479" y="38"/>
                  <a:pt x="479" y="38"/>
                </a:cubicBezTo>
                <a:cubicBezTo>
                  <a:pt x="479" y="38"/>
                  <a:pt x="479" y="38"/>
                  <a:pt x="479" y="38"/>
                </a:cubicBezTo>
                <a:cubicBezTo>
                  <a:pt x="479" y="38"/>
                  <a:pt x="479" y="38"/>
                  <a:pt x="479" y="38"/>
                </a:cubicBezTo>
                <a:cubicBezTo>
                  <a:pt x="479" y="37"/>
                  <a:pt x="479" y="37"/>
                  <a:pt x="479" y="37"/>
                </a:cubicBezTo>
                <a:cubicBezTo>
                  <a:pt x="479" y="37"/>
                  <a:pt x="479" y="37"/>
                  <a:pt x="479" y="37"/>
                </a:cubicBezTo>
                <a:cubicBezTo>
                  <a:pt x="479" y="37"/>
                  <a:pt x="479" y="37"/>
                  <a:pt x="478" y="36"/>
                </a:cubicBezTo>
                <a:cubicBezTo>
                  <a:pt x="478" y="35"/>
                  <a:pt x="477" y="35"/>
                  <a:pt x="477" y="35"/>
                </a:cubicBezTo>
                <a:cubicBezTo>
                  <a:pt x="477" y="35"/>
                  <a:pt x="477" y="35"/>
                  <a:pt x="477" y="35"/>
                </a:cubicBezTo>
                <a:cubicBezTo>
                  <a:pt x="477" y="34"/>
                  <a:pt x="475" y="33"/>
                  <a:pt x="474" y="32"/>
                </a:cubicBezTo>
                <a:cubicBezTo>
                  <a:pt x="475" y="32"/>
                  <a:pt x="475" y="32"/>
                  <a:pt x="476" y="32"/>
                </a:cubicBezTo>
                <a:cubicBezTo>
                  <a:pt x="475" y="31"/>
                  <a:pt x="475" y="31"/>
                  <a:pt x="475" y="31"/>
                </a:cubicBezTo>
                <a:cubicBezTo>
                  <a:pt x="476" y="31"/>
                  <a:pt x="476" y="31"/>
                  <a:pt x="476" y="31"/>
                </a:cubicBezTo>
                <a:cubicBezTo>
                  <a:pt x="475" y="31"/>
                  <a:pt x="475" y="31"/>
                  <a:pt x="475" y="31"/>
                </a:cubicBezTo>
                <a:cubicBezTo>
                  <a:pt x="475" y="30"/>
                  <a:pt x="475" y="30"/>
                  <a:pt x="475" y="30"/>
                </a:cubicBezTo>
                <a:cubicBezTo>
                  <a:pt x="475" y="30"/>
                  <a:pt x="475" y="30"/>
                  <a:pt x="475" y="30"/>
                </a:cubicBezTo>
                <a:cubicBezTo>
                  <a:pt x="475" y="29"/>
                  <a:pt x="473" y="29"/>
                  <a:pt x="472" y="28"/>
                </a:cubicBezTo>
                <a:cubicBezTo>
                  <a:pt x="473" y="27"/>
                  <a:pt x="473" y="28"/>
                  <a:pt x="474" y="28"/>
                </a:cubicBezTo>
                <a:cubicBezTo>
                  <a:pt x="474" y="27"/>
                  <a:pt x="473" y="27"/>
                  <a:pt x="473" y="27"/>
                </a:cubicBezTo>
                <a:cubicBezTo>
                  <a:pt x="473" y="27"/>
                  <a:pt x="473" y="27"/>
                  <a:pt x="473" y="27"/>
                </a:cubicBezTo>
                <a:cubicBezTo>
                  <a:pt x="473" y="26"/>
                  <a:pt x="473" y="26"/>
                  <a:pt x="473" y="26"/>
                </a:cubicBezTo>
                <a:cubicBezTo>
                  <a:pt x="474" y="26"/>
                  <a:pt x="474" y="26"/>
                  <a:pt x="475" y="26"/>
                </a:cubicBezTo>
                <a:cubicBezTo>
                  <a:pt x="475" y="26"/>
                  <a:pt x="474" y="26"/>
                  <a:pt x="474" y="26"/>
                </a:cubicBezTo>
                <a:cubicBezTo>
                  <a:pt x="475" y="25"/>
                  <a:pt x="475" y="25"/>
                  <a:pt x="475" y="25"/>
                </a:cubicBezTo>
                <a:cubicBezTo>
                  <a:pt x="474" y="25"/>
                  <a:pt x="474" y="25"/>
                  <a:pt x="474" y="25"/>
                </a:cubicBezTo>
                <a:cubicBezTo>
                  <a:pt x="475" y="25"/>
                  <a:pt x="475" y="25"/>
                  <a:pt x="476" y="25"/>
                </a:cubicBezTo>
                <a:cubicBezTo>
                  <a:pt x="475" y="24"/>
                  <a:pt x="475" y="24"/>
                  <a:pt x="473" y="23"/>
                </a:cubicBezTo>
                <a:cubicBezTo>
                  <a:pt x="473" y="23"/>
                  <a:pt x="473" y="23"/>
                  <a:pt x="473" y="23"/>
                </a:cubicBezTo>
                <a:cubicBezTo>
                  <a:pt x="474" y="23"/>
                  <a:pt x="474" y="23"/>
                  <a:pt x="474" y="23"/>
                </a:cubicBezTo>
                <a:cubicBezTo>
                  <a:pt x="474" y="23"/>
                  <a:pt x="473" y="23"/>
                  <a:pt x="473" y="23"/>
                </a:cubicBezTo>
                <a:moveTo>
                  <a:pt x="504" y="38"/>
                </a:moveTo>
                <a:cubicBezTo>
                  <a:pt x="503" y="37"/>
                  <a:pt x="501" y="36"/>
                  <a:pt x="501" y="36"/>
                </a:cubicBezTo>
                <a:cubicBezTo>
                  <a:pt x="500" y="36"/>
                  <a:pt x="500" y="36"/>
                  <a:pt x="500" y="36"/>
                </a:cubicBezTo>
                <a:cubicBezTo>
                  <a:pt x="500" y="36"/>
                  <a:pt x="500" y="36"/>
                  <a:pt x="500" y="36"/>
                </a:cubicBezTo>
                <a:cubicBezTo>
                  <a:pt x="501" y="37"/>
                  <a:pt x="501" y="37"/>
                  <a:pt x="501" y="37"/>
                </a:cubicBezTo>
                <a:cubicBezTo>
                  <a:pt x="502" y="38"/>
                  <a:pt x="502" y="38"/>
                  <a:pt x="502" y="38"/>
                </a:cubicBezTo>
                <a:cubicBezTo>
                  <a:pt x="503" y="39"/>
                  <a:pt x="503" y="39"/>
                  <a:pt x="503" y="39"/>
                </a:cubicBezTo>
                <a:cubicBezTo>
                  <a:pt x="504" y="39"/>
                  <a:pt x="504" y="39"/>
                  <a:pt x="504" y="39"/>
                </a:cubicBezTo>
                <a:cubicBezTo>
                  <a:pt x="504" y="39"/>
                  <a:pt x="504" y="39"/>
                  <a:pt x="504" y="39"/>
                </a:cubicBezTo>
                <a:cubicBezTo>
                  <a:pt x="504" y="39"/>
                  <a:pt x="504" y="39"/>
                  <a:pt x="504" y="39"/>
                </a:cubicBezTo>
                <a:cubicBezTo>
                  <a:pt x="504" y="38"/>
                  <a:pt x="504" y="38"/>
                  <a:pt x="504" y="38"/>
                </a:cubicBezTo>
                <a:cubicBezTo>
                  <a:pt x="504" y="38"/>
                  <a:pt x="504" y="38"/>
                  <a:pt x="504" y="38"/>
                </a:cubicBezTo>
                <a:cubicBezTo>
                  <a:pt x="504" y="38"/>
                  <a:pt x="504" y="38"/>
                  <a:pt x="504" y="38"/>
                </a:cubicBezTo>
                <a:cubicBezTo>
                  <a:pt x="505" y="38"/>
                  <a:pt x="505" y="38"/>
                  <a:pt x="505" y="38"/>
                </a:cubicBezTo>
                <a:cubicBezTo>
                  <a:pt x="505" y="38"/>
                  <a:pt x="504" y="38"/>
                  <a:pt x="504" y="38"/>
                </a:cubicBezTo>
                <a:moveTo>
                  <a:pt x="428" y="7"/>
                </a:moveTo>
                <a:cubicBezTo>
                  <a:pt x="428" y="7"/>
                  <a:pt x="428" y="7"/>
                  <a:pt x="428" y="7"/>
                </a:cubicBezTo>
                <a:cubicBezTo>
                  <a:pt x="428" y="7"/>
                  <a:pt x="427" y="6"/>
                  <a:pt x="426" y="6"/>
                </a:cubicBezTo>
                <a:cubicBezTo>
                  <a:pt x="426" y="6"/>
                  <a:pt x="426" y="6"/>
                  <a:pt x="426" y="6"/>
                </a:cubicBezTo>
                <a:cubicBezTo>
                  <a:pt x="426" y="6"/>
                  <a:pt x="426" y="6"/>
                  <a:pt x="426" y="6"/>
                </a:cubicBezTo>
                <a:cubicBezTo>
                  <a:pt x="426" y="6"/>
                  <a:pt x="426" y="6"/>
                  <a:pt x="426" y="6"/>
                </a:cubicBezTo>
                <a:cubicBezTo>
                  <a:pt x="427" y="7"/>
                  <a:pt x="427" y="7"/>
                  <a:pt x="427" y="7"/>
                </a:cubicBezTo>
                <a:cubicBezTo>
                  <a:pt x="426" y="7"/>
                  <a:pt x="426" y="7"/>
                  <a:pt x="426" y="7"/>
                </a:cubicBezTo>
                <a:cubicBezTo>
                  <a:pt x="426" y="7"/>
                  <a:pt x="427" y="7"/>
                  <a:pt x="427" y="7"/>
                </a:cubicBezTo>
                <a:cubicBezTo>
                  <a:pt x="427" y="7"/>
                  <a:pt x="427" y="7"/>
                  <a:pt x="427" y="7"/>
                </a:cubicBezTo>
                <a:cubicBezTo>
                  <a:pt x="427" y="7"/>
                  <a:pt x="431" y="8"/>
                  <a:pt x="431" y="8"/>
                </a:cubicBezTo>
                <a:cubicBezTo>
                  <a:pt x="431" y="8"/>
                  <a:pt x="431" y="8"/>
                  <a:pt x="431" y="8"/>
                </a:cubicBezTo>
                <a:cubicBezTo>
                  <a:pt x="431" y="8"/>
                  <a:pt x="431" y="8"/>
                  <a:pt x="429" y="7"/>
                </a:cubicBezTo>
                <a:cubicBezTo>
                  <a:pt x="429" y="7"/>
                  <a:pt x="429" y="7"/>
                  <a:pt x="429" y="7"/>
                </a:cubicBezTo>
                <a:cubicBezTo>
                  <a:pt x="428" y="7"/>
                  <a:pt x="428" y="7"/>
                  <a:pt x="428" y="7"/>
                </a:cubicBezTo>
                <a:moveTo>
                  <a:pt x="431" y="8"/>
                </a:moveTo>
                <a:cubicBezTo>
                  <a:pt x="430" y="8"/>
                  <a:pt x="430" y="8"/>
                  <a:pt x="429" y="8"/>
                </a:cubicBezTo>
                <a:cubicBezTo>
                  <a:pt x="429" y="8"/>
                  <a:pt x="429" y="8"/>
                  <a:pt x="428" y="8"/>
                </a:cubicBezTo>
                <a:cubicBezTo>
                  <a:pt x="427" y="7"/>
                  <a:pt x="426" y="7"/>
                  <a:pt x="425" y="7"/>
                </a:cubicBezTo>
                <a:cubicBezTo>
                  <a:pt x="424" y="6"/>
                  <a:pt x="424" y="6"/>
                  <a:pt x="424" y="6"/>
                </a:cubicBezTo>
                <a:cubicBezTo>
                  <a:pt x="424" y="6"/>
                  <a:pt x="424" y="6"/>
                  <a:pt x="424" y="6"/>
                </a:cubicBezTo>
                <a:cubicBezTo>
                  <a:pt x="424" y="6"/>
                  <a:pt x="424" y="6"/>
                  <a:pt x="424" y="7"/>
                </a:cubicBezTo>
                <a:cubicBezTo>
                  <a:pt x="425" y="7"/>
                  <a:pt x="425" y="7"/>
                  <a:pt x="426" y="7"/>
                </a:cubicBezTo>
                <a:cubicBezTo>
                  <a:pt x="425" y="7"/>
                  <a:pt x="425" y="7"/>
                  <a:pt x="425" y="7"/>
                </a:cubicBezTo>
                <a:cubicBezTo>
                  <a:pt x="425" y="7"/>
                  <a:pt x="426" y="7"/>
                  <a:pt x="426" y="7"/>
                </a:cubicBezTo>
                <a:cubicBezTo>
                  <a:pt x="426" y="7"/>
                  <a:pt x="426" y="7"/>
                  <a:pt x="426" y="7"/>
                </a:cubicBezTo>
                <a:cubicBezTo>
                  <a:pt x="427" y="8"/>
                  <a:pt x="427" y="8"/>
                  <a:pt x="428" y="8"/>
                </a:cubicBezTo>
                <a:cubicBezTo>
                  <a:pt x="428" y="8"/>
                  <a:pt x="429" y="8"/>
                  <a:pt x="430" y="9"/>
                </a:cubicBezTo>
                <a:cubicBezTo>
                  <a:pt x="430" y="8"/>
                  <a:pt x="430" y="8"/>
                  <a:pt x="430" y="8"/>
                </a:cubicBezTo>
                <a:cubicBezTo>
                  <a:pt x="429" y="8"/>
                  <a:pt x="429" y="8"/>
                  <a:pt x="429" y="8"/>
                </a:cubicBezTo>
                <a:cubicBezTo>
                  <a:pt x="430" y="8"/>
                  <a:pt x="430" y="8"/>
                  <a:pt x="430" y="8"/>
                </a:cubicBezTo>
                <a:cubicBezTo>
                  <a:pt x="430" y="8"/>
                  <a:pt x="430" y="8"/>
                  <a:pt x="430" y="8"/>
                </a:cubicBezTo>
                <a:cubicBezTo>
                  <a:pt x="430" y="8"/>
                  <a:pt x="430" y="8"/>
                  <a:pt x="431" y="8"/>
                </a:cubicBezTo>
                <a:cubicBezTo>
                  <a:pt x="431" y="8"/>
                  <a:pt x="431" y="8"/>
                  <a:pt x="431" y="8"/>
                </a:cubicBezTo>
                <a:moveTo>
                  <a:pt x="433" y="10"/>
                </a:moveTo>
                <a:cubicBezTo>
                  <a:pt x="433" y="10"/>
                  <a:pt x="432" y="9"/>
                  <a:pt x="432" y="9"/>
                </a:cubicBezTo>
                <a:cubicBezTo>
                  <a:pt x="432" y="9"/>
                  <a:pt x="432" y="9"/>
                  <a:pt x="432" y="9"/>
                </a:cubicBezTo>
                <a:cubicBezTo>
                  <a:pt x="432" y="9"/>
                  <a:pt x="432" y="9"/>
                  <a:pt x="432" y="9"/>
                </a:cubicBezTo>
                <a:cubicBezTo>
                  <a:pt x="432" y="9"/>
                  <a:pt x="432" y="9"/>
                  <a:pt x="432" y="9"/>
                </a:cubicBezTo>
                <a:cubicBezTo>
                  <a:pt x="432" y="9"/>
                  <a:pt x="432" y="9"/>
                  <a:pt x="432" y="9"/>
                </a:cubicBezTo>
                <a:cubicBezTo>
                  <a:pt x="432" y="10"/>
                  <a:pt x="432" y="10"/>
                  <a:pt x="432" y="10"/>
                </a:cubicBezTo>
                <a:cubicBezTo>
                  <a:pt x="432" y="10"/>
                  <a:pt x="432" y="10"/>
                  <a:pt x="432" y="10"/>
                </a:cubicBezTo>
                <a:cubicBezTo>
                  <a:pt x="432" y="10"/>
                  <a:pt x="432" y="10"/>
                  <a:pt x="432" y="10"/>
                </a:cubicBezTo>
                <a:cubicBezTo>
                  <a:pt x="432" y="10"/>
                  <a:pt x="432" y="10"/>
                  <a:pt x="432" y="10"/>
                </a:cubicBezTo>
                <a:cubicBezTo>
                  <a:pt x="432" y="10"/>
                  <a:pt x="432" y="10"/>
                  <a:pt x="432" y="10"/>
                </a:cubicBezTo>
                <a:cubicBezTo>
                  <a:pt x="433" y="10"/>
                  <a:pt x="433" y="10"/>
                  <a:pt x="433" y="10"/>
                </a:cubicBezTo>
                <a:cubicBezTo>
                  <a:pt x="434" y="10"/>
                  <a:pt x="434" y="10"/>
                  <a:pt x="434" y="10"/>
                </a:cubicBezTo>
                <a:cubicBezTo>
                  <a:pt x="434" y="10"/>
                  <a:pt x="434" y="10"/>
                  <a:pt x="434" y="10"/>
                </a:cubicBezTo>
                <a:cubicBezTo>
                  <a:pt x="433" y="10"/>
                  <a:pt x="433" y="10"/>
                  <a:pt x="433" y="10"/>
                </a:cubicBezTo>
                <a:cubicBezTo>
                  <a:pt x="433" y="10"/>
                  <a:pt x="433" y="10"/>
                  <a:pt x="433" y="10"/>
                </a:cubicBezTo>
                <a:moveTo>
                  <a:pt x="430" y="9"/>
                </a:moveTo>
                <a:cubicBezTo>
                  <a:pt x="429" y="9"/>
                  <a:pt x="429" y="9"/>
                  <a:pt x="429" y="9"/>
                </a:cubicBezTo>
                <a:cubicBezTo>
                  <a:pt x="428" y="8"/>
                  <a:pt x="428" y="8"/>
                  <a:pt x="428" y="8"/>
                </a:cubicBezTo>
                <a:cubicBezTo>
                  <a:pt x="428" y="8"/>
                  <a:pt x="428" y="8"/>
                  <a:pt x="427" y="8"/>
                </a:cubicBezTo>
                <a:cubicBezTo>
                  <a:pt x="427" y="8"/>
                  <a:pt x="427" y="8"/>
                  <a:pt x="427" y="8"/>
                </a:cubicBezTo>
                <a:cubicBezTo>
                  <a:pt x="428" y="9"/>
                  <a:pt x="428" y="9"/>
                  <a:pt x="428" y="9"/>
                </a:cubicBezTo>
                <a:cubicBezTo>
                  <a:pt x="428" y="9"/>
                  <a:pt x="428" y="9"/>
                  <a:pt x="428" y="9"/>
                </a:cubicBezTo>
                <a:cubicBezTo>
                  <a:pt x="429" y="9"/>
                  <a:pt x="429" y="10"/>
                  <a:pt x="430" y="10"/>
                </a:cubicBezTo>
                <a:cubicBezTo>
                  <a:pt x="431" y="10"/>
                  <a:pt x="431" y="10"/>
                  <a:pt x="431" y="10"/>
                </a:cubicBezTo>
                <a:cubicBezTo>
                  <a:pt x="430" y="9"/>
                  <a:pt x="429" y="9"/>
                  <a:pt x="429" y="9"/>
                </a:cubicBezTo>
                <a:cubicBezTo>
                  <a:pt x="430" y="10"/>
                  <a:pt x="431" y="10"/>
                  <a:pt x="432" y="10"/>
                </a:cubicBezTo>
                <a:cubicBezTo>
                  <a:pt x="431" y="10"/>
                  <a:pt x="431" y="10"/>
                  <a:pt x="431" y="10"/>
                </a:cubicBezTo>
                <a:cubicBezTo>
                  <a:pt x="432" y="10"/>
                  <a:pt x="432" y="10"/>
                  <a:pt x="432" y="10"/>
                </a:cubicBezTo>
                <a:cubicBezTo>
                  <a:pt x="431" y="10"/>
                  <a:pt x="430" y="9"/>
                  <a:pt x="429" y="9"/>
                </a:cubicBezTo>
                <a:cubicBezTo>
                  <a:pt x="430" y="9"/>
                  <a:pt x="430" y="9"/>
                  <a:pt x="430" y="9"/>
                </a:cubicBezTo>
                <a:moveTo>
                  <a:pt x="425" y="7"/>
                </a:moveTo>
                <a:cubicBezTo>
                  <a:pt x="424" y="7"/>
                  <a:pt x="424" y="7"/>
                  <a:pt x="424" y="7"/>
                </a:cubicBezTo>
                <a:cubicBezTo>
                  <a:pt x="423" y="7"/>
                  <a:pt x="423" y="7"/>
                  <a:pt x="423" y="6"/>
                </a:cubicBezTo>
                <a:cubicBezTo>
                  <a:pt x="422" y="6"/>
                  <a:pt x="422" y="6"/>
                  <a:pt x="422" y="6"/>
                </a:cubicBezTo>
                <a:cubicBezTo>
                  <a:pt x="422" y="7"/>
                  <a:pt x="422" y="7"/>
                  <a:pt x="422" y="7"/>
                </a:cubicBezTo>
                <a:cubicBezTo>
                  <a:pt x="422" y="7"/>
                  <a:pt x="422" y="7"/>
                  <a:pt x="419" y="6"/>
                </a:cubicBezTo>
                <a:cubicBezTo>
                  <a:pt x="419" y="5"/>
                  <a:pt x="418" y="5"/>
                  <a:pt x="418" y="5"/>
                </a:cubicBezTo>
                <a:cubicBezTo>
                  <a:pt x="418" y="5"/>
                  <a:pt x="418" y="5"/>
                  <a:pt x="418" y="5"/>
                </a:cubicBezTo>
                <a:cubicBezTo>
                  <a:pt x="418" y="5"/>
                  <a:pt x="418" y="5"/>
                  <a:pt x="418" y="5"/>
                </a:cubicBezTo>
                <a:cubicBezTo>
                  <a:pt x="418" y="5"/>
                  <a:pt x="418" y="5"/>
                  <a:pt x="418" y="5"/>
                </a:cubicBezTo>
                <a:cubicBezTo>
                  <a:pt x="418" y="6"/>
                  <a:pt x="418" y="6"/>
                  <a:pt x="418" y="6"/>
                </a:cubicBezTo>
                <a:cubicBezTo>
                  <a:pt x="419" y="6"/>
                  <a:pt x="420" y="6"/>
                  <a:pt x="421" y="7"/>
                </a:cubicBezTo>
                <a:cubicBezTo>
                  <a:pt x="420" y="6"/>
                  <a:pt x="420" y="6"/>
                  <a:pt x="420" y="6"/>
                </a:cubicBezTo>
                <a:cubicBezTo>
                  <a:pt x="420" y="6"/>
                  <a:pt x="420" y="6"/>
                  <a:pt x="420" y="6"/>
                </a:cubicBezTo>
                <a:cubicBezTo>
                  <a:pt x="420" y="6"/>
                  <a:pt x="420" y="6"/>
                  <a:pt x="420" y="6"/>
                </a:cubicBezTo>
                <a:cubicBezTo>
                  <a:pt x="420" y="6"/>
                  <a:pt x="420" y="6"/>
                  <a:pt x="420" y="6"/>
                </a:cubicBezTo>
                <a:cubicBezTo>
                  <a:pt x="420" y="7"/>
                  <a:pt x="421" y="7"/>
                  <a:pt x="421" y="7"/>
                </a:cubicBezTo>
                <a:cubicBezTo>
                  <a:pt x="421" y="7"/>
                  <a:pt x="421" y="7"/>
                  <a:pt x="421" y="7"/>
                </a:cubicBezTo>
                <a:cubicBezTo>
                  <a:pt x="422" y="7"/>
                  <a:pt x="422" y="7"/>
                  <a:pt x="422" y="7"/>
                </a:cubicBezTo>
                <a:cubicBezTo>
                  <a:pt x="423" y="7"/>
                  <a:pt x="423" y="8"/>
                  <a:pt x="424" y="8"/>
                </a:cubicBezTo>
                <a:cubicBezTo>
                  <a:pt x="423" y="8"/>
                  <a:pt x="423" y="8"/>
                  <a:pt x="423" y="8"/>
                </a:cubicBezTo>
                <a:cubicBezTo>
                  <a:pt x="423" y="8"/>
                  <a:pt x="423" y="8"/>
                  <a:pt x="423" y="8"/>
                </a:cubicBezTo>
                <a:cubicBezTo>
                  <a:pt x="423" y="8"/>
                  <a:pt x="423" y="8"/>
                  <a:pt x="423" y="8"/>
                </a:cubicBezTo>
                <a:cubicBezTo>
                  <a:pt x="423" y="8"/>
                  <a:pt x="423" y="8"/>
                  <a:pt x="423" y="8"/>
                </a:cubicBezTo>
                <a:cubicBezTo>
                  <a:pt x="423" y="8"/>
                  <a:pt x="423" y="8"/>
                  <a:pt x="423" y="8"/>
                </a:cubicBezTo>
                <a:cubicBezTo>
                  <a:pt x="423" y="8"/>
                  <a:pt x="423" y="8"/>
                  <a:pt x="423" y="8"/>
                </a:cubicBezTo>
                <a:cubicBezTo>
                  <a:pt x="423" y="8"/>
                  <a:pt x="423" y="8"/>
                  <a:pt x="423" y="8"/>
                </a:cubicBezTo>
                <a:cubicBezTo>
                  <a:pt x="423" y="8"/>
                  <a:pt x="423" y="8"/>
                  <a:pt x="423" y="8"/>
                </a:cubicBezTo>
                <a:cubicBezTo>
                  <a:pt x="423" y="8"/>
                  <a:pt x="423" y="8"/>
                  <a:pt x="423" y="8"/>
                </a:cubicBezTo>
                <a:cubicBezTo>
                  <a:pt x="423" y="8"/>
                  <a:pt x="423" y="8"/>
                  <a:pt x="423" y="8"/>
                </a:cubicBezTo>
                <a:cubicBezTo>
                  <a:pt x="423" y="8"/>
                  <a:pt x="423" y="8"/>
                  <a:pt x="423" y="8"/>
                </a:cubicBezTo>
                <a:cubicBezTo>
                  <a:pt x="423" y="8"/>
                  <a:pt x="423" y="8"/>
                  <a:pt x="424" y="9"/>
                </a:cubicBezTo>
                <a:cubicBezTo>
                  <a:pt x="424" y="9"/>
                  <a:pt x="424" y="9"/>
                  <a:pt x="424" y="9"/>
                </a:cubicBezTo>
                <a:cubicBezTo>
                  <a:pt x="425" y="9"/>
                  <a:pt x="425" y="9"/>
                  <a:pt x="425" y="9"/>
                </a:cubicBezTo>
                <a:cubicBezTo>
                  <a:pt x="425" y="9"/>
                  <a:pt x="425" y="9"/>
                  <a:pt x="425" y="9"/>
                </a:cubicBezTo>
                <a:cubicBezTo>
                  <a:pt x="425" y="9"/>
                  <a:pt x="425" y="9"/>
                  <a:pt x="425" y="9"/>
                </a:cubicBezTo>
                <a:cubicBezTo>
                  <a:pt x="425" y="9"/>
                  <a:pt x="424" y="9"/>
                  <a:pt x="423" y="8"/>
                </a:cubicBezTo>
                <a:cubicBezTo>
                  <a:pt x="424" y="8"/>
                  <a:pt x="424" y="8"/>
                  <a:pt x="424" y="8"/>
                </a:cubicBezTo>
                <a:cubicBezTo>
                  <a:pt x="424" y="8"/>
                  <a:pt x="424" y="8"/>
                  <a:pt x="424" y="8"/>
                </a:cubicBezTo>
                <a:cubicBezTo>
                  <a:pt x="424" y="8"/>
                  <a:pt x="424" y="8"/>
                  <a:pt x="424" y="8"/>
                </a:cubicBezTo>
                <a:cubicBezTo>
                  <a:pt x="424" y="8"/>
                  <a:pt x="424" y="8"/>
                  <a:pt x="424" y="8"/>
                </a:cubicBezTo>
                <a:cubicBezTo>
                  <a:pt x="424" y="8"/>
                  <a:pt x="424" y="8"/>
                  <a:pt x="424" y="8"/>
                </a:cubicBezTo>
                <a:cubicBezTo>
                  <a:pt x="424" y="8"/>
                  <a:pt x="424" y="8"/>
                  <a:pt x="423" y="8"/>
                </a:cubicBezTo>
                <a:cubicBezTo>
                  <a:pt x="423" y="7"/>
                  <a:pt x="423" y="7"/>
                  <a:pt x="423" y="7"/>
                </a:cubicBezTo>
                <a:cubicBezTo>
                  <a:pt x="424" y="8"/>
                  <a:pt x="424" y="8"/>
                  <a:pt x="425" y="8"/>
                </a:cubicBezTo>
                <a:cubicBezTo>
                  <a:pt x="425" y="8"/>
                  <a:pt x="425" y="8"/>
                  <a:pt x="425" y="8"/>
                </a:cubicBezTo>
                <a:cubicBezTo>
                  <a:pt x="422" y="7"/>
                  <a:pt x="422" y="7"/>
                  <a:pt x="422" y="7"/>
                </a:cubicBezTo>
                <a:cubicBezTo>
                  <a:pt x="423" y="7"/>
                  <a:pt x="423" y="7"/>
                  <a:pt x="423" y="7"/>
                </a:cubicBezTo>
                <a:cubicBezTo>
                  <a:pt x="425" y="7"/>
                  <a:pt x="425" y="7"/>
                  <a:pt x="425" y="7"/>
                </a:cubicBezTo>
                <a:cubicBezTo>
                  <a:pt x="425" y="7"/>
                  <a:pt x="425" y="7"/>
                  <a:pt x="425" y="7"/>
                </a:cubicBezTo>
                <a:moveTo>
                  <a:pt x="421" y="8"/>
                </a:moveTo>
                <a:cubicBezTo>
                  <a:pt x="420" y="8"/>
                  <a:pt x="420" y="8"/>
                  <a:pt x="419" y="7"/>
                </a:cubicBezTo>
                <a:cubicBezTo>
                  <a:pt x="419" y="7"/>
                  <a:pt x="419" y="7"/>
                  <a:pt x="419" y="7"/>
                </a:cubicBezTo>
                <a:cubicBezTo>
                  <a:pt x="418" y="7"/>
                  <a:pt x="417" y="7"/>
                  <a:pt x="417" y="7"/>
                </a:cubicBezTo>
                <a:cubicBezTo>
                  <a:pt x="416" y="6"/>
                  <a:pt x="416" y="6"/>
                  <a:pt x="416" y="6"/>
                </a:cubicBezTo>
                <a:cubicBezTo>
                  <a:pt x="416" y="6"/>
                  <a:pt x="416" y="6"/>
                  <a:pt x="416" y="6"/>
                </a:cubicBezTo>
                <a:cubicBezTo>
                  <a:pt x="416" y="6"/>
                  <a:pt x="416" y="6"/>
                  <a:pt x="416" y="6"/>
                </a:cubicBezTo>
                <a:cubicBezTo>
                  <a:pt x="416" y="6"/>
                  <a:pt x="416" y="6"/>
                  <a:pt x="416" y="6"/>
                </a:cubicBezTo>
                <a:cubicBezTo>
                  <a:pt x="416" y="7"/>
                  <a:pt x="416" y="7"/>
                  <a:pt x="416" y="7"/>
                </a:cubicBezTo>
                <a:cubicBezTo>
                  <a:pt x="416" y="7"/>
                  <a:pt x="417" y="7"/>
                  <a:pt x="417" y="7"/>
                </a:cubicBezTo>
                <a:cubicBezTo>
                  <a:pt x="417" y="7"/>
                  <a:pt x="417" y="7"/>
                  <a:pt x="416" y="7"/>
                </a:cubicBezTo>
                <a:cubicBezTo>
                  <a:pt x="416" y="7"/>
                  <a:pt x="416" y="7"/>
                  <a:pt x="416" y="7"/>
                </a:cubicBezTo>
                <a:cubicBezTo>
                  <a:pt x="417" y="7"/>
                  <a:pt x="417" y="7"/>
                  <a:pt x="417" y="7"/>
                </a:cubicBezTo>
                <a:cubicBezTo>
                  <a:pt x="416" y="7"/>
                  <a:pt x="416" y="7"/>
                  <a:pt x="416" y="7"/>
                </a:cubicBezTo>
                <a:cubicBezTo>
                  <a:pt x="416" y="7"/>
                  <a:pt x="416" y="7"/>
                  <a:pt x="415" y="7"/>
                </a:cubicBezTo>
                <a:cubicBezTo>
                  <a:pt x="416" y="8"/>
                  <a:pt x="416" y="8"/>
                  <a:pt x="416" y="8"/>
                </a:cubicBezTo>
                <a:cubicBezTo>
                  <a:pt x="416" y="8"/>
                  <a:pt x="415" y="7"/>
                  <a:pt x="415" y="7"/>
                </a:cubicBezTo>
                <a:cubicBezTo>
                  <a:pt x="414" y="7"/>
                  <a:pt x="414" y="7"/>
                  <a:pt x="414" y="7"/>
                </a:cubicBezTo>
                <a:cubicBezTo>
                  <a:pt x="416" y="8"/>
                  <a:pt x="417" y="9"/>
                  <a:pt x="417" y="8"/>
                </a:cubicBezTo>
                <a:cubicBezTo>
                  <a:pt x="417" y="8"/>
                  <a:pt x="417" y="8"/>
                  <a:pt x="417" y="8"/>
                </a:cubicBezTo>
                <a:cubicBezTo>
                  <a:pt x="417" y="8"/>
                  <a:pt x="417" y="8"/>
                  <a:pt x="417" y="8"/>
                </a:cubicBezTo>
                <a:cubicBezTo>
                  <a:pt x="417" y="8"/>
                  <a:pt x="417" y="8"/>
                  <a:pt x="417" y="8"/>
                </a:cubicBezTo>
                <a:cubicBezTo>
                  <a:pt x="417" y="8"/>
                  <a:pt x="418" y="8"/>
                  <a:pt x="418" y="8"/>
                </a:cubicBezTo>
                <a:cubicBezTo>
                  <a:pt x="418" y="8"/>
                  <a:pt x="418" y="8"/>
                  <a:pt x="418" y="8"/>
                </a:cubicBezTo>
                <a:cubicBezTo>
                  <a:pt x="419" y="8"/>
                  <a:pt x="419" y="8"/>
                  <a:pt x="420" y="9"/>
                </a:cubicBezTo>
                <a:cubicBezTo>
                  <a:pt x="419" y="9"/>
                  <a:pt x="419" y="9"/>
                  <a:pt x="419" y="9"/>
                </a:cubicBezTo>
                <a:cubicBezTo>
                  <a:pt x="420" y="9"/>
                  <a:pt x="420" y="9"/>
                  <a:pt x="420" y="9"/>
                </a:cubicBezTo>
                <a:cubicBezTo>
                  <a:pt x="421" y="9"/>
                  <a:pt x="421" y="10"/>
                  <a:pt x="422" y="10"/>
                </a:cubicBezTo>
                <a:cubicBezTo>
                  <a:pt x="424" y="10"/>
                  <a:pt x="424" y="10"/>
                  <a:pt x="424" y="10"/>
                </a:cubicBezTo>
                <a:cubicBezTo>
                  <a:pt x="424" y="10"/>
                  <a:pt x="423" y="9"/>
                  <a:pt x="421" y="9"/>
                </a:cubicBezTo>
                <a:cubicBezTo>
                  <a:pt x="421" y="9"/>
                  <a:pt x="421" y="9"/>
                  <a:pt x="421" y="9"/>
                </a:cubicBezTo>
                <a:cubicBezTo>
                  <a:pt x="421" y="9"/>
                  <a:pt x="421" y="9"/>
                  <a:pt x="422" y="9"/>
                </a:cubicBezTo>
                <a:cubicBezTo>
                  <a:pt x="422" y="9"/>
                  <a:pt x="422" y="9"/>
                  <a:pt x="422" y="9"/>
                </a:cubicBezTo>
                <a:cubicBezTo>
                  <a:pt x="422" y="9"/>
                  <a:pt x="422" y="9"/>
                  <a:pt x="422" y="9"/>
                </a:cubicBezTo>
                <a:cubicBezTo>
                  <a:pt x="422" y="8"/>
                  <a:pt x="421" y="8"/>
                  <a:pt x="421" y="8"/>
                </a:cubicBezTo>
                <a:moveTo>
                  <a:pt x="399" y="10"/>
                </a:moveTo>
                <a:cubicBezTo>
                  <a:pt x="399" y="9"/>
                  <a:pt x="399" y="9"/>
                  <a:pt x="399" y="9"/>
                </a:cubicBezTo>
                <a:cubicBezTo>
                  <a:pt x="398" y="9"/>
                  <a:pt x="398" y="9"/>
                  <a:pt x="398" y="9"/>
                </a:cubicBezTo>
                <a:cubicBezTo>
                  <a:pt x="397" y="9"/>
                  <a:pt x="397" y="9"/>
                  <a:pt x="397" y="9"/>
                </a:cubicBezTo>
                <a:cubicBezTo>
                  <a:pt x="397" y="9"/>
                  <a:pt x="397" y="9"/>
                  <a:pt x="397" y="9"/>
                </a:cubicBezTo>
                <a:cubicBezTo>
                  <a:pt x="397" y="9"/>
                  <a:pt x="397" y="9"/>
                  <a:pt x="397" y="9"/>
                </a:cubicBezTo>
                <a:cubicBezTo>
                  <a:pt x="396" y="8"/>
                  <a:pt x="395" y="8"/>
                  <a:pt x="395" y="8"/>
                </a:cubicBezTo>
                <a:cubicBezTo>
                  <a:pt x="395" y="9"/>
                  <a:pt x="395" y="9"/>
                  <a:pt x="394" y="9"/>
                </a:cubicBezTo>
                <a:cubicBezTo>
                  <a:pt x="394" y="8"/>
                  <a:pt x="394" y="8"/>
                  <a:pt x="394" y="8"/>
                </a:cubicBezTo>
                <a:cubicBezTo>
                  <a:pt x="394" y="8"/>
                  <a:pt x="394" y="8"/>
                  <a:pt x="394" y="8"/>
                </a:cubicBezTo>
                <a:cubicBezTo>
                  <a:pt x="394" y="8"/>
                  <a:pt x="394" y="8"/>
                  <a:pt x="394" y="8"/>
                </a:cubicBezTo>
                <a:cubicBezTo>
                  <a:pt x="394" y="8"/>
                  <a:pt x="394" y="8"/>
                  <a:pt x="394" y="8"/>
                </a:cubicBezTo>
                <a:cubicBezTo>
                  <a:pt x="394" y="8"/>
                  <a:pt x="394" y="8"/>
                  <a:pt x="394" y="8"/>
                </a:cubicBezTo>
                <a:cubicBezTo>
                  <a:pt x="394" y="8"/>
                  <a:pt x="394" y="8"/>
                  <a:pt x="394" y="8"/>
                </a:cubicBezTo>
                <a:cubicBezTo>
                  <a:pt x="394" y="8"/>
                  <a:pt x="394" y="8"/>
                  <a:pt x="394" y="8"/>
                </a:cubicBezTo>
                <a:cubicBezTo>
                  <a:pt x="394" y="8"/>
                  <a:pt x="394" y="8"/>
                  <a:pt x="394" y="8"/>
                </a:cubicBezTo>
                <a:cubicBezTo>
                  <a:pt x="393" y="8"/>
                  <a:pt x="393" y="8"/>
                  <a:pt x="393" y="8"/>
                </a:cubicBezTo>
                <a:cubicBezTo>
                  <a:pt x="393" y="8"/>
                  <a:pt x="393" y="8"/>
                  <a:pt x="393" y="8"/>
                </a:cubicBezTo>
                <a:cubicBezTo>
                  <a:pt x="393" y="9"/>
                  <a:pt x="393" y="9"/>
                  <a:pt x="393" y="9"/>
                </a:cubicBezTo>
                <a:cubicBezTo>
                  <a:pt x="393" y="9"/>
                  <a:pt x="393" y="9"/>
                  <a:pt x="393" y="9"/>
                </a:cubicBezTo>
                <a:cubicBezTo>
                  <a:pt x="393" y="9"/>
                  <a:pt x="392" y="8"/>
                  <a:pt x="392" y="8"/>
                </a:cubicBezTo>
                <a:cubicBezTo>
                  <a:pt x="392" y="8"/>
                  <a:pt x="390" y="8"/>
                  <a:pt x="389" y="8"/>
                </a:cubicBezTo>
                <a:cubicBezTo>
                  <a:pt x="389" y="8"/>
                  <a:pt x="388" y="9"/>
                  <a:pt x="390" y="9"/>
                </a:cubicBezTo>
                <a:cubicBezTo>
                  <a:pt x="390" y="9"/>
                  <a:pt x="390" y="9"/>
                  <a:pt x="390" y="9"/>
                </a:cubicBezTo>
                <a:cubicBezTo>
                  <a:pt x="391" y="9"/>
                  <a:pt x="391" y="9"/>
                  <a:pt x="391" y="9"/>
                </a:cubicBezTo>
                <a:cubicBezTo>
                  <a:pt x="391" y="9"/>
                  <a:pt x="391" y="9"/>
                  <a:pt x="392" y="9"/>
                </a:cubicBezTo>
                <a:cubicBezTo>
                  <a:pt x="392" y="9"/>
                  <a:pt x="392" y="10"/>
                  <a:pt x="393" y="10"/>
                </a:cubicBezTo>
                <a:cubicBezTo>
                  <a:pt x="392" y="10"/>
                  <a:pt x="391" y="10"/>
                  <a:pt x="391" y="10"/>
                </a:cubicBezTo>
                <a:cubicBezTo>
                  <a:pt x="391" y="10"/>
                  <a:pt x="391" y="10"/>
                  <a:pt x="391" y="10"/>
                </a:cubicBezTo>
                <a:cubicBezTo>
                  <a:pt x="391" y="11"/>
                  <a:pt x="392" y="11"/>
                  <a:pt x="392" y="11"/>
                </a:cubicBezTo>
                <a:cubicBezTo>
                  <a:pt x="393" y="11"/>
                  <a:pt x="393" y="11"/>
                  <a:pt x="394" y="11"/>
                </a:cubicBezTo>
                <a:cubicBezTo>
                  <a:pt x="394" y="11"/>
                  <a:pt x="394" y="11"/>
                  <a:pt x="394" y="11"/>
                </a:cubicBezTo>
                <a:cubicBezTo>
                  <a:pt x="395" y="11"/>
                  <a:pt x="395" y="11"/>
                  <a:pt x="395" y="11"/>
                </a:cubicBezTo>
                <a:cubicBezTo>
                  <a:pt x="396" y="12"/>
                  <a:pt x="396" y="12"/>
                  <a:pt x="396" y="12"/>
                </a:cubicBezTo>
                <a:cubicBezTo>
                  <a:pt x="397" y="12"/>
                  <a:pt x="397" y="11"/>
                  <a:pt x="397" y="11"/>
                </a:cubicBezTo>
                <a:cubicBezTo>
                  <a:pt x="398" y="11"/>
                  <a:pt x="398" y="11"/>
                  <a:pt x="399" y="11"/>
                </a:cubicBezTo>
                <a:cubicBezTo>
                  <a:pt x="398" y="11"/>
                  <a:pt x="398" y="11"/>
                  <a:pt x="398" y="11"/>
                </a:cubicBezTo>
                <a:cubicBezTo>
                  <a:pt x="398" y="10"/>
                  <a:pt x="398" y="10"/>
                  <a:pt x="398" y="10"/>
                </a:cubicBezTo>
                <a:cubicBezTo>
                  <a:pt x="398" y="10"/>
                  <a:pt x="399" y="10"/>
                  <a:pt x="399" y="10"/>
                </a:cubicBezTo>
                <a:moveTo>
                  <a:pt x="390" y="11"/>
                </a:moveTo>
                <a:cubicBezTo>
                  <a:pt x="390" y="11"/>
                  <a:pt x="390" y="11"/>
                  <a:pt x="390" y="11"/>
                </a:cubicBezTo>
                <a:cubicBezTo>
                  <a:pt x="390" y="11"/>
                  <a:pt x="390" y="11"/>
                  <a:pt x="390" y="11"/>
                </a:cubicBezTo>
                <a:cubicBezTo>
                  <a:pt x="390" y="11"/>
                  <a:pt x="390" y="11"/>
                  <a:pt x="390" y="11"/>
                </a:cubicBezTo>
                <a:cubicBezTo>
                  <a:pt x="390" y="11"/>
                  <a:pt x="390" y="11"/>
                  <a:pt x="390" y="11"/>
                </a:cubicBezTo>
                <a:moveTo>
                  <a:pt x="401" y="18"/>
                </a:moveTo>
                <a:cubicBezTo>
                  <a:pt x="401" y="17"/>
                  <a:pt x="401" y="17"/>
                  <a:pt x="401" y="17"/>
                </a:cubicBezTo>
                <a:cubicBezTo>
                  <a:pt x="401" y="17"/>
                  <a:pt x="401" y="17"/>
                  <a:pt x="399" y="17"/>
                </a:cubicBezTo>
                <a:cubicBezTo>
                  <a:pt x="398" y="16"/>
                  <a:pt x="398" y="16"/>
                  <a:pt x="398" y="16"/>
                </a:cubicBezTo>
                <a:cubicBezTo>
                  <a:pt x="398" y="15"/>
                  <a:pt x="397" y="15"/>
                  <a:pt x="396" y="15"/>
                </a:cubicBezTo>
                <a:cubicBezTo>
                  <a:pt x="396" y="15"/>
                  <a:pt x="396" y="14"/>
                  <a:pt x="395" y="14"/>
                </a:cubicBezTo>
                <a:cubicBezTo>
                  <a:pt x="395" y="14"/>
                  <a:pt x="395" y="14"/>
                  <a:pt x="394" y="13"/>
                </a:cubicBezTo>
                <a:cubicBezTo>
                  <a:pt x="394" y="13"/>
                  <a:pt x="394" y="13"/>
                  <a:pt x="393" y="13"/>
                </a:cubicBezTo>
                <a:cubicBezTo>
                  <a:pt x="393" y="13"/>
                  <a:pt x="393" y="12"/>
                  <a:pt x="392" y="12"/>
                </a:cubicBezTo>
                <a:cubicBezTo>
                  <a:pt x="392" y="12"/>
                  <a:pt x="392" y="12"/>
                  <a:pt x="392" y="12"/>
                </a:cubicBezTo>
                <a:cubicBezTo>
                  <a:pt x="392" y="12"/>
                  <a:pt x="392" y="12"/>
                  <a:pt x="391" y="12"/>
                </a:cubicBezTo>
                <a:cubicBezTo>
                  <a:pt x="390" y="12"/>
                  <a:pt x="390" y="12"/>
                  <a:pt x="390" y="12"/>
                </a:cubicBezTo>
                <a:cubicBezTo>
                  <a:pt x="390" y="11"/>
                  <a:pt x="390" y="11"/>
                  <a:pt x="390" y="11"/>
                </a:cubicBezTo>
                <a:cubicBezTo>
                  <a:pt x="389" y="11"/>
                  <a:pt x="389" y="11"/>
                  <a:pt x="389" y="11"/>
                </a:cubicBezTo>
                <a:cubicBezTo>
                  <a:pt x="389" y="10"/>
                  <a:pt x="389" y="10"/>
                  <a:pt x="389" y="10"/>
                </a:cubicBezTo>
                <a:cubicBezTo>
                  <a:pt x="388" y="10"/>
                  <a:pt x="387" y="9"/>
                  <a:pt x="387" y="9"/>
                </a:cubicBezTo>
                <a:cubicBezTo>
                  <a:pt x="387" y="9"/>
                  <a:pt x="387" y="9"/>
                  <a:pt x="387" y="9"/>
                </a:cubicBezTo>
                <a:cubicBezTo>
                  <a:pt x="386" y="9"/>
                  <a:pt x="386" y="9"/>
                  <a:pt x="386" y="10"/>
                </a:cubicBezTo>
                <a:cubicBezTo>
                  <a:pt x="386" y="10"/>
                  <a:pt x="386" y="10"/>
                  <a:pt x="386" y="10"/>
                </a:cubicBezTo>
                <a:cubicBezTo>
                  <a:pt x="386" y="11"/>
                  <a:pt x="387" y="11"/>
                  <a:pt x="387" y="11"/>
                </a:cubicBezTo>
                <a:cubicBezTo>
                  <a:pt x="386" y="12"/>
                  <a:pt x="386" y="12"/>
                  <a:pt x="386" y="12"/>
                </a:cubicBezTo>
                <a:cubicBezTo>
                  <a:pt x="385" y="11"/>
                  <a:pt x="385" y="11"/>
                  <a:pt x="385" y="11"/>
                </a:cubicBezTo>
                <a:cubicBezTo>
                  <a:pt x="385" y="11"/>
                  <a:pt x="385" y="11"/>
                  <a:pt x="385" y="11"/>
                </a:cubicBezTo>
                <a:cubicBezTo>
                  <a:pt x="385" y="10"/>
                  <a:pt x="385" y="10"/>
                  <a:pt x="385" y="10"/>
                </a:cubicBezTo>
                <a:cubicBezTo>
                  <a:pt x="385" y="10"/>
                  <a:pt x="385" y="10"/>
                  <a:pt x="385" y="10"/>
                </a:cubicBezTo>
                <a:cubicBezTo>
                  <a:pt x="385" y="10"/>
                  <a:pt x="385" y="10"/>
                  <a:pt x="385" y="10"/>
                </a:cubicBezTo>
                <a:cubicBezTo>
                  <a:pt x="385" y="9"/>
                  <a:pt x="385" y="9"/>
                  <a:pt x="385" y="9"/>
                </a:cubicBezTo>
                <a:cubicBezTo>
                  <a:pt x="384" y="10"/>
                  <a:pt x="384" y="10"/>
                  <a:pt x="384" y="10"/>
                </a:cubicBezTo>
                <a:cubicBezTo>
                  <a:pt x="383" y="10"/>
                  <a:pt x="383" y="10"/>
                  <a:pt x="383" y="10"/>
                </a:cubicBezTo>
                <a:cubicBezTo>
                  <a:pt x="383" y="10"/>
                  <a:pt x="383" y="10"/>
                  <a:pt x="383" y="10"/>
                </a:cubicBezTo>
                <a:cubicBezTo>
                  <a:pt x="383" y="9"/>
                  <a:pt x="383" y="9"/>
                  <a:pt x="383" y="9"/>
                </a:cubicBezTo>
                <a:cubicBezTo>
                  <a:pt x="383" y="9"/>
                  <a:pt x="383" y="9"/>
                  <a:pt x="383" y="9"/>
                </a:cubicBezTo>
                <a:cubicBezTo>
                  <a:pt x="383" y="9"/>
                  <a:pt x="383" y="9"/>
                  <a:pt x="382" y="10"/>
                </a:cubicBezTo>
                <a:cubicBezTo>
                  <a:pt x="382" y="10"/>
                  <a:pt x="381" y="10"/>
                  <a:pt x="381" y="10"/>
                </a:cubicBezTo>
                <a:cubicBezTo>
                  <a:pt x="378" y="10"/>
                  <a:pt x="380" y="11"/>
                  <a:pt x="380" y="11"/>
                </a:cubicBezTo>
                <a:cubicBezTo>
                  <a:pt x="380" y="11"/>
                  <a:pt x="381" y="11"/>
                  <a:pt x="381" y="11"/>
                </a:cubicBezTo>
                <a:cubicBezTo>
                  <a:pt x="381" y="11"/>
                  <a:pt x="381" y="12"/>
                  <a:pt x="381" y="12"/>
                </a:cubicBezTo>
                <a:cubicBezTo>
                  <a:pt x="380" y="13"/>
                  <a:pt x="381" y="13"/>
                  <a:pt x="381" y="14"/>
                </a:cubicBezTo>
                <a:cubicBezTo>
                  <a:pt x="380" y="14"/>
                  <a:pt x="380" y="12"/>
                  <a:pt x="379" y="12"/>
                </a:cubicBezTo>
                <a:cubicBezTo>
                  <a:pt x="379" y="13"/>
                  <a:pt x="379" y="13"/>
                  <a:pt x="379" y="14"/>
                </a:cubicBezTo>
                <a:cubicBezTo>
                  <a:pt x="380" y="15"/>
                  <a:pt x="381" y="15"/>
                  <a:pt x="381" y="15"/>
                </a:cubicBezTo>
                <a:cubicBezTo>
                  <a:pt x="381" y="14"/>
                  <a:pt x="381" y="14"/>
                  <a:pt x="381" y="14"/>
                </a:cubicBezTo>
                <a:cubicBezTo>
                  <a:pt x="381" y="14"/>
                  <a:pt x="381" y="14"/>
                  <a:pt x="381" y="14"/>
                </a:cubicBezTo>
                <a:cubicBezTo>
                  <a:pt x="382" y="15"/>
                  <a:pt x="382" y="15"/>
                  <a:pt x="382" y="15"/>
                </a:cubicBezTo>
                <a:cubicBezTo>
                  <a:pt x="382" y="15"/>
                  <a:pt x="382" y="15"/>
                  <a:pt x="383" y="15"/>
                </a:cubicBezTo>
                <a:cubicBezTo>
                  <a:pt x="383" y="15"/>
                  <a:pt x="383" y="15"/>
                  <a:pt x="383" y="15"/>
                </a:cubicBezTo>
                <a:cubicBezTo>
                  <a:pt x="384" y="15"/>
                  <a:pt x="384" y="14"/>
                  <a:pt x="384" y="14"/>
                </a:cubicBezTo>
                <a:cubicBezTo>
                  <a:pt x="384" y="14"/>
                  <a:pt x="384" y="14"/>
                  <a:pt x="385" y="14"/>
                </a:cubicBezTo>
                <a:cubicBezTo>
                  <a:pt x="385" y="14"/>
                  <a:pt x="385" y="14"/>
                  <a:pt x="385" y="14"/>
                </a:cubicBezTo>
                <a:cubicBezTo>
                  <a:pt x="385" y="13"/>
                  <a:pt x="385" y="13"/>
                  <a:pt x="385" y="13"/>
                </a:cubicBezTo>
                <a:cubicBezTo>
                  <a:pt x="385" y="13"/>
                  <a:pt x="385" y="13"/>
                  <a:pt x="385" y="13"/>
                </a:cubicBezTo>
                <a:cubicBezTo>
                  <a:pt x="385" y="13"/>
                  <a:pt x="385" y="13"/>
                  <a:pt x="385" y="14"/>
                </a:cubicBezTo>
                <a:cubicBezTo>
                  <a:pt x="386" y="14"/>
                  <a:pt x="386" y="14"/>
                  <a:pt x="387" y="14"/>
                </a:cubicBezTo>
                <a:cubicBezTo>
                  <a:pt x="387" y="14"/>
                  <a:pt x="387" y="14"/>
                  <a:pt x="387" y="14"/>
                </a:cubicBezTo>
                <a:cubicBezTo>
                  <a:pt x="388" y="14"/>
                  <a:pt x="388" y="14"/>
                  <a:pt x="388" y="14"/>
                </a:cubicBezTo>
                <a:cubicBezTo>
                  <a:pt x="388" y="15"/>
                  <a:pt x="388" y="15"/>
                  <a:pt x="388" y="15"/>
                </a:cubicBezTo>
                <a:cubicBezTo>
                  <a:pt x="388" y="15"/>
                  <a:pt x="388" y="15"/>
                  <a:pt x="388" y="15"/>
                </a:cubicBezTo>
                <a:cubicBezTo>
                  <a:pt x="388" y="15"/>
                  <a:pt x="388" y="15"/>
                  <a:pt x="387" y="15"/>
                </a:cubicBezTo>
                <a:cubicBezTo>
                  <a:pt x="387" y="15"/>
                  <a:pt x="387" y="15"/>
                  <a:pt x="387" y="15"/>
                </a:cubicBezTo>
                <a:cubicBezTo>
                  <a:pt x="387" y="15"/>
                  <a:pt x="383" y="15"/>
                  <a:pt x="383" y="16"/>
                </a:cubicBezTo>
                <a:cubicBezTo>
                  <a:pt x="383" y="17"/>
                  <a:pt x="383" y="17"/>
                  <a:pt x="383" y="17"/>
                </a:cubicBezTo>
                <a:cubicBezTo>
                  <a:pt x="384" y="17"/>
                  <a:pt x="384" y="17"/>
                  <a:pt x="384" y="17"/>
                </a:cubicBezTo>
                <a:cubicBezTo>
                  <a:pt x="384" y="17"/>
                  <a:pt x="384" y="17"/>
                  <a:pt x="384" y="17"/>
                </a:cubicBezTo>
                <a:cubicBezTo>
                  <a:pt x="385" y="17"/>
                  <a:pt x="385" y="17"/>
                  <a:pt x="386" y="17"/>
                </a:cubicBezTo>
                <a:cubicBezTo>
                  <a:pt x="386" y="17"/>
                  <a:pt x="387" y="16"/>
                  <a:pt x="387" y="16"/>
                </a:cubicBezTo>
                <a:cubicBezTo>
                  <a:pt x="387" y="16"/>
                  <a:pt x="387" y="16"/>
                  <a:pt x="387" y="16"/>
                </a:cubicBezTo>
                <a:cubicBezTo>
                  <a:pt x="387" y="16"/>
                  <a:pt x="387" y="16"/>
                  <a:pt x="388" y="16"/>
                </a:cubicBezTo>
                <a:cubicBezTo>
                  <a:pt x="387" y="17"/>
                  <a:pt x="387" y="17"/>
                  <a:pt x="387" y="17"/>
                </a:cubicBezTo>
                <a:cubicBezTo>
                  <a:pt x="386" y="18"/>
                  <a:pt x="386" y="18"/>
                  <a:pt x="386" y="18"/>
                </a:cubicBezTo>
                <a:cubicBezTo>
                  <a:pt x="386" y="18"/>
                  <a:pt x="386" y="18"/>
                  <a:pt x="386" y="18"/>
                </a:cubicBezTo>
                <a:cubicBezTo>
                  <a:pt x="383" y="17"/>
                  <a:pt x="383" y="18"/>
                  <a:pt x="384" y="19"/>
                </a:cubicBezTo>
                <a:cubicBezTo>
                  <a:pt x="384" y="19"/>
                  <a:pt x="384" y="19"/>
                  <a:pt x="385" y="19"/>
                </a:cubicBezTo>
                <a:cubicBezTo>
                  <a:pt x="386" y="19"/>
                  <a:pt x="386" y="19"/>
                  <a:pt x="388" y="22"/>
                </a:cubicBezTo>
                <a:cubicBezTo>
                  <a:pt x="388" y="22"/>
                  <a:pt x="388" y="22"/>
                  <a:pt x="388" y="22"/>
                </a:cubicBezTo>
                <a:cubicBezTo>
                  <a:pt x="388" y="21"/>
                  <a:pt x="388" y="21"/>
                  <a:pt x="388" y="21"/>
                </a:cubicBezTo>
                <a:cubicBezTo>
                  <a:pt x="388" y="21"/>
                  <a:pt x="389" y="21"/>
                  <a:pt x="389" y="20"/>
                </a:cubicBezTo>
                <a:cubicBezTo>
                  <a:pt x="389" y="19"/>
                  <a:pt x="389" y="19"/>
                  <a:pt x="389" y="18"/>
                </a:cubicBezTo>
                <a:cubicBezTo>
                  <a:pt x="390" y="18"/>
                  <a:pt x="390" y="18"/>
                  <a:pt x="390" y="18"/>
                </a:cubicBezTo>
                <a:cubicBezTo>
                  <a:pt x="390" y="17"/>
                  <a:pt x="390" y="17"/>
                  <a:pt x="390" y="16"/>
                </a:cubicBezTo>
                <a:cubicBezTo>
                  <a:pt x="391" y="16"/>
                  <a:pt x="391" y="16"/>
                  <a:pt x="391" y="16"/>
                </a:cubicBezTo>
                <a:cubicBezTo>
                  <a:pt x="391" y="15"/>
                  <a:pt x="391" y="14"/>
                  <a:pt x="391" y="14"/>
                </a:cubicBezTo>
                <a:cubicBezTo>
                  <a:pt x="391" y="14"/>
                  <a:pt x="392" y="14"/>
                  <a:pt x="393" y="14"/>
                </a:cubicBezTo>
                <a:cubicBezTo>
                  <a:pt x="393" y="14"/>
                  <a:pt x="393" y="14"/>
                  <a:pt x="393" y="14"/>
                </a:cubicBezTo>
                <a:cubicBezTo>
                  <a:pt x="393" y="14"/>
                  <a:pt x="393" y="15"/>
                  <a:pt x="393" y="15"/>
                </a:cubicBezTo>
                <a:cubicBezTo>
                  <a:pt x="395" y="15"/>
                  <a:pt x="395" y="17"/>
                  <a:pt x="395" y="17"/>
                </a:cubicBezTo>
                <a:cubicBezTo>
                  <a:pt x="394" y="17"/>
                  <a:pt x="394" y="18"/>
                  <a:pt x="395" y="18"/>
                </a:cubicBezTo>
                <a:cubicBezTo>
                  <a:pt x="395" y="18"/>
                  <a:pt x="395" y="18"/>
                  <a:pt x="395" y="18"/>
                </a:cubicBezTo>
                <a:cubicBezTo>
                  <a:pt x="396" y="18"/>
                  <a:pt x="396" y="17"/>
                  <a:pt x="397" y="17"/>
                </a:cubicBezTo>
                <a:cubicBezTo>
                  <a:pt x="397" y="18"/>
                  <a:pt x="397" y="18"/>
                  <a:pt x="398" y="19"/>
                </a:cubicBezTo>
                <a:cubicBezTo>
                  <a:pt x="398" y="19"/>
                  <a:pt x="398" y="19"/>
                  <a:pt x="399" y="19"/>
                </a:cubicBezTo>
                <a:cubicBezTo>
                  <a:pt x="399" y="19"/>
                  <a:pt x="399" y="19"/>
                  <a:pt x="399" y="19"/>
                </a:cubicBezTo>
                <a:cubicBezTo>
                  <a:pt x="399" y="18"/>
                  <a:pt x="399" y="18"/>
                  <a:pt x="399" y="18"/>
                </a:cubicBezTo>
                <a:cubicBezTo>
                  <a:pt x="400" y="18"/>
                  <a:pt x="400" y="18"/>
                  <a:pt x="401" y="18"/>
                </a:cubicBezTo>
                <a:cubicBezTo>
                  <a:pt x="401" y="18"/>
                  <a:pt x="401" y="18"/>
                  <a:pt x="401" y="18"/>
                </a:cubicBezTo>
                <a:moveTo>
                  <a:pt x="609" y="325"/>
                </a:moveTo>
                <a:cubicBezTo>
                  <a:pt x="608" y="313"/>
                  <a:pt x="607" y="300"/>
                  <a:pt x="605" y="288"/>
                </a:cubicBezTo>
                <a:cubicBezTo>
                  <a:pt x="590" y="288"/>
                  <a:pt x="575" y="288"/>
                  <a:pt x="558" y="288"/>
                </a:cubicBezTo>
                <a:cubicBezTo>
                  <a:pt x="537" y="287"/>
                  <a:pt x="514" y="287"/>
                  <a:pt x="492" y="287"/>
                </a:cubicBezTo>
                <a:cubicBezTo>
                  <a:pt x="492" y="287"/>
                  <a:pt x="490" y="292"/>
                  <a:pt x="489" y="294"/>
                </a:cubicBezTo>
                <a:cubicBezTo>
                  <a:pt x="488" y="294"/>
                  <a:pt x="488" y="294"/>
                  <a:pt x="488" y="294"/>
                </a:cubicBezTo>
                <a:cubicBezTo>
                  <a:pt x="488" y="295"/>
                  <a:pt x="488" y="295"/>
                  <a:pt x="488" y="295"/>
                </a:cubicBezTo>
                <a:cubicBezTo>
                  <a:pt x="487" y="295"/>
                  <a:pt x="487" y="295"/>
                  <a:pt x="487" y="295"/>
                </a:cubicBezTo>
                <a:cubicBezTo>
                  <a:pt x="486" y="295"/>
                  <a:pt x="486" y="295"/>
                  <a:pt x="484" y="295"/>
                </a:cubicBezTo>
                <a:cubicBezTo>
                  <a:pt x="484" y="295"/>
                  <a:pt x="484" y="295"/>
                  <a:pt x="484" y="295"/>
                </a:cubicBezTo>
                <a:cubicBezTo>
                  <a:pt x="483" y="295"/>
                  <a:pt x="483" y="295"/>
                  <a:pt x="483" y="295"/>
                </a:cubicBezTo>
                <a:cubicBezTo>
                  <a:pt x="482" y="296"/>
                  <a:pt x="482" y="296"/>
                  <a:pt x="482" y="296"/>
                </a:cubicBezTo>
                <a:cubicBezTo>
                  <a:pt x="482" y="296"/>
                  <a:pt x="482" y="296"/>
                  <a:pt x="482" y="296"/>
                </a:cubicBezTo>
                <a:cubicBezTo>
                  <a:pt x="481" y="296"/>
                  <a:pt x="481" y="296"/>
                  <a:pt x="480" y="296"/>
                </a:cubicBezTo>
                <a:cubicBezTo>
                  <a:pt x="480" y="295"/>
                  <a:pt x="479" y="295"/>
                  <a:pt x="479" y="295"/>
                </a:cubicBezTo>
                <a:cubicBezTo>
                  <a:pt x="479" y="295"/>
                  <a:pt x="478" y="294"/>
                  <a:pt x="478" y="294"/>
                </a:cubicBezTo>
                <a:cubicBezTo>
                  <a:pt x="478" y="294"/>
                  <a:pt x="475" y="294"/>
                  <a:pt x="473" y="294"/>
                </a:cubicBezTo>
                <a:cubicBezTo>
                  <a:pt x="473" y="294"/>
                  <a:pt x="473" y="294"/>
                  <a:pt x="473" y="294"/>
                </a:cubicBezTo>
                <a:cubicBezTo>
                  <a:pt x="472" y="294"/>
                  <a:pt x="472" y="294"/>
                  <a:pt x="472" y="294"/>
                </a:cubicBezTo>
                <a:cubicBezTo>
                  <a:pt x="471" y="294"/>
                  <a:pt x="471" y="294"/>
                  <a:pt x="471" y="294"/>
                </a:cubicBezTo>
                <a:cubicBezTo>
                  <a:pt x="473" y="295"/>
                  <a:pt x="474" y="295"/>
                  <a:pt x="477" y="296"/>
                </a:cubicBezTo>
                <a:cubicBezTo>
                  <a:pt x="478" y="296"/>
                  <a:pt x="478" y="297"/>
                  <a:pt x="478" y="297"/>
                </a:cubicBezTo>
                <a:cubicBezTo>
                  <a:pt x="478" y="298"/>
                  <a:pt x="478" y="298"/>
                  <a:pt x="478" y="298"/>
                </a:cubicBezTo>
                <a:cubicBezTo>
                  <a:pt x="478" y="299"/>
                  <a:pt x="478" y="299"/>
                  <a:pt x="479" y="300"/>
                </a:cubicBezTo>
                <a:cubicBezTo>
                  <a:pt x="479" y="300"/>
                  <a:pt x="479" y="301"/>
                  <a:pt x="479" y="301"/>
                </a:cubicBezTo>
                <a:cubicBezTo>
                  <a:pt x="479" y="302"/>
                  <a:pt x="479" y="302"/>
                  <a:pt x="479" y="302"/>
                </a:cubicBezTo>
                <a:cubicBezTo>
                  <a:pt x="479" y="303"/>
                  <a:pt x="479" y="303"/>
                  <a:pt x="479" y="303"/>
                </a:cubicBezTo>
                <a:cubicBezTo>
                  <a:pt x="479" y="306"/>
                  <a:pt x="482" y="308"/>
                  <a:pt x="483" y="311"/>
                </a:cubicBezTo>
                <a:cubicBezTo>
                  <a:pt x="485" y="314"/>
                  <a:pt x="486" y="314"/>
                  <a:pt x="487" y="315"/>
                </a:cubicBezTo>
                <a:cubicBezTo>
                  <a:pt x="488" y="315"/>
                  <a:pt x="488" y="315"/>
                  <a:pt x="489" y="315"/>
                </a:cubicBezTo>
                <a:cubicBezTo>
                  <a:pt x="491" y="316"/>
                  <a:pt x="491" y="313"/>
                  <a:pt x="492" y="312"/>
                </a:cubicBezTo>
                <a:cubicBezTo>
                  <a:pt x="492" y="313"/>
                  <a:pt x="493" y="313"/>
                  <a:pt x="493" y="313"/>
                </a:cubicBezTo>
                <a:cubicBezTo>
                  <a:pt x="495" y="316"/>
                  <a:pt x="498" y="318"/>
                  <a:pt x="499" y="321"/>
                </a:cubicBezTo>
                <a:cubicBezTo>
                  <a:pt x="505" y="332"/>
                  <a:pt x="505" y="332"/>
                  <a:pt x="505" y="332"/>
                </a:cubicBezTo>
                <a:cubicBezTo>
                  <a:pt x="505" y="333"/>
                  <a:pt x="505" y="333"/>
                  <a:pt x="505" y="333"/>
                </a:cubicBezTo>
                <a:cubicBezTo>
                  <a:pt x="504" y="335"/>
                  <a:pt x="504" y="337"/>
                  <a:pt x="505" y="339"/>
                </a:cubicBezTo>
                <a:cubicBezTo>
                  <a:pt x="506" y="341"/>
                  <a:pt x="509" y="340"/>
                  <a:pt x="510" y="341"/>
                </a:cubicBezTo>
                <a:cubicBezTo>
                  <a:pt x="511" y="342"/>
                  <a:pt x="516" y="352"/>
                  <a:pt x="516" y="352"/>
                </a:cubicBezTo>
                <a:cubicBezTo>
                  <a:pt x="518" y="356"/>
                  <a:pt x="514" y="362"/>
                  <a:pt x="519" y="364"/>
                </a:cubicBezTo>
                <a:cubicBezTo>
                  <a:pt x="519" y="364"/>
                  <a:pt x="525" y="368"/>
                  <a:pt x="527" y="373"/>
                </a:cubicBezTo>
                <a:cubicBezTo>
                  <a:pt x="527" y="376"/>
                  <a:pt x="528" y="376"/>
                  <a:pt x="529" y="377"/>
                </a:cubicBezTo>
                <a:cubicBezTo>
                  <a:pt x="531" y="379"/>
                  <a:pt x="531" y="379"/>
                  <a:pt x="538" y="397"/>
                </a:cubicBezTo>
                <a:cubicBezTo>
                  <a:pt x="538" y="401"/>
                  <a:pt x="538" y="404"/>
                  <a:pt x="538" y="408"/>
                </a:cubicBezTo>
                <a:cubicBezTo>
                  <a:pt x="539" y="414"/>
                  <a:pt x="547" y="415"/>
                  <a:pt x="549" y="412"/>
                </a:cubicBezTo>
                <a:cubicBezTo>
                  <a:pt x="553" y="408"/>
                  <a:pt x="553" y="408"/>
                  <a:pt x="555" y="407"/>
                </a:cubicBezTo>
                <a:cubicBezTo>
                  <a:pt x="557" y="407"/>
                  <a:pt x="559" y="407"/>
                  <a:pt x="561" y="407"/>
                </a:cubicBezTo>
                <a:cubicBezTo>
                  <a:pt x="561" y="407"/>
                  <a:pt x="561" y="407"/>
                  <a:pt x="561" y="407"/>
                </a:cubicBezTo>
                <a:cubicBezTo>
                  <a:pt x="562" y="408"/>
                  <a:pt x="562" y="408"/>
                  <a:pt x="563" y="408"/>
                </a:cubicBezTo>
                <a:cubicBezTo>
                  <a:pt x="563" y="408"/>
                  <a:pt x="563" y="408"/>
                  <a:pt x="563" y="408"/>
                </a:cubicBezTo>
                <a:cubicBezTo>
                  <a:pt x="564" y="408"/>
                  <a:pt x="564" y="407"/>
                  <a:pt x="565" y="406"/>
                </a:cubicBezTo>
                <a:cubicBezTo>
                  <a:pt x="569" y="400"/>
                  <a:pt x="577" y="402"/>
                  <a:pt x="582" y="397"/>
                </a:cubicBezTo>
                <a:cubicBezTo>
                  <a:pt x="583" y="396"/>
                  <a:pt x="583" y="396"/>
                  <a:pt x="586" y="396"/>
                </a:cubicBezTo>
                <a:cubicBezTo>
                  <a:pt x="587" y="395"/>
                  <a:pt x="587" y="395"/>
                  <a:pt x="587" y="395"/>
                </a:cubicBezTo>
                <a:cubicBezTo>
                  <a:pt x="587" y="392"/>
                  <a:pt x="587" y="392"/>
                  <a:pt x="588" y="391"/>
                </a:cubicBezTo>
                <a:cubicBezTo>
                  <a:pt x="589" y="391"/>
                  <a:pt x="589" y="391"/>
                  <a:pt x="591" y="390"/>
                </a:cubicBezTo>
                <a:cubicBezTo>
                  <a:pt x="593" y="389"/>
                  <a:pt x="593" y="389"/>
                  <a:pt x="601" y="389"/>
                </a:cubicBezTo>
                <a:cubicBezTo>
                  <a:pt x="601" y="389"/>
                  <a:pt x="601" y="385"/>
                  <a:pt x="603" y="382"/>
                </a:cubicBezTo>
                <a:cubicBezTo>
                  <a:pt x="605" y="382"/>
                  <a:pt x="606" y="382"/>
                  <a:pt x="608" y="382"/>
                </a:cubicBezTo>
                <a:cubicBezTo>
                  <a:pt x="609" y="379"/>
                  <a:pt x="610" y="376"/>
                  <a:pt x="610" y="376"/>
                </a:cubicBezTo>
                <a:cubicBezTo>
                  <a:pt x="611" y="365"/>
                  <a:pt x="610" y="354"/>
                  <a:pt x="610" y="342"/>
                </a:cubicBezTo>
                <a:cubicBezTo>
                  <a:pt x="609" y="343"/>
                  <a:pt x="609" y="343"/>
                  <a:pt x="609" y="343"/>
                </a:cubicBezTo>
                <a:cubicBezTo>
                  <a:pt x="608" y="342"/>
                  <a:pt x="609" y="340"/>
                  <a:pt x="608" y="339"/>
                </a:cubicBezTo>
                <a:cubicBezTo>
                  <a:pt x="607" y="339"/>
                  <a:pt x="607" y="339"/>
                  <a:pt x="607" y="338"/>
                </a:cubicBezTo>
                <a:cubicBezTo>
                  <a:pt x="607" y="335"/>
                  <a:pt x="606" y="333"/>
                  <a:pt x="606" y="331"/>
                </a:cubicBezTo>
                <a:cubicBezTo>
                  <a:pt x="606" y="330"/>
                  <a:pt x="606" y="330"/>
                  <a:pt x="605" y="329"/>
                </a:cubicBezTo>
                <a:cubicBezTo>
                  <a:pt x="602" y="331"/>
                  <a:pt x="602" y="331"/>
                  <a:pt x="601" y="340"/>
                </a:cubicBezTo>
                <a:cubicBezTo>
                  <a:pt x="600" y="340"/>
                  <a:pt x="599" y="340"/>
                  <a:pt x="597" y="340"/>
                </a:cubicBezTo>
                <a:cubicBezTo>
                  <a:pt x="596" y="340"/>
                  <a:pt x="596" y="340"/>
                  <a:pt x="596" y="340"/>
                </a:cubicBezTo>
                <a:cubicBezTo>
                  <a:pt x="595" y="340"/>
                  <a:pt x="594" y="339"/>
                  <a:pt x="593" y="339"/>
                </a:cubicBezTo>
                <a:cubicBezTo>
                  <a:pt x="592" y="339"/>
                  <a:pt x="592" y="339"/>
                  <a:pt x="592" y="339"/>
                </a:cubicBezTo>
                <a:cubicBezTo>
                  <a:pt x="589" y="341"/>
                  <a:pt x="589" y="341"/>
                  <a:pt x="588" y="343"/>
                </a:cubicBezTo>
                <a:cubicBezTo>
                  <a:pt x="588" y="343"/>
                  <a:pt x="584" y="342"/>
                  <a:pt x="584" y="337"/>
                </a:cubicBezTo>
                <a:cubicBezTo>
                  <a:pt x="584" y="337"/>
                  <a:pt x="584" y="336"/>
                  <a:pt x="585" y="336"/>
                </a:cubicBezTo>
                <a:cubicBezTo>
                  <a:pt x="586" y="335"/>
                  <a:pt x="586" y="335"/>
                  <a:pt x="587" y="335"/>
                </a:cubicBezTo>
                <a:cubicBezTo>
                  <a:pt x="587" y="335"/>
                  <a:pt x="588" y="335"/>
                  <a:pt x="588" y="335"/>
                </a:cubicBezTo>
                <a:cubicBezTo>
                  <a:pt x="594" y="338"/>
                  <a:pt x="594" y="334"/>
                  <a:pt x="594" y="334"/>
                </a:cubicBezTo>
                <a:cubicBezTo>
                  <a:pt x="593" y="334"/>
                  <a:pt x="593" y="334"/>
                  <a:pt x="593" y="334"/>
                </a:cubicBezTo>
                <a:cubicBezTo>
                  <a:pt x="592" y="333"/>
                  <a:pt x="592" y="333"/>
                  <a:pt x="591" y="333"/>
                </a:cubicBezTo>
                <a:cubicBezTo>
                  <a:pt x="591" y="333"/>
                  <a:pt x="590" y="333"/>
                  <a:pt x="590" y="334"/>
                </a:cubicBezTo>
                <a:cubicBezTo>
                  <a:pt x="589" y="334"/>
                  <a:pt x="589" y="334"/>
                  <a:pt x="588" y="334"/>
                </a:cubicBezTo>
                <a:cubicBezTo>
                  <a:pt x="585" y="333"/>
                  <a:pt x="582" y="333"/>
                  <a:pt x="580" y="332"/>
                </a:cubicBezTo>
                <a:cubicBezTo>
                  <a:pt x="579" y="332"/>
                  <a:pt x="578" y="332"/>
                  <a:pt x="578" y="332"/>
                </a:cubicBezTo>
                <a:cubicBezTo>
                  <a:pt x="578" y="330"/>
                  <a:pt x="578" y="327"/>
                  <a:pt x="577" y="325"/>
                </a:cubicBezTo>
                <a:cubicBezTo>
                  <a:pt x="576" y="324"/>
                  <a:pt x="576" y="324"/>
                  <a:pt x="570" y="321"/>
                </a:cubicBezTo>
                <a:cubicBezTo>
                  <a:pt x="568" y="316"/>
                  <a:pt x="565" y="311"/>
                  <a:pt x="565" y="305"/>
                </a:cubicBezTo>
                <a:cubicBezTo>
                  <a:pt x="566" y="301"/>
                  <a:pt x="571" y="303"/>
                  <a:pt x="572" y="303"/>
                </a:cubicBezTo>
                <a:cubicBezTo>
                  <a:pt x="572" y="304"/>
                  <a:pt x="572" y="304"/>
                  <a:pt x="576" y="308"/>
                </a:cubicBezTo>
                <a:cubicBezTo>
                  <a:pt x="578" y="310"/>
                  <a:pt x="578" y="310"/>
                  <a:pt x="580" y="314"/>
                </a:cubicBezTo>
                <a:cubicBezTo>
                  <a:pt x="581" y="317"/>
                  <a:pt x="584" y="317"/>
                  <a:pt x="586" y="319"/>
                </a:cubicBezTo>
                <a:cubicBezTo>
                  <a:pt x="589" y="323"/>
                  <a:pt x="590" y="323"/>
                  <a:pt x="598" y="324"/>
                </a:cubicBezTo>
                <a:cubicBezTo>
                  <a:pt x="599" y="324"/>
                  <a:pt x="599" y="324"/>
                  <a:pt x="599" y="324"/>
                </a:cubicBezTo>
                <a:cubicBezTo>
                  <a:pt x="599" y="324"/>
                  <a:pt x="600" y="324"/>
                  <a:pt x="600" y="324"/>
                </a:cubicBezTo>
                <a:cubicBezTo>
                  <a:pt x="601" y="324"/>
                  <a:pt x="602" y="324"/>
                  <a:pt x="604" y="323"/>
                </a:cubicBezTo>
                <a:cubicBezTo>
                  <a:pt x="604" y="323"/>
                  <a:pt x="605" y="323"/>
                  <a:pt x="605" y="323"/>
                </a:cubicBezTo>
                <a:cubicBezTo>
                  <a:pt x="607" y="323"/>
                  <a:pt x="607" y="323"/>
                  <a:pt x="609" y="325"/>
                </a:cubicBezTo>
                <a:cubicBezTo>
                  <a:pt x="609" y="325"/>
                  <a:pt x="609" y="325"/>
                  <a:pt x="609" y="325"/>
                </a:cubicBezTo>
                <a:moveTo>
                  <a:pt x="680" y="160"/>
                </a:moveTo>
                <a:cubicBezTo>
                  <a:pt x="671" y="147"/>
                  <a:pt x="657" y="130"/>
                  <a:pt x="646" y="118"/>
                </a:cubicBezTo>
                <a:cubicBezTo>
                  <a:pt x="649" y="120"/>
                  <a:pt x="614" y="121"/>
                  <a:pt x="550" y="121"/>
                </a:cubicBezTo>
                <a:cubicBezTo>
                  <a:pt x="577" y="168"/>
                  <a:pt x="596" y="225"/>
                  <a:pt x="605" y="288"/>
                </a:cubicBezTo>
                <a:cubicBezTo>
                  <a:pt x="690" y="289"/>
                  <a:pt x="736" y="287"/>
                  <a:pt x="736" y="284"/>
                </a:cubicBezTo>
                <a:cubicBezTo>
                  <a:pt x="730" y="264"/>
                  <a:pt x="730" y="264"/>
                  <a:pt x="730" y="264"/>
                </a:cubicBezTo>
                <a:cubicBezTo>
                  <a:pt x="718" y="228"/>
                  <a:pt x="718" y="227"/>
                  <a:pt x="709" y="210"/>
                </a:cubicBezTo>
                <a:cubicBezTo>
                  <a:pt x="693" y="178"/>
                  <a:pt x="690" y="173"/>
                  <a:pt x="680" y="160"/>
                </a:cubicBezTo>
                <a:moveTo>
                  <a:pt x="415" y="119"/>
                </a:moveTo>
                <a:cubicBezTo>
                  <a:pt x="416" y="119"/>
                  <a:pt x="418" y="119"/>
                  <a:pt x="420" y="119"/>
                </a:cubicBezTo>
                <a:cubicBezTo>
                  <a:pt x="419" y="119"/>
                  <a:pt x="419" y="119"/>
                  <a:pt x="419" y="119"/>
                </a:cubicBezTo>
                <a:cubicBezTo>
                  <a:pt x="418" y="119"/>
                  <a:pt x="418" y="119"/>
                  <a:pt x="418" y="119"/>
                </a:cubicBezTo>
                <a:cubicBezTo>
                  <a:pt x="418" y="119"/>
                  <a:pt x="418" y="119"/>
                  <a:pt x="418" y="119"/>
                </a:cubicBezTo>
                <a:cubicBezTo>
                  <a:pt x="418" y="119"/>
                  <a:pt x="418" y="119"/>
                  <a:pt x="417" y="118"/>
                </a:cubicBezTo>
                <a:cubicBezTo>
                  <a:pt x="417" y="117"/>
                  <a:pt x="417" y="117"/>
                  <a:pt x="417" y="117"/>
                </a:cubicBezTo>
                <a:cubicBezTo>
                  <a:pt x="417" y="117"/>
                  <a:pt x="417" y="117"/>
                  <a:pt x="417" y="117"/>
                </a:cubicBezTo>
                <a:cubicBezTo>
                  <a:pt x="416" y="117"/>
                  <a:pt x="416" y="117"/>
                  <a:pt x="415" y="117"/>
                </a:cubicBezTo>
                <a:cubicBezTo>
                  <a:pt x="415" y="117"/>
                  <a:pt x="415" y="117"/>
                  <a:pt x="415" y="117"/>
                </a:cubicBezTo>
                <a:cubicBezTo>
                  <a:pt x="414" y="118"/>
                  <a:pt x="414" y="118"/>
                  <a:pt x="414" y="118"/>
                </a:cubicBezTo>
                <a:cubicBezTo>
                  <a:pt x="414" y="118"/>
                  <a:pt x="414" y="118"/>
                  <a:pt x="414" y="118"/>
                </a:cubicBezTo>
                <a:cubicBezTo>
                  <a:pt x="415" y="119"/>
                  <a:pt x="415" y="119"/>
                  <a:pt x="415" y="119"/>
                </a:cubicBezTo>
                <a:moveTo>
                  <a:pt x="416" y="52"/>
                </a:moveTo>
                <a:cubicBezTo>
                  <a:pt x="416" y="51"/>
                  <a:pt x="416" y="50"/>
                  <a:pt x="415" y="50"/>
                </a:cubicBezTo>
                <a:cubicBezTo>
                  <a:pt x="415" y="50"/>
                  <a:pt x="415" y="50"/>
                  <a:pt x="415" y="50"/>
                </a:cubicBezTo>
                <a:cubicBezTo>
                  <a:pt x="415" y="50"/>
                  <a:pt x="415" y="50"/>
                  <a:pt x="415" y="50"/>
                </a:cubicBezTo>
                <a:cubicBezTo>
                  <a:pt x="414" y="50"/>
                  <a:pt x="414" y="50"/>
                  <a:pt x="413" y="50"/>
                </a:cubicBezTo>
                <a:cubicBezTo>
                  <a:pt x="414" y="50"/>
                  <a:pt x="414" y="50"/>
                  <a:pt x="414" y="50"/>
                </a:cubicBezTo>
                <a:cubicBezTo>
                  <a:pt x="414" y="51"/>
                  <a:pt x="414" y="51"/>
                  <a:pt x="414" y="51"/>
                </a:cubicBezTo>
                <a:cubicBezTo>
                  <a:pt x="414" y="51"/>
                  <a:pt x="414" y="52"/>
                  <a:pt x="414" y="52"/>
                </a:cubicBezTo>
                <a:cubicBezTo>
                  <a:pt x="415" y="52"/>
                  <a:pt x="415" y="52"/>
                  <a:pt x="416" y="52"/>
                </a:cubicBezTo>
                <a:moveTo>
                  <a:pt x="550" y="121"/>
                </a:moveTo>
                <a:cubicBezTo>
                  <a:pt x="537" y="99"/>
                  <a:pt x="522" y="79"/>
                  <a:pt x="507" y="62"/>
                </a:cubicBezTo>
                <a:cubicBezTo>
                  <a:pt x="507" y="63"/>
                  <a:pt x="507" y="63"/>
                  <a:pt x="507" y="63"/>
                </a:cubicBezTo>
                <a:cubicBezTo>
                  <a:pt x="506" y="64"/>
                  <a:pt x="506" y="64"/>
                  <a:pt x="506" y="64"/>
                </a:cubicBezTo>
                <a:cubicBezTo>
                  <a:pt x="505" y="63"/>
                  <a:pt x="504" y="63"/>
                  <a:pt x="504" y="63"/>
                </a:cubicBezTo>
                <a:cubicBezTo>
                  <a:pt x="504" y="63"/>
                  <a:pt x="504" y="63"/>
                  <a:pt x="503" y="63"/>
                </a:cubicBezTo>
                <a:cubicBezTo>
                  <a:pt x="503" y="64"/>
                  <a:pt x="504" y="65"/>
                  <a:pt x="504" y="65"/>
                </a:cubicBezTo>
                <a:cubicBezTo>
                  <a:pt x="504" y="65"/>
                  <a:pt x="503" y="65"/>
                  <a:pt x="503" y="65"/>
                </a:cubicBezTo>
                <a:cubicBezTo>
                  <a:pt x="501" y="64"/>
                  <a:pt x="501" y="64"/>
                  <a:pt x="498" y="61"/>
                </a:cubicBezTo>
                <a:cubicBezTo>
                  <a:pt x="497" y="62"/>
                  <a:pt x="497" y="62"/>
                  <a:pt x="497" y="62"/>
                </a:cubicBezTo>
                <a:cubicBezTo>
                  <a:pt x="497" y="62"/>
                  <a:pt x="497" y="62"/>
                  <a:pt x="496" y="62"/>
                </a:cubicBezTo>
                <a:cubicBezTo>
                  <a:pt x="496" y="63"/>
                  <a:pt x="496" y="63"/>
                  <a:pt x="496" y="63"/>
                </a:cubicBezTo>
                <a:cubicBezTo>
                  <a:pt x="495" y="63"/>
                  <a:pt x="495" y="63"/>
                  <a:pt x="495" y="63"/>
                </a:cubicBezTo>
                <a:cubicBezTo>
                  <a:pt x="494" y="63"/>
                  <a:pt x="494" y="63"/>
                  <a:pt x="494" y="63"/>
                </a:cubicBezTo>
                <a:cubicBezTo>
                  <a:pt x="494" y="64"/>
                  <a:pt x="493" y="64"/>
                  <a:pt x="493" y="64"/>
                </a:cubicBezTo>
                <a:cubicBezTo>
                  <a:pt x="492" y="65"/>
                  <a:pt x="492" y="65"/>
                  <a:pt x="492" y="65"/>
                </a:cubicBezTo>
                <a:cubicBezTo>
                  <a:pt x="490" y="65"/>
                  <a:pt x="490" y="65"/>
                  <a:pt x="490" y="67"/>
                </a:cubicBezTo>
                <a:cubicBezTo>
                  <a:pt x="489" y="67"/>
                  <a:pt x="489" y="67"/>
                  <a:pt x="488" y="67"/>
                </a:cubicBezTo>
                <a:cubicBezTo>
                  <a:pt x="487" y="68"/>
                  <a:pt x="487" y="68"/>
                  <a:pt x="487" y="68"/>
                </a:cubicBezTo>
                <a:cubicBezTo>
                  <a:pt x="490" y="70"/>
                  <a:pt x="490" y="70"/>
                  <a:pt x="490" y="70"/>
                </a:cubicBezTo>
                <a:cubicBezTo>
                  <a:pt x="489" y="72"/>
                  <a:pt x="489" y="72"/>
                  <a:pt x="486" y="73"/>
                </a:cubicBezTo>
                <a:cubicBezTo>
                  <a:pt x="486" y="73"/>
                  <a:pt x="486" y="73"/>
                  <a:pt x="486" y="73"/>
                </a:cubicBezTo>
                <a:cubicBezTo>
                  <a:pt x="480" y="69"/>
                  <a:pt x="480" y="69"/>
                  <a:pt x="480" y="68"/>
                </a:cubicBezTo>
                <a:cubicBezTo>
                  <a:pt x="481" y="68"/>
                  <a:pt x="482" y="68"/>
                  <a:pt x="483" y="68"/>
                </a:cubicBezTo>
                <a:cubicBezTo>
                  <a:pt x="483" y="67"/>
                  <a:pt x="482" y="66"/>
                  <a:pt x="482" y="65"/>
                </a:cubicBezTo>
                <a:cubicBezTo>
                  <a:pt x="481" y="65"/>
                  <a:pt x="481" y="65"/>
                  <a:pt x="480" y="65"/>
                </a:cubicBezTo>
                <a:cubicBezTo>
                  <a:pt x="479" y="64"/>
                  <a:pt x="479" y="64"/>
                  <a:pt x="477" y="63"/>
                </a:cubicBezTo>
                <a:cubicBezTo>
                  <a:pt x="477" y="63"/>
                  <a:pt x="477" y="63"/>
                  <a:pt x="476" y="63"/>
                </a:cubicBezTo>
                <a:cubicBezTo>
                  <a:pt x="476" y="63"/>
                  <a:pt x="476" y="63"/>
                  <a:pt x="476" y="63"/>
                </a:cubicBezTo>
                <a:cubicBezTo>
                  <a:pt x="475" y="62"/>
                  <a:pt x="475" y="62"/>
                  <a:pt x="473" y="62"/>
                </a:cubicBezTo>
                <a:cubicBezTo>
                  <a:pt x="472" y="62"/>
                  <a:pt x="472" y="62"/>
                  <a:pt x="472" y="62"/>
                </a:cubicBezTo>
                <a:cubicBezTo>
                  <a:pt x="471" y="63"/>
                  <a:pt x="471" y="63"/>
                  <a:pt x="472" y="63"/>
                </a:cubicBezTo>
                <a:cubicBezTo>
                  <a:pt x="472" y="64"/>
                  <a:pt x="472" y="64"/>
                  <a:pt x="473" y="64"/>
                </a:cubicBezTo>
                <a:cubicBezTo>
                  <a:pt x="475" y="65"/>
                  <a:pt x="476" y="67"/>
                  <a:pt x="476" y="68"/>
                </a:cubicBezTo>
                <a:cubicBezTo>
                  <a:pt x="476" y="69"/>
                  <a:pt x="476" y="70"/>
                  <a:pt x="478" y="71"/>
                </a:cubicBezTo>
                <a:cubicBezTo>
                  <a:pt x="479" y="71"/>
                  <a:pt x="479" y="71"/>
                  <a:pt x="481" y="73"/>
                </a:cubicBezTo>
                <a:cubicBezTo>
                  <a:pt x="481" y="73"/>
                  <a:pt x="481" y="73"/>
                  <a:pt x="481" y="73"/>
                </a:cubicBezTo>
                <a:cubicBezTo>
                  <a:pt x="481" y="75"/>
                  <a:pt x="482" y="76"/>
                  <a:pt x="483" y="77"/>
                </a:cubicBezTo>
                <a:cubicBezTo>
                  <a:pt x="480" y="77"/>
                  <a:pt x="480" y="77"/>
                  <a:pt x="480" y="76"/>
                </a:cubicBezTo>
                <a:cubicBezTo>
                  <a:pt x="479" y="75"/>
                  <a:pt x="479" y="75"/>
                  <a:pt x="479" y="75"/>
                </a:cubicBezTo>
                <a:cubicBezTo>
                  <a:pt x="479" y="75"/>
                  <a:pt x="479" y="75"/>
                  <a:pt x="474" y="75"/>
                </a:cubicBezTo>
                <a:cubicBezTo>
                  <a:pt x="474" y="76"/>
                  <a:pt x="474" y="77"/>
                  <a:pt x="474" y="77"/>
                </a:cubicBezTo>
                <a:cubicBezTo>
                  <a:pt x="471" y="78"/>
                  <a:pt x="471" y="78"/>
                  <a:pt x="471" y="80"/>
                </a:cubicBezTo>
                <a:cubicBezTo>
                  <a:pt x="470" y="80"/>
                  <a:pt x="470" y="80"/>
                  <a:pt x="470" y="80"/>
                </a:cubicBezTo>
                <a:cubicBezTo>
                  <a:pt x="470" y="80"/>
                  <a:pt x="470" y="80"/>
                  <a:pt x="470" y="80"/>
                </a:cubicBezTo>
                <a:cubicBezTo>
                  <a:pt x="471" y="82"/>
                  <a:pt x="474" y="83"/>
                  <a:pt x="475" y="85"/>
                </a:cubicBezTo>
                <a:cubicBezTo>
                  <a:pt x="474" y="85"/>
                  <a:pt x="474" y="85"/>
                  <a:pt x="474" y="85"/>
                </a:cubicBezTo>
                <a:cubicBezTo>
                  <a:pt x="471" y="85"/>
                  <a:pt x="471" y="85"/>
                  <a:pt x="470" y="85"/>
                </a:cubicBezTo>
                <a:cubicBezTo>
                  <a:pt x="470" y="85"/>
                  <a:pt x="470" y="85"/>
                  <a:pt x="469" y="85"/>
                </a:cubicBezTo>
                <a:cubicBezTo>
                  <a:pt x="464" y="84"/>
                  <a:pt x="462" y="82"/>
                  <a:pt x="462" y="81"/>
                </a:cubicBezTo>
                <a:cubicBezTo>
                  <a:pt x="461" y="82"/>
                  <a:pt x="461" y="82"/>
                  <a:pt x="460" y="83"/>
                </a:cubicBezTo>
                <a:cubicBezTo>
                  <a:pt x="460" y="84"/>
                  <a:pt x="460" y="85"/>
                  <a:pt x="463" y="85"/>
                </a:cubicBezTo>
                <a:cubicBezTo>
                  <a:pt x="463" y="86"/>
                  <a:pt x="463" y="86"/>
                  <a:pt x="463" y="86"/>
                </a:cubicBezTo>
                <a:cubicBezTo>
                  <a:pt x="464" y="87"/>
                  <a:pt x="464" y="87"/>
                  <a:pt x="464" y="87"/>
                </a:cubicBezTo>
                <a:cubicBezTo>
                  <a:pt x="466" y="87"/>
                  <a:pt x="467" y="87"/>
                  <a:pt x="468" y="88"/>
                </a:cubicBezTo>
                <a:cubicBezTo>
                  <a:pt x="468" y="89"/>
                  <a:pt x="468" y="89"/>
                  <a:pt x="468" y="89"/>
                </a:cubicBezTo>
                <a:cubicBezTo>
                  <a:pt x="467" y="89"/>
                  <a:pt x="466" y="89"/>
                  <a:pt x="465" y="89"/>
                </a:cubicBezTo>
                <a:cubicBezTo>
                  <a:pt x="464" y="90"/>
                  <a:pt x="464" y="90"/>
                  <a:pt x="464" y="90"/>
                </a:cubicBezTo>
                <a:cubicBezTo>
                  <a:pt x="455" y="83"/>
                  <a:pt x="455" y="83"/>
                  <a:pt x="455" y="83"/>
                </a:cubicBezTo>
                <a:cubicBezTo>
                  <a:pt x="454" y="83"/>
                  <a:pt x="453" y="83"/>
                  <a:pt x="453" y="83"/>
                </a:cubicBezTo>
                <a:cubicBezTo>
                  <a:pt x="452" y="80"/>
                  <a:pt x="452" y="80"/>
                  <a:pt x="452" y="80"/>
                </a:cubicBezTo>
                <a:cubicBezTo>
                  <a:pt x="450" y="75"/>
                  <a:pt x="443" y="75"/>
                  <a:pt x="441" y="70"/>
                </a:cubicBezTo>
                <a:cubicBezTo>
                  <a:pt x="443" y="71"/>
                  <a:pt x="452" y="74"/>
                  <a:pt x="452" y="74"/>
                </a:cubicBezTo>
                <a:cubicBezTo>
                  <a:pt x="454" y="74"/>
                  <a:pt x="455" y="75"/>
                  <a:pt x="457" y="75"/>
                </a:cubicBezTo>
                <a:cubicBezTo>
                  <a:pt x="459" y="75"/>
                  <a:pt x="460" y="76"/>
                  <a:pt x="462" y="76"/>
                </a:cubicBezTo>
                <a:cubicBezTo>
                  <a:pt x="463" y="76"/>
                  <a:pt x="463" y="76"/>
                  <a:pt x="464" y="76"/>
                </a:cubicBezTo>
                <a:cubicBezTo>
                  <a:pt x="464" y="76"/>
                  <a:pt x="464" y="76"/>
                  <a:pt x="464" y="76"/>
                </a:cubicBezTo>
                <a:cubicBezTo>
                  <a:pt x="477" y="72"/>
                  <a:pt x="464" y="66"/>
                  <a:pt x="464" y="66"/>
                </a:cubicBezTo>
                <a:cubicBezTo>
                  <a:pt x="454" y="62"/>
                  <a:pt x="454" y="62"/>
                  <a:pt x="454" y="62"/>
                </a:cubicBezTo>
                <a:cubicBezTo>
                  <a:pt x="453" y="61"/>
                  <a:pt x="452" y="61"/>
                  <a:pt x="451" y="61"/>
                </a:cubicBezTo>
                <a:cubicBezTo>
                  <a:pt x="450" y="60"/>
                  <a:pt x="450" y="60"/>
                  <a:pt x="447" y="60"/>
                </a:cubicBezTo>
                <a:cubicBezTo>
                  <a:pt x="446" y="60"/>
                  <a:pt x="446" y="60"/>
                  <a:pt x="446" y="60"/>
                </a:cubicBezTo>
                <a:cubicBezTo>
                  <a:pt x="445" y="60"/>
                  <a:pt x="444" y="59"/>
                  <a:pt x="443" y="58"/>
                </a:cubicBezTo>
                <a:cubicBezTo>
                  <a:pt x="442" y="58"/>
                  <a:pt x="441" y="58"/>
                  <a:pt x="441" y="58"/>
                </a:cubicBezTo>
                <a:cubicBezTo>
                  <a:pt x="441" y="59"/>
                  <a:pt x="441" y="59"/>
                  <a:pt x="441" y="59"/>
                </a:cubicBezTo>
                <a:cubicBezTo>
                  <a:pt x="440" y="60"/>
                  <a:pt x="440" y="60"/>
                  <a:pt x="440" y="60"/>
                </a:cubicBezTo>
                <a:cubicBezTo>
                  <a:pt x="439" y="59"/>
                  <a:pt x="439" y="59"/>
                  <a:pt x="439" y="59"/>
                </a:cubicBezTo>
                <a:cubicBezTo>
                  <a:pt x="439" y="59"/>
                  <a:pt x="439" y="58"/>
                  <a:pt x="439" y="58"/>
                </a:cubicBezTo>
                <a:cubicBezTo>
                  <a:pt x="439" y="57"/>
                  <a:pt x="439" y="57"/>
                  <a:pt x="439" y="57"/>
                </a:cubicBezTo>
                <a:cubicBezTo>
                  <a:pt x="438" y="57"/>
                  <a:pt x="437" y="57"/>
                  <a:pt x="436" y="55"/>
                </a:cubicBezTo>
                <a:cubicBezTo>
                  <a:pt x="436" y="55"/>
                  <a:pt x="435" y="55"/>
                  <a:pt x="435" y="55"/>
                </a:cubicBezTo>
                <a:cubicBezTo>
                  <a:pt x="434" y="56"/>
                  <a:pt x="434" y="56"/>
                  <a:pt x="434" y="56"/>
                </a:cubicBezTo>
                <a:cubicBezTo>
                  <a:pt x="432" y="56"/>
                  <a:pt x="431" y="55"/>
                  <a:pt x="429" y="54"/>
                </a:cubicBezTo>
                <a:cubicBezTo>
                  <a:pt x="428" y="54"/>
                  <a:pt x="428" y="54"/>
                  <a:pt x="428" y="54"/>
                </a:cubicBezTo>
                <a:cubicBezTo>
                  <a:pt x="428" y="54"/>
                  <a:pt x="429" y="54"/>
                  <a:pt x="429" y="54"/>
                </a:cubicBezTo>
                <a:cubicBezTo>
                  <a:pt x="429" y="53"/>
                  <a:pt x="429" y="53"/>
                  <a:pt x="430" y="52"/>
                </a:cubicBezTo>
                <a:cubicBezTo>
                  <a:pt x="429" y="52"/>
                  <a:pt x="427" y="50"/>
                  <a:pt x="423" y="50"/>
                </a:cubicBezTo>
                <a:cubicBezTo>
                  <a:pt x="423" y="50"/>
                  <a:pt x="423" y="51"/>
                  <a:pt x="423" y="51"/>
                </a:cubicBezTo>
                <a:cubicBezTo>
                  <a:pt x="423" y="51"/>
                  <a:pt x="423" y="51"/>
                  <a:pt x="422" y="51"/>
                </a:cubicBezTo>
                <a:cubicBezTo>
                  <a:pt x="422" y="51"/>
                  <a:pt x="421" y="51"/>
                  <a:pt x="421" y="50"/>
                </a:cubicBezTo>
                <a:cubicBezTo>
                  <a:pt x="422" y="49"/>
                  <a:pt x="422" y="49"/>
                  <a:pt x="422" y="49"/>
                </a:cubicBezTo>
                <a:cubicBezTo>
                  <a:pt x="422" y="49"/>
                  <a:pt x="422" y="49"/>
                  <a:pt x="422" y="49"/>
                </a:cubicBezTo>
                <a:cubicBezTo>
                  <a:pt x="418" y="48"/>
                  <a:pt x="418" y="48"/>
                  <a:pt x="418" y="48"/>
                </a:cubicBezTo>
                <a:cubicBezTo>
                  <a:pt x="418" y="49"/>
                  <a:pt x="418" y="50"/>
                  <a:pt x="418" y="50"/>
                </a:cubicBezTo>
                <a:cubicBezTo>
                  <a:pt x="418" y="51"/>
                  <a:pt x="418" y="51"/>
                  <a:pt x="418" y="52"/>
                </a:cubicBezTo>
                <a:cubicBezTo>
                  <a:pt x="418" y="52"/>
                  <a:pt x="418" y="52"/>
                  <a:pt x="418" y="52"/>
                </a:cubicBezTo>
                <a:cubicBezTo>
                  <a:pt x="418" y="50"/>
                  <a:pt x="418" y="50"/>
                  <a:pt x="417" y="49"/>
                </a:cubicBezTo>
                <a:cubicBezTo>
                  <a:pt x="416" y="49"/>
                  <a:pt x="416" y="49"/>
                  <a:pt x="415" y="49"/>
                </a:cubicBezTo>
                <a:cubicBezTo>
                  <a:pt x="415" y="48"/>
                  <a:pt x="415" y="48"/>
                  <a:pt x="415" y="48"/>
                </a:cubicBezTo>
                <a:cubicBezTo>
                  <a:pt x="414" y="48"/>
                  <a:pt x="414" y="48"/>
                  <a:pt x="414" y="48"/>
                </a:cubicBezTo>
                <a:cubicBezTo>
                  <a:pt x="414" y="48"/>
                  <a:pt x="414" y="48"/>
                  <a:pt x="414" y="48"/>
                </a:cubicBezTo>
                <a:cubicBezTo>
                  <a:pt x="413" y="48"/>
                  <a:pt x="412" y="49"/>
                  <a:pt x="411" y="49"/>
                </a:cubicBezTo>
                <a:cubicBezTo>
                  <a:pt x="411" y="50"/>
                  <a:pt x="411" y="50"/>
                  <a:pt x="410" y="51"/>
                </a:cubicBezTo>
                <a:cubicBezTo>
                  <a:pt x="410" y="51"/>
                  <a:pt x="410" y="51"/>
                  <a:pt x="410" y="51"/>
                </a:cubicBezTo>
                <a:cubicBezTo>
                  <a:pt x="409" y="50"/>
                  <a:pt x="409" y="50"/>
                  <a:pt x="409" y="50"/>
                </a:cubicBezTo>
                <a:cubicBezTo>
                  <a:pt x="409" y="50"/>
                  <a:pt x="409" y="50"/>
                  <a:pt x="409" y="49"/>
                </a:cubicBezTo>
                <a:cubicBezTo>
                  <a:pt x="409" y="49"/>
                  <a:pt x="408" y="49"/>
                  <a:pt x="407" y="49"/>
                </a:cubicBezTo>
                <a:cubicBezTo>
                  <a:pt x="406" y="49"/>
                  <a:pt x="405" y="49"/>
                  <a:pt x="404" y="50"/>
                </a:cubicBezTo>
                <a:cubicBezTo>
                  <a:pt x="405" y="52"/>
                  <a:pt x="405" y="52"/>
                  <a:pt x="407" y="52"/>
                </a:cubicBezTo>
                <a:cubicBezTo>
                  <a:pt x="408" y="53"/>
                  <a:pt x="408" y="53"/>
                  <a:pt x="408" y="54"/>
                </a:cubicBezTo>
                <a:cubicBezTo>
                  <a:pt x="408" y="54"/>
                  <a:pt x="407" y="54"/>
                  <a:pt x="407" y="54"/>
                </a:cubicBezTo>
                <a:cubicBezTo>
                  <a:pt x="406" y="53"/>
                  <a:pt x="406" y="53"/>
                  <a:pt x="404" y="53"/>
                </a:cubicBezTo>
                <a:cubicBezTo>
                  <a:pt x="402" y="53"/>
                  <a:pt x="402" y="53"/>
                  <a:pt x="402" y="53"/>
                </a:cubicBezTo>
                <a:cubicBezTo>
                  <a:pt x="402" y="55"/>
                  <a:pt x="402" y="55"/>
                  <a:pt x="402" y="56"/>
                </a:cubicBezTo>
                <a:cubicBezTo>
                  <a:pt x="401" y="55"/>
                  <a:pt x="401" y="54"/>
                  <a:pt x="401" y="54"/>
                </a:cubicBezTo>
                <a:cubicBezTo>
                  <a:pt x="399" y="54"/>
                  <a:pt x="398" y="52"/>
                  <a:pt x="396" y="52"/>
                </a:cubicBezTo>
                <a:cubicBezTo>
                  <a:pt x="396" y="52"/>
                  <a:pt x="396" y="53"/>
                  <a:pt x="396" y="53"/>
                </a:cubicBezTo>
                <a:cubicBezTo>
                  <a:pt x="397" y="56"/>
                  <a:pt x="395" y="57"/>
                  <a:pt x="394" y="57"/>
                </a:cubicBezTo>
                <a:cubicBezTo>
                  <a:pt x="394" y="57"/>
                  <a:pt x="393" y="56"/>
                  <a:pt x="393" y="55"/>
                </a:cubicBezTo>
                <a:cubicBezTo>
                  <a:pt x="393" y="56"/>
                  <a:pt x="393" y="56"/>
                  <a:pt x="393" y="56"/>
                </a:cubicBezTo>
                <a:cubicBezTo>
                  <a:pt x="392" y="56"/>
                  <a:pt x="392" y="56"/>
                  <a:pt x="391" y="56"/>
                </a:cubicBezTo>
                <a:cubicBezTo>
                  <a:pt x="391" y="57"/>
                  <a:pt x="391" y="57"/>
                  <a:pt x="391" y="57"/>
                </a:cubicBezTo>
                <a:cubicBezTo>
                  <a:pt x="391" y="58"/>
                  <a:pt x="392" y="58"/>
                  <a:pt x="392" y="59"/>
                </a:cubicBezTo>
                <a:cubicBezTo>
                  <a:pt x="392" y="59"/>
                  <a:pt x="392" y="60"/>
                  <a:pt x="392" y="60"/>
                </a:cubicBezTo>
                <a:cubicBezTo>
                  <a:pt x="391" y="60"/>
                  <a:pt x="391" y="60"/>
                  <a:pt x="391" y="60"/>
                </a:cubicBezTo>
                <a:cubicBezTo>
                  <a:pt x="391" y="60"/>
                  <a:pt x="391" y="60"/>
                  <a:pt x="388" y="59"/>
                </a:cubicBezTo>
                <a:cubicBezTo>
                  <a:pt x="389" y="59"/>
                  <a:pt x="389" y="58"/>
                  <a:pt x="389" y="57"/>
                </a:cubicBezTo>
                <a:cubicBezTo>
                  <a:pt x="388" y="57"/>
                  <a:pt x="388" y="57"/>
                  <a:pt x="388" y="57"/>
                </a:cubicBezTo>
                <a:cubicBezTo>
                  <a:pt x="388" y="58"/>
                  <a:pt x="388" y="58"/>
                  <a:pt x="388" y="59"/>
                </a:cubicBezTo>
                <a:cubicBezTo>
                  <a:pt x="385" y="59"/>
                  <a:pt x="385" y="59"/>
                  <a:pt x="384" y="59"/>
                </a:cubicBezTo>
                <a:cubicBezTo>
                  <a:pt x="385" y="60"/>
                  <a:pt x="385" y="60"/>
                  <a:pt x="385" y="60"/>
                </a:cubicBezTo>
                <a:cubicBezTo>
                  <a:pt x="384" y="61"/>
                  <a:pt x="384" y="61"/>
                  <a:pt x="384" y="61"/>
                </a:cubicBezTo>
                <a:cubicBezTo>
                  <a:pt x="382" y="61"/>
                  <a:pt x="382" y="61"/>
                  <a:pt x="381" y="62"/>
                </a:cubicBezTo>
                <a:cubicBezTo>
                  <a:pt x="380" y="62"/>
                  <a:pt x="380" y="62"/>
                  <a:pt x="380" y="62"/>
                </a:cubicBezTo>
                <a:cubicBezTo>
                  <a:pt x="380" y="64"/>
                  <a:pt x="380" y="64"/>
                  <a:pt x="380" y="64"/>
                </a:cubicBezTo>
                <a:cubicBezTo>
                  <a:pt x="379" y="64"/>
                  <a:pt x="379" y="64"/>
                  <a:pt x="379" y="64"/>
                </a:cubicBezTo>
                <a:cubicBezTo>
                  <a:pt x="378" y="65"/>
                  <a:pt x="378" y="65"/>
                  <a:pt x="378" y="65"/>
                </a:cubicBezTo>
                <a:cubicBezTo>
                  <a:pt x="379" y="65"/>
                  <a:pt x="379" y="65"/>
                  <a:pt x="379" y="65"/>
                </a:cubicBezTo>
                <a:cubicBezTo>
                  <a:pt x="382" y="63"/>
                  <a:pt x="382" y="63"/>
                  <a:pt x="383" y="63"/>
                </a:cubicBezTo>
                <a:cubicBezTo>
                  <a:pt x="386" y="61"/>
                  <a:pt x="388" y="62"/>
                  <a:pt x="390" y="62"/>
                </a:cubicBezTo>
                <a:cubicBezTo>
                  <a:pt x="390" y="62"/>
                  <a:pt x="390" y="63"/>
                  <a:pt x="390" y="63"/>
                </a:cubicBezTo>
                <a:cubicBezTo>
                  <a:pt x="389" y="63"/>
                  <a:pt x="389" y="63"/>
                  <a:pt x="386" y="64"/>
                </a:cubicBezTo>
                <a:cubicBezTo>
                  <a:pt x="386" y="65"/>
                  <a:pt x="385" y="66"/>
                  <a:pt x="385" y="68"/>
                </a:cubicBezTo>
                <a:cubicBezTo>
                  <a:pt x="384" y="68"/>
                  <a:pt x="383" y="69"/>
                  <a:pt x="383" y="69"/>
                </a:cubicBezTo>
                <a:cubicBezTo>
                  <a:pt x="382" y="71"/>
                  <a:pt x="379" y="72"/>
                  <a:pt x="379" y="72"/>
                </a:cubicBezTo>
                <a:cubicBezTo>
                  <a:pt x="378" y="74"/>
                  <a:pt x="377" y="76"/>
                  <a:pt x="377" y="78"/>
                </a:cubicBezTo>
                <a:cubicBezTo>
                  <a:pt x="376" y="78"/>
                  <a:pt x="376" y="78"/>
                  <a:pt x="376" y="78"/>
                </a:cubicBezTo>
                <a:cubicBezTo>
                  <a:pt x="376" y="78"/>
                  <a:pt x="375" y="79"/>
                  <a:pt x="371" y="81"/>
                </a:cubicBezTo>
                <a:cubicBezTo>
                  <a:pt x="370" y="82"/>
                  <a:pt x="370" y="82"/>
                  <a:pt x="370" y="82"/>
                </a:cubicBezTo>
                <a:cubicBezTo>
                  <a:pt x="371" y="82"/>
                  <a:pt x="371" y="82"/>
                  <a:pt x="371" y="82"/>
                </a:cubicBezTo>
                <a:cubicBezTo>
                  <a:pt x="372" y="82"/>
                  <a:pt x="373" y="82"/>
                  <a:pt x="373" y="82"/>
                </a:cubicBezTo>
                <a:cubicBezTo>
                  <a:pt x="372" y="86"/>
                  <a:pt x="367" y="86"/>
                  <a:pt x="365" y="89"/>
                </a:cubicBezTo>
                <a:cubicBezTo>
                  <a:pt x="364" y="89"/>
                  <a:pt x="363" y="89"/>
                  <a:pt x="363" y="88"/>
                </a:cubicBezTo>
                <a:cubicBezTo>
                  <a:pt x="362" y="88"/>
                  <a:pt x="361" y="88"/>
                  <a:pt x="361" y="88"/>
                </a:cubicBezTo>
                <a:cubicBezTo>
                  <a:pt x="361" y="90"/>
                  <a:pt x="361" y="90"/>
                  <a:pt x="361" y="90"/>
                </a:cubicBezTo>
                <a:cubicBezTo>
                  <a:pt x="361" y="90"/>
                  <a:pt x="361" y="91"/>
                  <a:pt x="361" y="91"/>
                </a:cubicBezTo>
                <a:cubicBezTo>
                  <a:pt x="360" y="91"/>
                  <a:pt x="360" y="92"/>
                  <a:pt x="359" y="92"/>
                </a:cubicBezTo>
                <a:cubicBezTo>
                  <a:pt x="358" y="92"/>
                  <a:pt x="358" y="92"/>
                  <a:pt x="358" y="92"/>
                </a:cubicBezTo>
                <a:cubicBezTo>
                  <a:pt x="358" y="92"/>
                  <a:pt x="358" y="92"/>
                  <a:pt x="358" y="92"/>
                </a:cubicBezTo>
                <a:cubicBezTo>
                  <a:pt x="358" y="92"/>
                  <a:pt x="358" y="92"/>
                  <a:pt x="358" y="92"/>
                </a:cubicBezTo>
                <a:cubicBezTo>
                  <a:pt x="358" y="92"/>
                  <a:pt x="358" y="92"/>
                  <a:pt x="358" y="92"/>
                </a:cubicBezTo>
                <a:cubicBezTo>
                  <a:pt x="358" y="92"/>
                  <a:pt x="358" y="92"/>
                  <a:pt x="358" y="92"/>
                </a:cubicBezTo>
                <a:cubicBezTo>
                  <a:pt x="358" y="92"/>
                  <a:pt x="358" y="92"/>
                  <a:pt x="358" y="92"/>
                </a:cubicBezTo>
                <a:cubicBezTo>
                  <a:pt x="358" y="92"/>
                  <a:pt x="358" y="92"/>
                  <a:pt x="358" y="92"/>
                </a:cubicBezTo>
                <a:cubicBezTo>
                  <a:pt x="358" y="92"/>
                  <a:pt x="358" y="92"/>
                  <a:pt x="358" y="92"/>
                </a:cubicBezTo>
                <a:cubicBezTo>
                  <a:pt x="356" y="92"/>
                  <a:pt x="355" y="93"/>
                  <a:pt x="353" y="94"/>
                </a:cubicBezTo>
                <a:cubicBezTo>
                  <a:pt x="352" y="97"/>
                  <a:pt x="349" y="97"/>
                  <a:pt x="347" y="98"/>
                </a:cubicBezTo>
                <a:cubicBezTo>
                  <a:pt x="347" y="99"/>
                  <a:pt x="347" y="100"/>
                  <a:pt x="347" y="100"/>
                </a:cubicBezTo>
                <a:cubicBezTo>
                  <a:pt x="347" y="100"/>
                  <a:pt x="347" y="100"/>
                  <a:pt x="346" y="105"/>
                </a:cubicBezTo>
                <a:cubicBezTo>
                  <a:pt x="345" y="105"/>
                  <a:pt x="345" y="105"/>
                  <a:pt x="345" y="105"/>
                </a:cubicBezTo>
                <a:cubicBezTo>
                  <a:pt x="344" y="106"/>
                  <a:pt x="344" y="107"/>
                  <a:pt x="344" y="108"/>
                </a:cubicBezTo>
                <a:cubicBezTo>
                  <a:pt x="345" y="108"/>
                  <a:pt x="346" y="108"/>
                  <a:pt x="346" y="108"/>
                </a:cubicBezTo>
                <a:cubicBezTo>
                  <a:pt x="347" y="108"/>
                  <a:pt x="347" y="108"/>
                  <a:pt x="347" y="108"/>
                </a:cubicBezTo>
                <a:cubicBezTo>
                  <a:pt x="348" y="108"/>
                  <a:pt x="348" y="108"/>
                  <a:pt x="348" y="108"/>
                </a:cubicBezTo>
                <a:cubicBezTo>
                  <a:pt x="348" y="109"/>
                  <a:pt x="347" y="110"/>
                  <a:pt x="347" y="110"/>
                </a:cubicBezTo>
                <a:cubicBezTo>
                  <a:pt x="346" y="112"/>
                  <a:pt x="346" y="112"/>
                  <a:pt x="345" y="112"/>
                </a:cubicBezTo>
                <a:cubicBezTo>
                  <a:pt x="345" y="113"/>
                  <a:pt x="345" y="113"/>
                  <a:pt x="345" y="114"/>
                </a:cubicBezTo>
                <a:cubicBezTo>
                  <a:pt x="346" y="114"/>
                  <a:pt x="346" y="114"/>
                  <a:pt x="348" y="114"/>
                </a:cubicBezTo>
                <a:cubicBezTo>
                  <a:pt x="348" y="116"/>
                  <a:pt x="348" y="116"/>
                  <a:pt x="347" y="117"/>
                </a:cubicBezTo>
                <a:cubicBezTo>
                  <a:pt x="352" y="117"/>
                  <a:pt x="357" y="117"/>
                  <a:pt x="362" y="117"/>
                </a:cubicBezTo>
                <a:cubicBezTo>
                  <a:pt x="363" y="116"/>
                  <a:pt x="363" y="116"/>
                  <a:pt x="366" y="115"/>
                </a:cubicBezTo>
                <a:cubicBezTo>
                  <a:pt x="366" y="114"/>
                  <a:pt x="366" y="114"/>
                  <a:pt x="366" y="113"/>
                </a:cubicBezTo>
                <a:cubicBezTo>
                  <a:pt x="368" y="113"/>
                  <a:pt x="368" y="115"/>
                  <a:pt x="369" y="116"/>
                </a:cubicBezTo>
                <a:cubicBezTo>
                  <a:pt x="369" y="116"/>
                  <a:pt x="369" y="117"/>
                  <a:pt x="369" y="117"/>
                </a:cubicBezTo>
                <a:cubicBezTo>
                  <a:pt x="378" y="118"/>
                  <a:pt x="387" y="118"/>
                  <a:pt x="395" y="118"/>
                </a:cubicBezTo>
                <a:cubicBezTo>
                  <a:pt x="396" y="118"/>
                  <a:pt x="397" y="118"/>
                  <a:pt x="398" y="117"/>
                </a:cubicBezTo>
                <a:cubicBezTo>
                  <a:pt x="398" y="116"/>
                  <a:pt x="399" y="115"/>
                  <a:pt x="401" y="114"/>
                </a:cubicBezTo>
                <a:cubicBezTo>
                  <a:pt x="401" y="113"/>
                  <a:pt x="401" y="112"/>
                  <a:pt x="401" y="112"/>
                </a:cubicBezTo>
                <a:cubicBezTo>
                  <a:pt x="401" y="112"/>
                  <a:pt x="400" y="111"/>
                  <a:pt x="400" y="111"/>
                </a:cubicBezTo>
                <a:cubicBezTo>
                  <a:pt x="399" y="111"/>
                  <a:pt x="398" y="111"/>
                  <a:pt x="396" y="111"/>
                </a:cubicBezTo>
                <a:cubicBezTo>
                  <a:pt x="396" y="109"/>
                  <a:pt x="396" y="109"/>
                  <a:pt x="396" y="107"/>
                </a:cubicBezTo>
                <a:cubicBezTo>
                  <a:pt x="395" y="107"/>
                  <a:pt x="394" y="107"/>
                  <a:pt x="394" y="107"/>
                </a:cubicBezTo>
                <a:cubicBezTo>
                  <a:pt x="394" y="104"/>
                  <a:pt x="394" y="101"/>
                  <a:pt x="393" y="99"/>
                </a:cubicBezTo>
                <a:cubicBezTo>
                  <a:pt x="394" y="99"/>
                  <a:pt x="394" y="99"/>
                  <a:pt x="397" y="94"/>
                </a:cubicBezTo>
                <a:cubicBezTo>
                  <a:pt x="402" y="93"/>
                  <a:pt x="405" y="88"/>
                  <a:pt x="405" y="88"/>
                </a:cubicBezTo>
                <a:cubicBezTo>
                  <a:pt x="406" y="87"/>
                  <a:pt x="406" y="87"/>
                  <a:pt x="408" y="87"/>
                </a:cubicBezTo>
                <a:cubicBezTo>
                  <a:pt x="409" y="86"/>
                  <a:pt x="409" y="86"/>
                  <a:pt x="409" y="86"/>
                </a:cubicBezTo>
                <a:cubicBezTo>
                  <a:pt x="408" y="83"/>
                  <a:pt x="410" y="80"/>
                  <a:pt x="410" y="77"/>
                </a:cubicBezTo>
                <a:cubicBezTo>
                  <a:pt x="411" y="77"/>
                  <a:pt x="411" y="77"/>
                  <a:pt x="413" y="77"/>
                </a:cubicBezTo>
                <a:cubicBezTo>
                  <a:pt x="413" y="77"/>
                  <a:pt x="413" y="77"/>
                  <a:pt x="413" y="77"/>
                </a:cubicBezTo>
                <a:cubicBezTo>
                  <a:pt x="413" y="77"/>
                  <a:pt x="413" y="77"/>
                  <a:pt x="413" y="77"/>
                </a:cubicBezTo>
                <a:cubicBezTo>
                  <a:pt x="413" y="77"/>
                  <a:pt x="413" y="77"/>
                  <a:pt x="413" y="77"/>
                </a:cubicBezTo>
                <a:cubicBezTo>
                  <a:pt x="413" y="77"/>
                  <a:pt x="413" y="77"/>
                  <a:pt x="413" y="77"/>
                </a:cubicBezTo>
                <a:cubicBezTo>
                  <a:pt x="413" y="77"/>
                  <a:pt x="413" y="77"/>
                  <a:pt x="413" y="77"/>
                </a:cubicBezTo>
                <a:cubicBezTo>
                  <a:pt x="413" y="77"/>
                  <a:pt x="413" y="77"/>
                  <a:pt x="413" y="77"/>
                </a:cubicBezTo>
                <a:cubicBezTo>
                  <a:pt x="414" y="77"/>
                  <a:pt x="414" y="77"/>
                  <a:pt x="414" y="77"/>
                </a:cubicBezTo>
                <a:cubicBezTo>
                  <a:pt x="414" y="77"/>
                  <a:pt x="414" y="77"/>
                  <a:pt x="414" y="77"/>
                </a:cubicBezTo>
                <a:cubicBezTo>
                  <a:pt x="415" y="79"/>
                  <a:pt x="415" y="79"/>
                  <a:pt x="416" y="79"/>
                </a:cubicBezTo>
                <a:cubicBezTo>
                  <a:pt x="417" y="78"/>
                  <a:pt x="417" y="78"/>
                  <a:pt x="417" y="78"/>
                </a:cubicBezTo>
                <a:cubicBezTo>
                  <a:pt x="419" y="79"/>
                  <a:pt x="419" y="79"/>
                  <a:pt x="420" y="80"/>
                </a:cubicBezTo>
                <a:cubicBezTo>
                  <a:pt x="420" y="82"/>
                  <a:pt x="420" y="82"/>
                  <a:pt x="420" y="83"/>
                </a:cubicBezTo>
                <a:cubicBezTo>
                  <a:pt x="420" y="83"/>
                  <a:pt x="419" y="83"/>
                  <a:pt x="418" y="83"/>
                </a:cubicBezTo>
                <a:cubicBezTo>
                  <a:pt x="419" y="86"/>
                  <a:pt x="419" y="86"/>
                  <a:pt x="409" y="95"/>
                </a:cubicBezTo>
                <a:cubicBezTo>
                  <a:pt x="409" y="97"/>
                  <a:pt x="408" y="100"/>
                  <a:pt x="409" y="103"/>
                </a:cubicBezTo>
                <a:cubicBezTo>
                  <a:pt x="409" y="104"/>
                  <a:pt x="409" y="104"/>
                  <a:pt x="409" y="104"/>
                </a:cubicBezTo>
                <a:cubicBezTo>
                  <a:pt x="409" y="105"/>
                  <a:pt x="410" y="106"/>
                  <a:pt x="410" y="106"/>
                </a:cubicBezTo>
                <a:cubicBezTo>
                  <a:pt x="411" y="108"/>
                  <a:pt x="419" y="112"/>
                  <a:pt x="419" y="112"/>
                </a:cubicBezTo>
                <a:cubicBezTo>
                  <a:pt x="420" y="112"/>
                  <a:pt x="420" y="112"/>
                  <a:pt x="420" y="112"/>
                </a:cubicBezTo>
                <a:cubicBezTo>
                  <a:pt x="423" y="111"/>
                  <a:pt x="426" y="111"/>
                  <a:pt x="429" y="110"/>
                </a:cubicBezTo>
                <a:cubicBezTo>
                  <a:pt x="429" y="109"/>
                  <a:pt x="429" y="109"/>
                  <a:pt x="429" y="109"/>
                </a:cubicBezTo>
                <a:cubicBezTo>
                  <a:pt x="432" y="109"/>
                  <a:pt x="434" y="109"/>
                  <a:pt x="436" y="109"/>
                </a:cubicBezTo>
                <a:cubicBezTo>
                  <a:pt x="436" y="109"/>
                  <a:pt x="437" y="108"/>
                  <a:pt x="438" y="108"/>
                </a:cubicBezTo>
                <a:cubicBezTo>
                  <a:pt x="438" y="108"/>
                  <a:pt x="438" y="108"/>
                  <a:pt x="438" y="108"/>
                </a:cubicBezTo>
                <a:cubicBezTo>
                  <a:pt x="439" y="109"/>
                  <a:pt x="439" y="109"/>
                  <a:pt x="440" y="110"/>
                </a:cubicBezTo>
                <a:cubicBezTo>
                  <a:pt x="442" y="111"/>
                  <a:pt x="443" y="111"/>
                  <a:pt x="445" y="111"/>
                </a:cubicBezTo>
                <a:cubicBezTo>
                  <a:pt x="445" y="111"/>
                  <a:pt x="445" y="111"/>
                  <a:pt x="445" y="111"/>
                </a:cubicBezTo>
                <a:cubicBezTo>
                  <a:pt x="445" y="112"/>
                  <a:pt x="445" y="112"/>
                  <a:pt x="445" y="112"/>
                </a:cubicBezTo>
                <a:cubicBezTo>
                  <a:pt x="439" y="112"/>
                  <a:pt x="438" y="112"/>
                  <a:pt x="437" y="116"/>
                </a:cubicBezTo>
                <a:cubicBezTo>
                  <a:pt x="432" y="118"/>
                  <a:pt x="428" y="114"/>
                  <a:pt x="424" y="116"/>
                </a:cubicBezTo>
                <a:cubicBezTo>
                  <a:pt x="422" y="116"/>
                  <a:pt x="422" y="116"/>
                  <a:pt x="421" y="116"/>
                </a:cubicBezTo>
                <a:cubicBezTo>
                  <a:pt x="421" y="117"/>
                  <a:pt x="420" y="118"/>
                  <a:pt x="420" y="118"/>
                </a:cubicBezTo>
                <a:cubicBezTo>
                  <a:pt x="453" y="120"/>
                  <a:pt x="485" y="121"/>
                  <a:pt x="515" y="121"/>
                </a:cubicBezTo>
                <a:cubicBezTo>
                  <a:pt x="528" y="121"/>
                  <a:pt x="539" y="121"/>
                  <a:pt x="550" y="121"/>
                </a:cubicBezTo>
                <a:moveTo>
                  <a:pt x="362" y="117"/>
                </a:moveTo>
                <a:cubicBezTo>
                  <a:pt x="357" y="117"/>
                  <a:pt x="352" y="117"/>
                  <a:pt x="347" y="117"/>
                </a:cubicBezTo>
                <a:cubicBezTo>
                  <a:pt x="347" y="117"/>
                  <a:pt x="347" y="117"/>
                  <a:pt x="347" y="117"/>
                </a:cubicBezTo>
                <a:cubicBezTo>
                  <a:pt x="346" y="118"/>
                  <a:pt x="346" y="118"/>
                  <a:pt x="346" y="118"/>
                </a:cubicBezTo>
                <a:cubicBezTo>
                  <a:pt x="346" y="118"/>
                  <a:pt x="346" y="118"/>
                  <a:pt x="346" y="119"/>
                </a:cubicBezTo>
                <a:cubicBezTo>
                  <a:pt x="346" y="119"/>
                  <a:pt x="346" y="119"/>
                  <a:pt x="346" y="119"/>
                </a:cubicBezTo>
                <a:cubicBezTo>
                  <a:pt x="349" y="119"/>
                  <a:pt x="349" y="119"/>
                  <a:pt x="349" y="119"/>
                </a:cubicBezTo>
                <a:cubicBezTo>
                  <a:pt x="349" y="120"/>
                  <a:pt x="349" y="120"/>
                  <a:pt x="349" y="120"/>
                </a:cubicBezTo>
                <a:cubicBezTo>
                  <a:pt x="349" y="120"/>
                  <a:pt x="349" y="120"/>
                  <a:pt x="350" y="121"/>
                </a:cubicBezTo>
                <a:cubicBezTo>
                  <a:pt x="351" y="121"/>
                  <a:pt x="352" y="121"/>
                  <a:pt x="352" y="121"/>
                </a:cubicBezTo>
                <a:cubicBezTo>
                  <a:pt x="353" y="121"/>
                  <a:pt x="353" y="121"/>
                  <a:pt x="354" y="122"/>
                </a:cubicBezTo>
                <a:cubicBezTo>
                  <a:pt x="354" y="122"/>
                  <a:pt x="354" y="122"/>
                  <a:pt x="355" y="122"/>
                </a:cubicBezTo>
                <a:cubicBezTo>
                  <a:pt x="355" y="122"/>
                  <a:pt x="356" y="121"/>
                  <a:pt x="357" y="121"/>
                </a:cubicBezTo>
                <a:cubicBezTo>
                  <a:pt x="357" y="120"/>
                  <a:pt x="357" y="120"/>
                  <a:pt x="357" y="120"/>
                </a:cubicBezTo>
                <a:cubicBezTo>
                  <a:pt x="359" y="120"/>
                  <a:pt x="359" y="120"/>
                  <a:pt x="359" y="120"/>
                </a:cubicBezTo>
                <a:cubicBezTo>
                  <a:pt x="359" y="120"/>
                  <a:pt x="360" y="119"/>
                  <a:pt x="360" y="119"/>
                </a:cubicBezTo>
                <a:cubicBezTo>
                  <a:pt x="360" y="118"/>
                  <a:pt x="360" y="118"/>
                  <a:pt x="360" y="118"/>
                </a:cubicBezTo>
                <a:cubicBezTo>
                  <a:pt x="361" y="118"/>
                  <a:pt x="361" y="118"/>
                  <a:pt x="362" y="117"/>
                </a:cubicBezTo>
                <a:moveTo>
                  <a:pt x="395" y="118"/>
                </a:moveTo>
                <a:cubicBezTo>
                  <a:pt x="387" y="118"/>
                  <a:pt x="378" y="118"/>
                  <a:pt x="369" y="118"/>
                </a:cubicBezTo>
                <a:cubicBezTo>
                  <a:pt x="369" y="119"/>
                  <a:pt x="371" y="119"/>
                  <a:pt x="371" y="121"/>
                </a:cubicBezTo>
                <a:cubicBezTo>
                  <a:pt x="371" y="121"/>
                  <a:pt x="371" y="121"/>
                  <a:pt x="371" y="121"/>
                </a:cubicBezTo>
                <a:cubicBezTo>
                  <a:pt x="371" y="122"/>
                  <a:pt x="370" y="122"/>
                  <a:pt x="370" y="122"/>
                </a:cubicBezTo>
                <a:cubicBezTo>
                  <a:pt x="370" y="122"/>
                  <a:pt x="370" y="124"/>
                  <a:pt x="371" y="125"/>
                </a:cubicBezTo>
                <a:cubicBezTo>
                  <a:pt x="372" y="125"/>
                  <a:pt x="372" y="125"/>
                  <a:pt x="372" y="125"/>
                </a:cubicBezTo>
                <a:cubicBezTo>
                  <a:pt x="372" y="125"/>
                  <a:pt x="373" y="126"/>
                  <a:pt x="373" y="127"/>
                </a:cubicBezTo>
                <a:cubicBezTo>
                  <a:pt x="373" y="127"/>
                  <a:pt x="373" y="128"/>
                  <a:pt x="373" y="128"/>
                </a:cubicBezTo>
                <a:cubicBezTo>
                  <a:pt x="373" y="129"/>
                  <a:pt x="373" y="129"/>
                  <a:pt x="373" y="129"/>
                </a:cubicBezTo>
                <a:cubicBezTo>
                  <a:pt x="373" y="131"/>
                  <a:pt x="374" y="131"/>
                  <a:pt x="375" y="132"/>
                </a:cubicBezTo>
                <a:cubicBezTo>
                  <a:pt x="376" y="133"/>
                  <a:pt x="376" y="133"/>
                  <a:pt x="376" y="134"/>
                </a:cubicBezTo>
                <a:cubicBezTo>
                  <a:pt x="376" y="135"/>
                  <a:pt x="375" y="135"/>
                  <a:pt x="375" y="136"/>
                </a:cubicBezTo>
                <a:cubicBezTo>
                  <a:pt x="375" y="137"/>
                  <a:pt x="375" y="137"/>
                  <a:pt x="375" y="137"/>
                </a:cubicBezTo>
                <a:cubicBezTo>
                  <a:pt x="375" y="137"/>
                  <a:pt x="376" y="138"/>
                  <a:pt x="376" y="138"/>
                </a:cubicBezTo>
                <a:cubicBezTo>
                  <a:pt x="378" y="139"/>
                  <a:pt x="380" y="139"/>
                  <a:pt x="382" y="139"/>
                </a:cubicBezTo>
                <a:cubicBezTo>
                  <a:pt x="382" y="136"/>
                  <a:pt x="383" y="134"/>
                  <a:pt x="385" y="135"/>
                </a:cubicBezTo>
                <a:cubicBezTo>
                  <a:pt x="385" y="135"/>
                  <a:pt x="386" y="135"/>
                  <a:pt x="386" y="135"/>
                </a:cubicBezTo>
                <a:cubicBezTo>
                  <a:pt x="387" y="135"/>
                  <a:pt x="387" y="135"/>
                  <a:pt x="387" y="135"/>
                </a:cubicBezTo>
                <a:cubicBezTo>
                  <a:pt x="388" y="136"/>
                  <a:pt x="388" y="135"/>
                  <a:pt x="389" y="134"/>
                </a:cubicBezTo>
                <a:cubicBezTo>
                  <a:pt x="389" y="134"/>
                  <a:pt x="390" y="134"/>
                  <a:pt x="391" y="134"/>
                </a:cubicBezTo>
                <a:cubicBezTo>
                  <a:pt x="391" y="133"/>
                  <a:pt x="391" y="132"/>
                  <a:pt x="391" y="131"/>
                </a:cubicBezTo>
                <a:cubicBezTo>
                  <a:pt x="392" y="131"/>
                  <a:pt x="394" y="131"/>
                  <a:pt x="395" y="131"/>
                </a:cubicBezTo>
                <a:cubicBezTo>
                  <a:pt x="395" y="130"/>
                  <a:pt x="395" y="130"/>
                  <a:pt x="395" y="129"/>
                </a:cubicBezTo>
                <a:cubicBezTo>
                  <a:pt x="394" y="129"/>
                  <a:pt x="394" y="129"/>
                  <a:pt x="393" y="129"/>
                </a:cubicBezTo>
                <a:cubicBezTo>
                  <a:pt x="391" y="129"/>
                  <a:pt x="391" y="129"/>
                  <a:pt x="391" y="129"/>
                </a:cubicBezTo>
                <a:cubicBezTo>
                  <a:pt x="391" y="128"/>
                  <a:pt x="391" y="128"/>
                  <a:pt x="391" y="128"/>
                </a:cubicBezTo>
                <a:cubicBezTo>
                  <a:pt x="390" y="128"/>
                  <a:pt x="390" y="128"/>
                  <a:pt x="390" y="128"/>
                </a:cubicBezTo>
                <a:cubicBezTo>
                  <a:pt x="392" y="125"/>
                  <a:pt x="392" y="125"/>
                  <a:pt x="392" y="123"/>
                </a:cubicBezTo>
                <a:cubicBezTo>
                  <a:pt x="393" y="120"/>
                  <a:pt x="393" y="120"/>
                  <a:pt x="393" y="120"/>
                </a:cubicBezTo>
                <a:cubicBezTo>
                  <a:pt x="394" y="119"/>
                  <a:pt x="395" y="119"/>
                  <a:pt x="395" y="118"/>
                </a:cubicBezTo>
                <a:moveTo>
                  <a:pt x="605" y="288"/>
                </a:moveTo>
                <a:cubicBezTo>
                  <a:pt x="596" y="225"/>
                  <a:pt x="577" y="168"/>
                  <a:pt x="550" y="121"/>
                </a:cubicBezTo>
                <a:cubicBezTo>
                  <a:pt x="539" y="121"/>
                  <a:pt x="528" y="121"/>
                  <a:pt x="515" y="121"/>
                </a:cubicBezTo>
                <a:cubicBezTo>
                  <a:pt x="485" y="121"/>
                  <a:pt x="453" y="120"/>
                  <a:pt x="420" y="119"/>
                </a:cubicBezTo>
                <a:cubicBezTo>
                  <a:pt x="418" y="119"/>
                  <a:pt x="416" y="119"/>
                  <a:pt x="415" y="119"/>
                </a:cubicBezTo>
                <a:cubicBezTo>
                  <a:pt x="416" y="119"/>
                  <a:pt x="416" y="119"/>
                  <a:pt x="416" y="119"/>
                </a:cubicBezTo>
                <a:cubicBezTo>
                  <a:pt x="416" y="119"/>
                  <a:pt x="416" y="119"/>
                  <a:pt x="416" y="119"/>
                </a:cubicBezTo>
                <a:cubicBezTo>
                  <a:pt x="416" y="119"/>
                  <a:pt x="416" y="119"/>
                  <a:pt x="416" y="119"/>
                </a:cubicBezTo>
                <a:cubicBezTo>
                  <a:pt x="416" y="119"/>
                  <a:pt x="416" y="119"/>
                  <a:pt x="416" y="119"/>
                </a:cubicBezTo>
                <a:cubicBezTo>
                  <a:pt x="416" y="119"/>
                  <a:pt x="416" y="119"/>
                  <a:pt x="416" y="119"/>
                </a:cubicBezTo>
                <a:cubicBezTo>
                  <a:pt x="416" y="119"/>
                  <a:pt x="416" y="119"/>
                  <a:pt x="416" y="119"/>
                </a:cubicBezTo>
                <a:cubicBezTo>
                  <a:pt x="416" y="119"/>
                  <a:pt x="416" y="119"/>
                  <a:pt x="416" y="119"/>
                </a:cubicBezTo>
                <a:cubicBezTo>
                  <a:pt x="416" y="119"/>
                  <a:pt x="416" y="119"/>
                  <a:pt x="416" y="119"/>
                </a:cubicBezTo>
                <a:cubicBezTo>
                  <a:pt x="415" y="120"/>
                  <a:pt x="414" y="120"/>
                  <a:pt x="412" y="121"/>
                </a:cubicBezTo>
                <a:cubicBezTo>
                  <a:pt x="412" y="121"/>
                  <a:pt x="412" y="122"/>
                  <a:pt x="413" y="123"/>
                </a:cubicBezTo>
                <a:cubicBezTo>
                  <a:pt x="415" y="124"/>
                  <a:pt x="415" y="124"/>
                  <a:pt x="418" y="124"/>
                </a:cubicBezTo>
                <a:cubicBezTo>
                  <a:pt x="418" y="123"/>
                  <a:pt x="420" y="122"/>
                  <a:pt x="420" y="121"/>
                </a:cubicBezTo>
                <a:cubicBezTo>
                  <a:pt x="423" y="122"/>
                  <a:pt x="424" y="125"/>
                  <a:pt x="426" y="126"/>
                </a:cubicBezTo>
                <a:cubicBezTo>
                  <a:pt x="426" y="126"/>
                  <a:pt x="426" y="127"/>
                  <a:pt x="426" y="127"/>
                </a:cubicBezTo>
                <a:cubicBezTo>
                  <a:pt x="425" y="128"/>
                  <a:pt x="424" y="129"/>
                  <a:pt x="423" y="130"/>
                </a:cubicBezTo>
                <a:cubicBezTo>
                  <a:pt x="423" y="131"/>
                  <a:pt x="422" y="131"/>
                  <a:pt x="421" y="131"/>
                </a:cubicBezTo>
                <a:cubicBezTo>
                  <a:pt x="421" y="131"/>
                  <a:pt x="420" y="131"/>
                  <a:pt x="420" y="131"/>
                </a:cubicBezTo>
                <a:cubicBezTo>
                  <a:pt x="419" y="130"/>
                  <a:pt x="419" y="129"/>
                  <a:pt x="419" y="129"/>
                </a:cubicBezTo>
                <a:cubicBezTo>
                  <a:pt x="418" y="128"/>
                  <a:pt x="417" y="128"/>
                  <a:pt x="417" y="128"/>
                </a:cubicBezTo>
                <a:cubicBezTo>
                  <a:pt x="417" y="127"/>
                  <a:pt x="417" y="126"/>
                  <a:pt x="417" y="126"/>
                </a:cubicBezTo>
                <a:cubicBezTo>
                  <a:pt x="416" y="126"/>
                  <a:pt x="416" y="126"/>
                  <a:pt x="415" y="126"/>
                </a:cubicBezTo>
                <a:cubicBezTo>
                  <a:pt x="415" y="127"/>
                  <a:pt x="414" y="128"/>
                  <a:pt x="413" y="128"/>
                </a:cubicBezTo>
                <a:cubicBezTo>
                  <a:pt x="412" y="133"/>
                  <a:pt x="410" y="141"/>
                  <a:pt x="410" y="141"/>
                </a:cubicBezTo>
                <a:cubicBezTo>
                  <a:pt x="411" y="141"/>
                  <a:pt x="411" y="141"/>
                  <a:pt x="412" y="142"/>
                </a:cubicBezTo>
                <a:cubicBezTo>
                  <a:pt x="411" y="143"/>
                  <a:pt x="411" y="143"/>
                  <a:pt x="411" y="143"/>
                </a:cubicBezTo>
                <a:cubicBezTo>
                  <a:pt x="404" y="141"/>
                  <a:pt x="404" y="141"/>
                  <a:pt x="402" y="143"/>
                </a:cubicBezTo>
                <a:cubicBezTo>
                  <a:pt x="403" y="144"/>
                  <a:pt x="404" y="145"/>
                  <a:pt x="404" y="146"/>
                </a:cubicBezTo>
                <a:cubicBezTo>
                  <a:pt x="404" y="147"/>
                  <a:pt x="404" y="147"/>
                  <a:pt x="404" y="147"/>
                </a:cubicBezTo>
                <a:cubicBezTo>
                  <a:pt x="403" y="147"/>
                  <a:pt x="403" y="147"/>
                  <a:pt x="403" y="147"/>
                </a:cubicBezTo>
                <a:cubicBezTo>
                  <a:pt x="401" y="145"/>
                  <a:pt x="399" y="144"/>
                  <a:pt x="397" y="142"/>
                </a:cubicBezTo>
                <a:cubicBezTo>
                  <a:pt x="383" y="149"/>
                  <a:pt x="379" y="151"/>
                  <a:pt x="379" y="144"/>
                </a:cubicBezTo>
                <a:cubicBezTo>
                  <a:pt x="377" y="144"/>
                  <a:pt x="377" y="144"/>
                  <a:pt x="377" y="144"/>
                </a:cubicBezTo>
                <a:cubicBezTo>
                  <a:pt x="376" y="145"/>
                  <a:pt x="375" y="145"/>
                  <a:pt x="374" y="145"/>
                </a:cubicBezTo>
                <a:cubicBezTo>
                  <a:pt x="373" y="145"/>
                  <a:pt x="372" y="145"/>
                  <a:pt x="372" y="145"/>
                </a:cubicBezTo>
                <a:cubicBezTo>
                  <a:pt x="371" y="145"/>
                  <a:pt x="370" y="145"/>
                  <a:pt x="370" y="145"/>
                </a:cubicBezTo>
                <a:cubicBezTo>
                  <a:pt x="370" y="145"/>
                  <a:pt x="370" y="146"/>
                  <a:pt x="370" y="147"/>
                </a:cubicBezTo>
                <a:cubicBezTo>
                  <a:pt x="369" y="148"/>
                  <a:pt x="368" y="148"/>
                  <a:pt x="368" y="148"/>
                </a:cubicBezTo>
                <a:cubicBezTo>
                  <a:pt x="367" y="148"/>
                  <a:pt x="367" y="147"/>
                  <a:pt x="366" y="147"/>
                </a:cubicBezTo>
                <a:cubicBezTo>
                  <a:pt x="366" y="146"/>
                  <a:pt x="365" y="145"/>
                  <a:pt x="364" y="145"/>
                </a:cubicBezTo>
                <a:cubicBezTo>
                  <a:pt x="363" y="145"/>
                  <a:pt x="363" y="145"/>
                  <a:pt x="362" y="145"/>
                </a:cubicBezTo>
                <a:cubicBezTo>
                  <a:pt x="362" y="144"/>
                  <a:pt x="362" y="144"/>
                  <a:pt x="362" y="143"/>
                </a:cubicBezTo>
                <a:cubicBezTo>
                  <a:pt x="362" y="143"/>
                  <a:pt x="363" y="142"/>
                  <a:pt x="363" y="141"/>
                </a:cubicBezTo>
                <a:cubicBezTo>
                  <a:pt x="364" y="141"/>
                  <a:pt x="365" y="141"/>
                  <a:pt x="366" y="141"/>
                </a:cubicBezTo>
                <a:cubicBezTo>
                  <a:pt x="368" y="142"/>
                  <a:pt x="370" y="143"/>
                  <a:pt x="372" y="143"/>
                </a:cubicBezTo>
                <a:cubicBezTo>
                  <a:pt x="372" y="142"/>
                  <a:pt x="374" y="140"/>
                  <a:pt x="374" y="135"/>
                </a:cubicBezTo>
                <a:cubicBezTo>
                  <a:pt x="373" y="134"/>
                  <a:pt x="373" y="134"/>
                  <a:pt x="372" y="134"/>
                </a:cubicBezTo>
                <a:cubicBezTo>
                  <a:pt x="369" y="135"/>
                  <a:pt x="369" y="135"/>
                  <a:pt x="368" y="136"/>
                </a:cubicBezTo>
                <a:cubicBezTo>
                  <a:pt x="367" y="137"/>
                  <a:pt x="367" y="137"/>
                  <a:pt x="367" y="137"/>
                </a:cubicBezTo>
                <a:cubicBezTo>
                  <a:pt x="366" y="137"/>
                  <a:pt x="366" y="137"/>
                  <a:pt x="366" y="137"/>
                </a:cubicBezTo>
                <a:cubicBezTo>
                  <a:pt x="366" y="136"/>
                  <a:pt x="366" y="136"/>
                  <a:pt x="366" y="135"/>
                </a:cubicBezTo>
                <a:cubicBezTo>
                  <a:pt x="366" y="135"/>
                  <a:pt x="367" y="134"/>
                  <a:pt x="367" y="134"/>
                </a:cubicBezTo>
                <a:cubicBezTo>
                  <a:pt x="367" y="132"/>
                  <a:pt x="367" y="132"/>
                  <a:pt x="367" y="131"/>
                </a:cubicBezTo>
                <a:cubicBezTo>
                  <a:pt x="367" y="132"/>
                  <a:pt x="366" y="132"/>
                  <a:pt x="366" y="132"/>
                </a:cubicBezTo>
                <a:cubicBezTo>
                  <a:pt x="365" y="125"/>
                  <a:pt x="365" y="125"/>
                  <a:pt x="364" y="124"/>
                </a:cubicBezTo>
                <a:cubicBezTo>
                  <a:pt x="360" y="128"/>
                  <a:pt x="360" y="128"/>
                  <a:pt x="359" y="128"/>
                </a:cubicBezTo>
                <a:cubicBezTo>
                  <a:pt x="358" y="129"/>
                  <a:pt x="358" y="129"/>
                  <a:pt x="358" y="130"/>
                </a:cubicBezTo>
                <a:cubicBezTo>
                  <a:pt x="358" y="131"/>
                  <a:pt x="358" y="131"/>
                  <a:pt x="358" y="131"/>
                </a:cubicBezTo>
                <a:cubicBezTo>
                  <a:pt x="357" y="132"/>
                  <a:pt x="356" y="132"/>
                  <a:pt x="355" y="133"/>
                </a:cubicBezTo>
                <a:cubicBezTo>
                  <a:pt x="353" y="136"/>
                  <a:pt x="357" y="138"/>
                  <a:pt x="356" y="141"/>
                </a:cubicBezTo>
                <a:cubicBezTo>
                  <a:pt x="356" y="142"/>
                  <a:pt x="356" y="142"/>
                  <a:pt x="356" y="142"/>
                </a:cubicBezTo>
                <a:cubicBezTo>
                  <a:pt x="355" y="144"/>
                  <a:pt x="355" y="144"/>
                  <a:pt x="355" y="144"/>
                </a:cubicBezTo>
                <a:cubicBezTo>
                  <a:pt x="356" y="145"/>
                  <a:pt x="356" y="147"/>
                  <a:pt x="356" y="148"/>
                </a:cubicBezTo>
                <a:cubicBezTo>
                  <a:pt x="356" y="149"/>
                  <a:pt x="356" y="150"/>
                  <a:pt x="356" y="150"/>
                </a:cubicBezTo>
                <a:cubicBezTo>
                  <a:pt x="356" y="150"/>
                  <a:pt x="355" y="150"/>
                  <a:pt x="355" y="150"/>
                </a:cubicBezTo>
                <a:cubicBezTo>
                  <a:pt x="354" y="150"/>
                  <a:pt x="354" y="150"/>
                  <a:pt x="353" y="150"/>
                </a:cubicBezTo>
                <a:cubicBezTo>
                  <a:pt x="351" y="151"/>
                  <a:pt x="351" y="151"/>
                  <a:pt x="350" y="150"/>
                </a:cubicBezTo>
                <a:cubicBezTo>
                  <a:pt x="346" y="150"/>
                  <a:pt x="346" y="150"/>
                  <a:pt x="337" y="156"/>
                </a:cubicBezTo>
                <a:cubicBezTo>
                  <a:pt x="336" y="155"/>
                  <a:pt x="336" y="155"/>
                  <a:pt x="335" y="155"/>
                </a:cubicBezTo>
                <a:cubicBezTo>
                  <a:pt x="335" y="155"/>
                  <a:pt x="335" y="155"/>
                  <a:pt x="334" y="155"/>
                </a:cubicBezTo>
                <a:cubicBezTo>
                  <a:pt x="334" y="155"/>
                  <a:pt x="333" y="155"/>
                  <a:pt x="333" y="155"/>
                </a:cubicBezTo>
                <a:cubicBezTo>
                  <a:pt x="332" y="155"/>
                  <a:pt x="332" y="156"/>
                  <a:pt x="332" y="157"/>
                </a:cubicBezTo>
                <a:cubicBezTo>
                  <a:pt x="334" y="158"/>
                  <a:pt x="334" y="158"/>
                  <a:pt x="334" y="158"/>
                </a:cubicBezTo>
                <a:cubicBezTo>
                  <a:pt x="334" y="159"/>
                  <a:pt x="334" y="160"/>
                  <a:pt x="333" y="161"/>
                </a:cubicBezTo>
                <a:cubicBezTo>
                  <a:pt x="330" y="161"/>
                  <a:pt x="330" y="161"/>
                  <a:pt x="325" y="165"/>
                </a:cubicBezTo>
                <a:cubicBezTo>
                  <a:pt x="324" y="165"/>
                  <a:pt x="324" y="165"/>
                  <a:pt x="324" y="165"/>
                </a:cubicBezTo>
                <a:cubicBezTo>
                  <a:pt x="323" y="165"/>
                  <a:pt x="322" y="165"/>
                  <a:pt x="322" y="165"/>
                </a:cubicBezTo>
                <a:cubicBezTo>
                  <a:pt x="320" y="167"/>
                  <a:pt x="320" y="169"/>
                  <a:pt x="319" y="171"/>
                </a:cubicBezTo>
                <a:cubicBezTo>
                  <a:pt x="317" y="171"/>
                  <a:pt x="316" y="171"/>
                  <a:pt x="314" y="172"/>
                </a:cubicBezTo>
                <a:cubicBezTo>
                  <a:pt x="314" y="173"/>
                  <a:pt x="313" y="174"/>
                  <a:pt x="313" y="175"/>
                </a:cubicBezTo>
                <a:cubicBezTo>
                  <a:pt x="312" y="175"/>
                  <a:pt x="311" y="175"/>
                  <a:pt x="310" y="175"/>
                </a:cubicBezTo>
                <a:cubicBezTo>
                  <a:pt x="309" y="174"/>
                  <a:pt x="309" y="174"/>
                  <a:pt x="309" y="174"/>
                </a:cubicBezTo>
                <a:cubicBezTo>
                  <a:pt x="308" y="174"/>
                  <a:pt x="307" y="174"/>
                  <a:pt x="307" y="174"/>
                </a:cubicBezTo>
                <a:cubicBezTo>
                  <a:pt x="306" y="173"/>
                  <a:pt x="306" y="173"/>
                  <a:pt x="306" y="173"/>
                </a:cubicBezTo>
                <a:cubicBezTo>
                  <a:pt x="305" y="172"/>
                  <a:pt x="305" y="172"/>
                  <a:pt x="304" y="172"/>
                </a:cubicBezTo>
                <a:cubicBezTo>
                  <a:pt x="303" y="173"/>
                  <a:pt x="303" y="174"/>
                  <a:pt x="303" y="175"/>
                </a:cubicBezTo>
                <a:cubicBezTo>
                  <a:pt x="303" y="175"/>
                  <a:pt x="304" y="176"/>
                  <a:pt x="304" y="176"/>
                </a:cubicBezTo>
                <a:cubicBezTo>
                  <a:pt x="304" y="176"/>
                  <a:pt x="303" y="177"/>
                  <a:pt x="303" y="178"/>
                </a:cubicBezTo>
                <a:cubicBezTo>
                  <a:pt x="303" y="179"/>
                  <a:pt x="303" y="179"/>
                  <a:pt x="303" y="179"/>
                </a:cubicBezTo>
                <a:cubicBezTo>
                  <a:pt x="303" y="179"/>
                  <a:pt x="303" y="180"/>
                  <a:pt x="303" y="180"/>
                </a:cubicBezTo>
                <a:cubicBezTo>
                  <a:pt x="301" y="180"/>
                  <a:pt x="298" y="180"/>
                  <a:pt x="296" y="180"/>
                </a:cubicBezTo>
                <a:cubicBezTo>
                  <a:pt x="295" y="179"/>
                  <a:pt x="295" y="179"/>
                  <a:pt x="295" y="178"/>
                </a:cubicBezTo>
                <a:cubicBezTo>
                  <a:pt x="289" y="179"/>
                  <a:pt x="289" y="179"/>
                  <a:pt x="288" y="180"/>
                </a:cubicBezTo>
                <a:cubicBezTo>
                  <a:pt x="288" y="182"/>
                  <a:pt x="289" y="182"/>
                  <a:pt x="289" y="182"/>
                </a:cubicBezTo>
                <a:cubicBezTo>
                  <a:pt x="290" y="183"/>
                  <a:pt x="291" y="184"/>
                  <a:pt x="292" y="184"/>
                </a:cubicBezTo>
                <a:cubicBezTo>
                  <a:pt x="294" y="184"/>
                  <a:pt x="294" y="184"/>
                  <a:pt x="295" y="184"/>
                </a:cubicBezTo>
                <a:cubicBezTo>
                  <a:pt x="298" y="187"/>
                  <a:pt x="298" y="187"/>
                  <a:pt x="298" y="188"/>
                </a:cubicBezTo>
                <a:cubicBezTo>
                  <a:pt x="299" y="191"/>
                  <a:pt x="299" y="193"/>
                  <a:pt x="299" y="195"/>
                </a:cubicBezTo>
                <a:cubicBezTo>
                  <a:pt x="300" y="196"/>
                  <a:pt x="301" y="197"/>
                  <a:pt x="302" y="199"/>
                </a:cubicBezTo>
                <a:cubicBezTo>
                  <a:pt x="302" y="201"/>
                  <a:pt x="302" y="201"/>
                  <a:pt x="297" y="213"/>
                </a:cubicBezTo>
                <a:cubicBezTo>
                  <a:pt x="296" y="214"/>
                  <a:pt x="294" y="215"/>
                  <a:pt x="293" y="215"/>
                </a:cubicBezTo>
                <a:cubicBezTo>
                  <a:pt x="292" y="215"/>
                  <a:pt x="292" y="215"/>
                  <a:pt x="292" y="215"/>
                </a:cubicBezTo>
                <a:cubicBezTo>
                  <a:pt x="289" y="214"/>
                  <a:pt x="286" y="214"/>
                  <a:pt x="283" y="212"/>
                </a:cubicBezTo>
                <a:cubicBezTo>
                  <a:pt x="279" y="211"/>
                  <a:pt x="276" y="211"/>
                  <a:pt x="273" y="211"/>
                </a:cubicBezTo>
                <a:cubicBezTo>
                  <a:pt x="269" y="210"/>
                  <a:pt x="269" y="210"/>
                  <a:pt x="268" y="209"/>
                </a:cubicBezTo>
                <a:cubicBezTo>
                  <a:pt x="268" y="209"/>
                  <a:pt x="268" y="209"/>
                  <a:pt x="268" y="209"/>
                </a:cubicBezTo>
                <a:cubicBezTo>
                  <a:pt x="267" y="210"/>
                  <a:pt x="267" y="210"/>
                  <a:pt x="266" y="210"/>
                </a:cubicBezTo>
                <a:cubicBezTo>
                  <a:pt x="264" y="212"/>
                  <a:pt x="262" y="212"/>
                  <a:pt x="260" y="212"/>
                </a:cubicBezTo>
                <a:cubicBezTo>
                  <a:pt x="260" y="213"/>
                  <a:pt x="260" y="213"/>
                  <a:pt x="260" y="213"/>
                </a:cubicBezTo>
                <a:cubicBezTo>
                  <a:pt x="262" y="217"/>
                  <a:pt x="258" y="221"/>
                  <a:pt x="260" y="225"/>
                </a:cubicBezTo>
                <a:cubicBezTo>
                  <a:pt x="259" y="227"/>
                  <a:pt x="259" y="229"/>
                  <a:pt x="259" y="232"/>
                </a:cubicBezTo>
                <a:cubicBezTo>
                  <a:pt x="254" y="239"/>
                  <a:pt x="254" y="239"/>
                  <a:pt x="255" y="241"/>
                </a:cubicBezTo>
                <a:cubicBezTo>
                  <a:pt x="256" y="243"/>
                  <a:pt x="256" y="244"/>
                  <a:pt x="256" y="244"/>
                </a:cubicBezTo>
                <a:cubicBezTo>
                  <a:pt x="255" y="245"/>
                  <a:pt x="255" y="245"/>
                  <a:pt x="255" y="245"/>
                </a:cubicBezTo>
                <a:cubicBezTo>
                  <a:pt x="254" y="247"/>
                  <a:pt x="254" y="247"/>
                  <a:pt x="254" y="251"/>
                </a:cubicBezTo>
                <a:cubicBezTo>
                  <a:pt x="255" y="251"/>
                  <a:pt x="256" y="251"/>
                  <a:pt x="257" y="251"/>
                </a:cubicBezTo>
                <a:cubicBezTo>
                  <a:pt x="259" y="251"/>
                  <a:pt x="260" y="250"/>
                  <a:pt x="262" y="253"/>
                </a:cubicBezTo>
                <a:cubicBezTo>
                  <a:pt x="263" y="253"/>
                  <a:pt x="264" y="252"/>
                  <a:pt x="265" y="252"/>
                </a:cubicBezTo>
                <a:cubicBezTo>
                  <a:pt x="266" y="252"/>
                  <a:pt x="266" y="252"/>
                  <a:pt x="269" y="254"/>
                </a:cubicBezTo>
                <a:cubicBezTo>
                  <a:pt x="270" y="255"/>
                  <a:pt x="270" y="257"/>
                  <a:pt x="271" y="258"/>
                </a:cubicBezTo>
                <a:cubicBezTo>
                  <a:pt x="271" y="258"/>
                  <a:pt x="272" y="258"/>
                  <a:pt x="272" y="258"/>
                </a:cubicBezTo>
                <a:cubicBezTo>
                  <a:pt x="271" y="257"/>
                  <a:pt x="271" y="257"/>
                  <a:pt x="271" y="257"/>
                </a:cubicBezTo>
                <a:cubicBezTo>
                  <a:pt x="281" y="254"/>
                  <a:pt x="289" y="246"/>
                  <a:pt x="301" y="246"/>
                </a:cubicBezTo>
                <a:cubicBezTo>
                  <a:pt x="303" y="244"/>
                  <a:pt x="303" y="243"/>
                  <a:pt x="303" y="242"/>
                </a:cubicBezTo>
                <a:cubicBezTo>
                  <a:pt x="302" y="241"/>
                  <a:pt x="301" y="240"/>
                  <a:pt x="301" y="239"/>
                </a:cubicBezTo>
                <a:cubicBezTo>
                  <a:pt x="301" y="238"/>
                  <a:pt x="301" y="238"/>
                  <a:pt x="304" y="232"/>
                </a:cubicBezTo>
                <a:cubicBezTo>
                  <a:pt x="306" y="229"/>
                  <a:pt x="320" y="226"/>
                  <a:pt x="320" y="226"/>
                </a:cubicBezTo>
                <a:cubicBezTo>
                  <a:pt x="322" y="224"/>
                  <a:pt x="322" y="223"/>
                  <a:pt x="322" y="222"/>
                </a:cubicBezTo>
                <a:cubicBezTo>
                  <a:pt x="322" y="222"/>
                  <a:pt x="322" y="222"/>
                  <a:pt x="322" y="221"/>
                </a:cubicBezTo>
                <a:cubicBezTo>
                  <a:pt x="322" y="216"/>
                  <a:pt x="322" y="212"/>
                  <a:pt x="329" y="214"/>
                </a:cubicBezTo>
                <a:cubicBezTo>
                  <a:pt x="330" y="214"/>
                  <a:pt x="330" y="214"/>
                  <a:pt x="330" y="214"/>
                </a:cubicBezTo>
                <a:cubicBezTo>
                  <a:pt x="330" y="214"/>
                  <a:pt x="330" y="214"/>
                  <a:pt x="330" y="214"/>
                </a:cubicBezTo>
                <a:cubicBezTo>
                  <a:pt x="330" y="214"/>
                  <a:pt x="330" y="214"/>
                  <a:pt x="330" y="214"/>
                </a:cubicBezTo>
                <a:cubicBezTo>
                  <a:pt x="330" y="214"/>
                  <a:pt x="330" y="214"/>
                  <a:pt x="330" y="214"/>
                </a:cubicBezTo>
                <a:cubicBezTo>
                  <a:pt x="330" y="214"/>
                  <a:pt x="330" y="214"/>
                  <a:pt x="330" y="214"/>
                </a:cubicBezTo>
                <a:cubicBezTo>
                  <a:pt x="330" y="214"/>
                  <a:pt x="330" y="214"/>
                  <a:pt x="330" y="214"/>
                </a:cubicBezTo>
                <a:cubicBezTo>
                  <a:pt x="330" y="214"/>
                  <a:pt x="330" y="214"/>
                  <a:pt x="330" y="214"/>
                </a:cubicBezTo>
                <a:cubicBezTo>
                  <a:pt x="331" y="214"/>
                  <a:pt x="331" y="214"/>
                  <a:pt x="331" y="214"/>
                </a:cubicBezTo>
                <a:cubicBezTo>
                  <a:pt x="334" y="216"/>
                  <a:pt x="334" y="216"/>
                  <a:pt x="336" y="216"/>
                </a:cubicBezTo>
                <a:cubicBezTo>
                  <a:pt x="337" y="216"/>
                  <a:pt x="337" y="216"/>
                  <a:pt x="338" y="216"/>
                </a:cubicBezTo>
                <a:cubicBezTo>
                  <a:pt x="338" y="216"/>
                  <a:pt x="339" y="216"/>
                  <a:pt x="340" y="216"/>
                </a:cubicBezTo>
                <a:cubicBezTo>
                  <a:pt x="340" y="214"/>
                  <a:pt x="340" y="214"/>
                  <a:pt x="342" y="212"/>
                </a:cubicBezTo>
                <a:cubicBezTo>
                  <a:pt x="344" y="212"/>
                  <a:pt x="344" y="212"/>
                  <a:pt x="345" y="212"/>
                </a:cubicBezTo>
                <a:cubicBezTo>
                  <a:pt x="346" y="212"/>
                  <a:pt x="348" y="212"/>
                  <a:pt x="351" y="208"/>
                </a:cubicBezTo>
                <a:cubicBezTo>
                  <a:pt x="358" y="209"/>
                  <a:pt x="357" y="217"/>
                  <a:pt x="362" y="220"/>
                </a:cubicBezTo>
                <a:cubicBezTo>
                  <a:pt x="363" y="220"/>
                  <a:pt x="364" y="221"/>
                  <a:pt x="364" y="223"/>
                </a:cubicBezTo>
                <a:cubicBezTo>
                  <a:pt x="380" y="233"/>
                  <a:pt x="388" y="241"/>
                  <a:pt x="387" y="246"/>
                </a:cubicBezTo>
                <a:cubicBezTo>
                  <a:pt x="385" y="247"/>
                  <a:pt x="373" y="249"/>
                  <a:pt x="369" y="249"/>
                </a:cubicBezTo>
                <a:cubicBezTo>
                  <a:pt x="369" y="249"/>
                  <a:pt x="368" y="250"/>
                  <a:pt x="368" y="250"/>
                </a:cubicBezTo>
                <a:cubicBezTo>
                  <a:pt x="371" y="252"/>
                  <a:pt x="373" y="255"/>
                  <a:pt x="377" y="256"/>
                </a:cubicBezTo>
                <a:cubicBezTo>
                  <a:pt x="379" y="256"/>
                  <a:pt x="382" y="256"/>
                  <a:pt x="384" y="256"/>
                </a:cubicBezTo>
                <a:cubicBezTo>
                  <a:pt x="384" y="255"/>
                  <a:pt x="384" y="253"/>
                  <a:pt x="384" y="252"/>
                </a:cubicBezTo>
                <a:cubicBezTo>
                  <a:pt x="389" y="250"/>
                  <a:pt x="392" y="245"/>
                  <a:pt x="396" y="242"/>
                </a:cubicBezTo>
                <a:cubicBezTo>
                  <a:pt x="396" y="240"/>
                  <a:pt x="396" y="240"/>
                  <a:pt x="396" y="239"/>
                </a:cubicBezTo>
                <a:cubicBezTo>
                  <a:pt x="393" y="239"/>
                  <a:pt x="393" y="239"/>
                  <a:pt x="392" y="239"/>
                </a:cubicBezTo>
                <a:cubicBezTo>
                  <a:pt x="391" y="239"/>
                  <a:pt x="391" y="238"/>
                  <a:pt x="391" y="238"/>
                </a:cubicBezTo>
                <a:cubicBezTo>
                  <a:pt x="393" y="236"/>
                  <a:pt x="394" y="236"/>
                  <a:pt x="395" y="236"/>
                </a:cubicBezTo>
                <a:cubicBezTo>
                  <a:pt x="398" y="237"/>
                  <a:pt x="398" y="237"/>
                  <a:pt x="400" y="239"/>
                </a:cubicBezTo>
                <a:cubicBezTo>
                  <a:pt x="400" y="239"/>
                  <a:pt x="400" y="239"/>
                  <a:pt x="400" y="234"/>
                </a:cubicBezTo>
                <a:cubicBezTo>
                  <a:pt x="396" y="231"/>
                  <a:pt x="391" y="230"/>
                  <a:pt x="389" y="226"/>
                </a:cubicBezTo>
                <a:cubicBezTo>
                  <a:pt x="388" y="226"/>
                  <a:pt x="385" y="226"/>
                  <a:pt x="380" y="221"/>
                </a:cubicBezTo>
                <a:cubicBezTo>
                  <a:pt x="381" y="219"/>
                  <a:pt x="381" y="219"/>
                  <a:pt x="375" y="215"/>
                </a:cubicBezTo>
                <a:cubicBezTo>
                  <a:pt x="375" y="214"/>
                  <a:pt x="374" y="214"/>
                  <a:pt x="374" y="214"/>
                </a:cubicBezTo>
                <a:cubicBezTo>
                  <a:pt x="374" y="213"/>
                  <a:pt x="373" y="212"/>
                  <a:pt x="373" y="211"/>
                </a:cubicBezTo>
                <a:cubicBezTo>
                  <a:pt x="372" y="210"/>
                  <a:pt x="370" y="210"/>
                  <a:pt x="369" y="210"/>
                </a:cubicBezTo>
                <a:cubicBezTo>
                  <a:pt x="369" y="209"/>
                  <a:pt x="369" y="209"/>
                  <a:pt x="369" y="208"/>
                </a:cubicBezTo>
                <a:cubicBezTo>
                  <a:pt x="370" y="207"/>
                  <a:pt x="370" y="207"/>
                  <a:pt x="370" y="207"/>
                </a:cubicBezTo>
                <a:cubicBezTo>
                  <a:pt x="371" y="206"/>
                  <a:pt x="371" y="205"/>
                  <a:pt x="371" y="205"/>
                </a:cubicBezTo>
                <a:cubicBezTo>
                  <a:pt x="371" y="204"/>
                  <a:pt x="371" y="203"/>
                  <a:pt x="371" y="202"/>
                </a:cubicBezTo>
                <a:cubicBezTo>
                  <a:pt x="374" y="201"/>
                  <a:pt x="375" y="202"/>
                  <a:pt x="376" y="205"/>
                </a:cubicBezTo>
                <a:cubicBezTo>
                  <a:pt x="384" y="206"/>
                  <a:pt x="386" y="216"/>
                  <a:pt x="394" y="217"/>
                </a:cubicBezTo>
                <a:cubicBezTo>
                  <a:pt x="394" y="218"/>
                  <a:pt x="394" y="218"/>
                  <a:pt x="395" y="218"/>
                </a:cubicBezTo>
                <a:cubicBezTo>
                  <a:pt x="398" y="222"/>
                  <a:pt x="404" y="223"/>
                  <a:pt x="406" y="228"/>
                </a:cubicBezTo>
                <a:cubicBezTo>
                  <a:pt x="404" y="234"/>
                  <a:pt x="404" y="234"/>
                  <a:pt x="406" y="236"/>
                </a:cubicBezTo>
                <a:cubicBezTo>
                  <a:pt x="407" y="239"/>
                  <a:pt x="407" y="242"/>
                  <a:pt x="411" y="242"/>
                </a:cubicBezTo>
                <a:cubicBezTo>
                  <a:pt x="413" y="244"/>
                  <a:pt x="413" y="246"/>
                  <a:pt x="413" y="247"/>
                </a:cubicBezTo>
                <a:cubicBezTo>
                  <a:pt x="412" y="247"/>
                  <a:pt x="411" y="247"/>
                  <a:pt x="410" y="247"/>
                </a:cubicBezTo>
                <a:cubicBezTo>
                  <a:pt x="410" y="247"/>
                  <a:pt x="409" y="246"/>
                  <a:pt x="409" y="246"/>
                </a:cubicBezTo>
                <a:cubicBezTo>
                  <a:pt x="409" y="246"/>
                  <a:pt x="408" y="247"/>
                  <a:pt x="408" y="247"/>
                </a:cubicBezTo>
                <a:cubicBezTo>
                  <a:pt x="411" y="251"/>
                  <a:pt x="411" y="251"/>
                  <a:pt x="414" y="252"/>
                </a:cubicBezTo>
                <a:cubicBezTo>
                  <a:pt x="414" y="252"/>
                  <a:pt x="414" y="251"/>
                  <a:pt x="414" y="251"/>
                </a:cubicBezTo>
                <a:cubicBezTo>
                  <a:pt x="416" y="252"/>
                  <a:pt x="417" y="252"/>
                  <a:pt x="419" y="254"/>
                </a:cubicBezTo>
                <a:cubicBezTo>
                  <a:pt x="418" y="256"/>
                  <a:pt x="418" y="257"/>
                  <a:pt x="419" y="258"/>
                </a:cubicBezTo>
                <a:cubicBezTo>
                  <a:pt x="421" y="259"/>
                  <a:pt x="421" y="259"/>
                  <a:pt x="422" y="259"/>
                </a:cubicBezTo>
                <a:cubicBezTo>
                  <a:pt x="423" y="259"/>
                  <a:pt x="424" y="259"/>
                  <a:pt x="424" y="259"/>
                </a:cubicBezTo>
                <a:cubicBezTo>
                  <a:pt x="425" y="258"/>
                  <a:pt x="426" y="257"/>
                  <a:pt x="426" y="256"/>
                </a:cubicBezTo>
                <a:cubicBezTo>
                  <a:pt x="426" y="255"/>
                  <a:pt x="426" y="255"/>
                  <a:pt x="426" y="254"/>
                </a:cubicBezTo>
                <a:cubicBezTo>
                  <a:pt x="426" y="254"/>
                  <a:pt x="426" y="253"/>
                  <a:pt x="426" y="253"/>
                </a:cubicBezTo>
                <a:cubicBezTo>
                  <a:pt x="426" y="252"/>
                  <a:pt x="427" y="252"/>
                  <a:pt x="427" y="251"/>
                </a:cubicBezTo>
                <a:cubicBezTo>
                  <a:pt x="428" y="252"/>
                  <a:pt x="430" y="252"/>
                  <a:pt x="430" y="253"/>
                </a:cubicBezTo>
                <a:cubicBezTo>
                  <a:pt x="431" y="253"/>
                  <a:pt x="432" y="253"/>
                  <a:pt x="432" y="253"/>
                </a:cubicBezTo>
                <a:cubicBezTo>
                  <a:pt x="432" y="253"/>
                  <a:pt x="433" y="252"/>
                  <a:pt x="433" y="252"/>
                </a:cubicBezTo>
                <a:cubicBezTo>
                  <a:pt x="433" y="251"/>
                  <a:pt x="433" y="249"/>
                  <a:pt x="433" y="248"/>
                </a:cubicBezTo>
                <a:cubicBezTo>
                  <a:pt x="435" y="248"/>
                  <a:pt x="436" y="248"/>
                  <a:pt x="437" y="248"/>
                </a:cubicBezTo>
                <a:cubicBezTo>
                  <a:pt x="436" y="246"/>
                  <a:pt x="435" y="246"/>
                  <a:pt x="433" y="245"/>
                </a:cubicBezTo>
                <a:cubicBezTo>
                  <a:pt x="433" y="246"/>
                  <a:pt x="432" y="247"/>
                  <a:pt x="432" y="248"/>
                </a:cubicBezTo>
                <a:cubicBezTo>
                  <a:pt x="429" y="248"/>
                  <a:pt x="429" y="247"/>
                  <a:pt x="427" y="241"/>
                </a:cubicBezTo>
                <a:cubicBezTo>
                  <a:pt x="424" y="240"/>
                  <a:pt x="424" y="240"/>
                  <a:pt x="422" y="238"/>
                </a:cubicBezTo>
                <a:cubicBezTo>
                  <a:pt x="422" y="237"/>
                  <a:pt x="422" y="237"/>
                  <a:pt x="422" y="236"/>
                </a:cubicBezTo>
                <a:cubicBezTo>
                  <a:pt x="424" y="236"/>
                  <a:pt x="424" y="236"/>
                  <a:pt x="424" y="236"/>
                </a:cubicBezTo>
                <a:cubicBezTo>
                  <a:pt x="425" y="236"/>
                  <a:pt x="426" y="237"/>
                  <a:pt x="427" y="237"/>
                </a:cubicBezTo>
                <a:cubicBezTo>
                  <a:pt x="429" y="237"/>
                  <a:pt x="429" y="237"/>
                  <a:pt x="430" y="237"/>
                </a:cubicBezTo>
                <a:cubicBezTo>
                  <a:pt x="430" y="237"/>
                  <a:pt x="430" y="238"/>
                  <a:pt x="431" y="238"/>
                </a:cubicBezTo>
                <a:cubicBezTo>
                  <a:pt x="431" y="237"/>
                  <a:pt x="431" y="235"/>
                  <a:pt x="431" y="234"/>
                </a:cubicBezTo>
                <a:cubicBezTo>
                  <a:pt x="433" y="232"/>
                  <a:pt x="433" y="232"/>
                  <a:pt x="442" y="236"/>
                </a:cubicBezTo>
                <a:cubicBezTo>
                  <a:pt x="442" y="236"/>
                  <a:pt x="443" y="237"/>
                  <a:pt x="443" y="238"/>
                </a:cubicBezTo>
                <a:cubicBezTo>
                  <a:pt x="443" y="238"/>
                  <a:pt x="443" y="238"/>
                  <a:pt x="444" y="238"/>
                </a:cubicBezTo>
                <a:cubicBezTo>
                  <a:pt x="445" y="240"/>
                  <a:pt x="445" y="240"/>
                  <a:pt x="445" y="240"/>
                </a:cubicBezTo>
                <a:cubicBezTo>
                  <a:pt x="444" y="240"/>
                  <a:pt x="443" y="241"/>
                  <a:pt x="443" y="241"/>
                </a:cubicBezTo>
                <a:cubicBezTo>
                  <a:pt x="443" y="244"/>
                  <a:pt x="448" y="245"/>
                  <a:pt x="447" y="249"/>
                </a:cubicBezTo>
                <a:cubicBezTo>
                  <a:pt x="447" y="250"/>
                  <a:pt x="447" y="251"/>
                  <a:pt x="447" y="251"/>
                </a:cubicBezTo>
                <a:cubicBezTo>
                  <a:pt x="447" y="252"/>
                  <a:pt x="447" y="252"/>
                  <a:pt x="447" y="253"/>
                </a:cubicBezTo>
                <a:cubicBezTo>
                  <a:pt x="447" y="254"/>
                  <a:pt x="448" y="255"/>
                  <a:pt x="449" y="256"/>
                </a:cubicBezTo>
                <a:cubicBezTo>
                  <a:pt x="449" y="256"/>
                  <a:pt x="449" y="256"/>
                  <a:pt x="449" y="256"/>
                </a:cubicBezTo>
                <a:cubicBezTo>
                  <a:pt x="450" y="257"/>
                  <a:pt x="450" y="257"/>
                  <a:pt x="450" y="257"/>
                </a:cubicBezTo>
                <a:cubicBezTo>
                  <a:pt x="450" y="257"/>
                  <a:pt x="450" y="257"/>
                  <a:pt x="450" y="257"/>
                </a:cubicBezTo>
                <a:cubicBezTo>
                  <a:pt x="451" y="258"/>
                  <a:pt x="451" y="258"/>
                  <a:pt x="451" y="258"/>
                </a:cubicBezTo>
                <a:cubicBezTo>
                  <a:pt x="452" y="258"/>
                  <a:pt x="452" y="258"/>
                  <a:pt x="452" y="258"/>
                </a:cubicBezTo>
                <a:cubicBezTo>
                  <a:pt x="452" y="259"/>
                  <a:pt x="452" y="259"/>
                  <a:pt x="452" y="260"/>
                </a:cubicBezTo>
                <a:cubicBezTo>
                  <a:pt x="452" y="261"/>
                  <a:pt x="452" y="261"/>
                  <a:pt x="452" y="261"/>
                </a:cubicBezTo>
                <a:cubicBezTo>
                  <a:pt x="451" y="261"/>
                  <a:pt x="451" y="261"/>
                  <a:pt x="451" y="261"/>
                </a:cubicBezTo>
                <a:cubicBezTo>
                  <a:pt x="451" y="262"/>
                  <a:pt x="451" y="262"/>
                  <a:pt x="451" y="262"/>
                </a:cubicBezTo>
                <a:cubicBezTo>
                  <a:pt x="451" y="263"/>
                  <a:pt x="451" y="264"/>
                  <a:pt x="452" y="265"/>
                </a:cubicBezTo>
                <a:cubicBezTo>
                  <a:pt x="452" y="266"/>
                  <a:pt x="452" y="266"/>
                  <a:pt x="452" y="266"/>
                </a:cubicBezTo>
                <a:cubicBezTo>
                  <a:pt x="453" y="266"/>
                  <a:pt x="453" y="266"/>
                  <a:pt x="453" y="266"/>
                </a:cubicBezTo>
                <a:cubicBezTo>
                  <a:pt x="454" y="265"/>
                  <a:pt x="454" y="265"/>
                  <a:pt x="454" y="265"/>
                </a:cubicBezTo>
                <a:cubicBezTo>
                  <a:pt x="454" y="263"/>
                  <a:pt x="454" y="263"/>
                  <a:pt x="454" y="263"/>
                </a:cubicBezTo>
                <a:cubicBezTo>
                  <a:pt x="454" y="262"/>
                  <a:pt x="454" y="261"/>
                  <a:pt x="454" y="261"/>
                </a:cubicBezTo>
                <a:cubicBezTo>
                  <a:pt x="455" y="259"/>
                  <a:pt x="455" y="259"/>
                  <a:pt x="455" y="259"/>
                </a:cubicBezTo>
                <a:cubicBezTo>
                  <a:pt x="456" y="259"/>
                  <a:pt x="456" y="259"/>
                  <a:pt x="456" y="259"/>
                </a:cubicBezTo>
                <a:cubicBezTo>
                  <a:pt x="456" y="260"/>
                  <a:pt x="456" y="260"/>
                  <a:pt x="456" y="260"/>
                </a:cubicBezTo>
                <a:cubicBezTo>
                  <a:pt x="457" y="260"/>
                  <a:pt x="457" y="260"/>
                  <a:pt x="457" y="260"/>
                </a:cubicBezTo>
                <a:cubicBezTo>
                  <a:pt x="457" y="261"/>
                  <a:pt x="457" y="261"/>
                  <a:pt x="457" y="261"/>
                </a:cubicBezTo>
                <a:cubicBezTo>
                  <a:pt x="458" y="261"/>
                  <a:pt x="459" y="262"/>
                  <a:pt x="459" y="262"/>
                </a:cubicBezTo>
                <a:cubicBezTo>
                  <a:pt x="460" y="263"/>
                  <a:pt x="460" y="263"/>
                  <a:pt x="460" y="263"/>
                </a:cubicBezTo>
                <a:cubicBezTo>
                  <a:pt x="460" y="264"/>
                  <a:pt x="460" y="264"/>
                  <a:pt x="460" y="264"/>
                </a:cubicBezTo>
                <a:cubicBezTo>
                  <a:pt x="461" y="264"/>
                  <a:pt x="461" y="264"/>
                  <a:pt x="461" y="264"/>
                </a:cubicBezTo>
                <a:cubicBezTo>
                  <a:pt x="462" y="264"/>
                  <a:pt x="462" y="264"/>
                  <a:pt x="462" y="264"/>
                </a:cubicBezTo>
                <a:cubicBezTo>
                  <a:pt x="462" y="264"/>
                  <a:pt x="464" y="264"/>
                  <a:pt x="464" y="265"/>
                </a:cubicBezTo>
                <a:cubicBezTo>
                  <a:pt x="466" y="265"/>
                  <a:pt x="466" y="265"/>
                  <a:pt x="466" y="265"/>
                </a:cubicBezTo>
                <a:cubicBezTo>
                  <a:pt x="467" y="265"/>
                  <a:pt x="467" y="265"/>
                  <a:pt x="467" y="265"/>
                </a:cubicBezTo>
                <a:cubicBezTo>
                  <a:pt x="467" y="264"/>
                  <a:pt x="467" y="264"/>
                  <a:pt x="467" y="264"/>
                </a:cubicBezTo>
                <a:cubicBezTo>
                  <a:pt x="467" y="264"/>
                  <a:pt x="467" y="264"/>
                  <a:pt x="467" y="264"/>
                </a:cubicBezTo>
                <a:cubicBezTo>
                  <a:pt x="467" y="263"/>
                  <a:pt x="467" y="263"/>
                  <a:pt x="467" y="263"/>
                </a:cubicBezTo>
                <a:cubicBezTo>
                  <a:pt x="467" y="262"/>
                  <a:pt x="467" y="261"/>
                  <a:pt x="468" y="260"/>
                </a:cubicBezTo>
                <a:cubicBezTo>
                  <a:pt x="468" y="259"/>
                  <a:pt x="468" y="259"/>
                  <a:pt x="468" y="259"/>
                </a:cubicBezTo>
                <a:cubicBezTo>
                  <a:pt x="469" y="259"/>
                  <a:pt x="469" y="259"/>
                  <a:pt x="469" y="259"/>
                </a:cubicBezTo>
                <a:cubicBezTo>
                  <a:pt x="470" y="259"/>
                  <a:pt x="471" y="259"/>
                  <a:pt x="472" y="260"/>
                </a:cubicBezTo>
                <a:cubicBezTo>
                  <a:pt x="474" y="261"/>
                  <a:pt x="474" y="261"/>
                  <a:pt x="474" y="261"/>
                </a:cubicBezTo>
                <a:cubicBezTo>
                  <a:pt x="476" y="263"/>
                  <a:pt x="476" y="263"/>
                  <a:pt x="476" y="263"/>
                </a:cubicBezTo>
                <a:cubicBezTo>
                  <a:pt x="477" y="263"/>
                  <a:pt x="477" y="263"/>
                  <a:pt x="477" y="263"/>
                </a:cubicBezTo>
                <a:cubicBezTo>
                  <a:pt x="477" y="264"/>
                  <a:pt x="477" y="264"/>
                  <a:pt x="477" y="264"/>
                </a:cubicBezTo>
                <a:cubicBezTo>
                  <a:pt x="478" y="264"/>
                  <a:pt x="478" y="264"/>
                  <a:pt x="478" y="264"/>
                </a:cubicBezTo>
                <a:cubicBezTo>
                  <a:pt x="478" y="264"/>
                  <a:pt x="478" y="264"/>
                  <a:pt x="478" y="264"/>
                </a:cubicBezTo>
                <a:cubicBezTo>
                  <a:pt x="481" y="264"/>
                  <a:pt x="484" y="264"/>
                  <a:pt x="486" y="265"/>
                </a:cubicBezTo>
                <a:cubicBezTo>
                  <a:pt x="486" y="264"/>
                  <a:pt x="486" y="263"/>
                  <a:pt x="486" y="263"/>
                </a:cubicBezTo>
                <a:cubicBezTo>
                  <a:pt x="486" y="262"/>
                  <a:pt x="486" y="262"/>
                  <a:pt x="486" y="262"/>
                </a:cubicBezTo>
                <a:cubicBezTo>
                  <a:pt x="486" y="261"/>
                  <a:pt x="486" y="261"/>
                  <a:pt x="486" y="260"/>
                </a:cubicBezTo>
                <a:cubicBezTo>
                  <a:pt x="486" y="260"/>
                  <a:pt x="487" y="260"/>
                  <a:pt x="487" y="260"/>
                </a:cubicBezTo>
                <a:cubicBezTo>
                  <a:pt x="488" y="259"/>
                  <a:pt x="488" y="259"/>
                  <a:pt x="488" y="259"/>
                </a:cubicBezTo>
                <a:cubicBezTo>
                  <a:pt x="489" y="259"/>
                  <a:pt x="489" y="259"/>
                  <a:pt x="489" y="259"/>
                </a:cubicBezTo>
                <a:cubicBezTo>
                  <a:pt x="490" y="260"/>
                  <a:pt x="491" y="261"/>
                  <a:pt x="492" y="261"/>
                </a:cubicBezTo>
                <a:cubicBezTo>
                  <a:pt x="493" y="262"/>
                  <a:pt x="494" y="262"/>
                  <a:pt x="494" y="262"/>
                </a:cubicBezTo>
                <a:cubicBezTo>
                  <a:pt x="494" y="261"/>
                  <a:pt x="494" y="261"/>
                  <a:pt x="494" y="261"/>
                </a:cubicBezTo>
                <a:cubicBezTo>
                  <a:pt x="495" y="261"/>
                  <a:pt x="495" y="261"/>
                  <a:pt x="495" y="261"/>
                </a:cubicBezTo>
                <a:cubicBezTo>
                  <a:pt x="495" y="260"/>
                  <a:pt x="495" y="260"/>
                  <a:pt x="495" y="260"/>
                </a:cubicBezTo>
                <a:cubicBezTo>
                  <a:pt x="496" y="260"/>
                  <a:pt x="496" y="260"/>
                  <a:pt x="496" y="260"/>
                </a:cubicBezTo>
                <a:cubicBezTo>
                  <a:pt x="497" y="262"/>
                  <a:pt x="497" y="262"/>
                  <a:pt x="497" y="262"/>
                </a:cubicBezTo>
                <a:cubicBezTo>
                  <a:pt x="497" y="263"/>
                  <a:pt x="497" y="263"/>
                  <a:pt x="497" y="263"/>
                </a:cubicBezTo>
                <a:cubicBezTo>
                  <a:pt x="497" y="264"/>
                  <a:pt x="497" y="265"/>
                  <a:pt x="497" y="266"/>
                </a:cubicBezTo>
                <a:cubicBezTo>
                  <a:pt x="496" y="268"/>
                  <a:pt x="496" y="270"/>
                  <a:pt x="497" y="273"/>
                </a:cubicBezTo>
                <a:cubicBezTo>
                  <a:pt x="497" y="273"/>
                  <a:pt x="497" y="273"/>
                  <a:pt x="497" y="273"/>
                </a:cubicBezTo>
                <a:cubicBezTo>
                  <a:pt x="497" y="274"/>
                  <a:pt x="498" y="274"/>
                  <a:pt x="498" y="275"/>
                </a:cubicBezTo>
                <a:cubicBezTo>
                  <a:pt x="498" y="275"/>
                  <a:pt x="497" y="276"/>
                  <a:pt x="497" y="277"/>
                </a:cubicBezTo>
                <a:cubicBezTo>
                  <a:pt x="497" y="277"/>
                  <a:pt x="497" y="277"/>
                  <a:pt x="497" y="277"/>
                </a:cubicBezTo>
                <a:cubicBezTo>
                  <a:pt x="497" y="278"/>
                  <a:pt x="497" y="278"/>
                  <a:pt x="497" y="278"/>
                </a:cubicBezTo>
                <a:cubicBezTo>
                  <a:pt x="496" y="280"/>
                  <a:pt x="496" y="280"/>
                  <a:pt x="496" y="280"/>
                </a:cubicBezTo>
                <a:cubicBezTo>
                  <a:pt x="496" y="280"/>
                  <a:pt x="496" y="280"/>
                  <a:pt x="496" y="280"/>
                </a:cubicBezTo>
                <a:cubicBezTo>
                  <a:pt x="494" y="284"/>
                  <a:pt x="494" y="284"/>
                  <a:pt x="493" y="284"/>
                </a:cubicBezTo>
                <a:cubicBezTo>
                  <a:pt x="492" y="285"/>
                  <a:pt x="492" y="285"/>
                  <a:pt x="492" y="285"/>
                </a:cubicBezTo>
                <a:cubicBezTo>
                  <a:pt x="492" y="285"/>
                  <a:pt x="492" y="285"/>
                  <a:pt x="492" y="285"/>
                </a:cubicBezTo>
                <a:cubicBezTo>
                  <a:pt x="492" y="286"/>
                  <a:pt x="492" y="286"/>
                  <a:pt x="492" y="286"/>
                </a:cubicBezTo>
                <a:cubicBezTo>
                  <a:pt x="514" y="287"/>
                  <a:pt x="537" y="287"/>
                  <a:pt x="558" y="288"/>
                </a:cubicBezTo>
                <a:cubicBezTo>
                  <a:pt x="575" y="288"/>
                  <a:pt x="590" y="288"/>
                  <a:pt x="605" y="288"/>
                </a:cubicBezTo>
                <a:moveTo>
                  <a:pt x="554" y="46"/>
                </a:moveTo>
                <a:cubicBezTo>
                  <a:pt x="531" y="34"/>
                  <a:pt x="531" y="34"/>
                  <a:pt x="531" y="34"/>
                </a:cubicBezTo>
                <a:cubicBezTo>
                  <a:pt x="531" y="34"/>
                  <a:pt x="531" y="34"/>
                  <a:pt x="531" y="34"/>
                </a:cubicBezTo>
                <a:cubicBezTo>
                  <a:pt x="532" y="34"/>
                  <a:pt x="532" y="34"/>
                  <a:pt x="532" y="34"/>
                </a:cubicBezTo>
                <a:cubicBezTo>
                  <a:pt x="533" y="35"/>
                  <a:pt x="533" y="35"/>
                  <a:pt x="533" y="35"/>
                </a:cubicBezTo>
                <a:cubicBezTo>
                  <a:pt x="532" y="35"/>
                  <a:pt x="532" y="35"/>
                  <a:pt x="532" y="35"/>
                </a:cubicBezTo>
                <a:cubicBezTo>
                  <a:pt x="533" y="35"/>
                  <a:pt x="533" y="35"/>
                  <a:pt x="533" y="35"/>
                </a:cubicBezTo>
                <a:cubicBezTo>
                  <a:pt x="534" y="35"/>
                  <a:pt x="534" y="35"/>
                  <a:pt x="534" y="35"/>
                </a:cubicBezTo>
                <a:cubicBezTo>
                  <a:pt x="533" y="35"/>
                  <a:pt x="533" y="35"/>
                  <a:pt x="533" y="35"/>
                </a:cubicBezTo>
                <a:cubicBezTo>
                  <a:pt x="532" y="35"/>
                  <a:pt x="530" y="34"/>
                  <a:pt x="529" y="33"/>
                </a:cubicBezTo>
                <a:cubicBezTo>
                  <a:pt x="530" y="33"/>
                  <a:pt x="530" y="34"/>
                  <a:pt x="531" y="34"/>
                </a:cubicBezTo>
                <a:cubicBezTo>
                  <a:pt x="531" y="34"/>
                  <a:pt x="530" y="34"/>
                  <a:pt x="529" y="33"/>
                </a:cubicBezTo>
                <a:cubicBezTo>
                  <a:pt x="528" y="33"/>
                  <a:pt x="528" y="33"/>
                  <a:pt x="525" y="31"/>
                </a:cubicBezTo>
                <a:cubicBezTo>
                  <a:pt x="524" y="31"/>
                  <a:pt x="524" y="31"/>
                  <a:pt x="524" y="31"/>
                </a:cubicBezTo>
                <a:cubicBezTo>
                  <a:pt x="523" y="31"/>
                  <a:pt x="523" y="31"/>
                  <a:pt x="523" y="31"/>
                </a:cubicBezTo>
                <a:cubicBezTo>
                  <a:pt x="525" y="32"/>
                  <a:pt x="527" y="32"/>
                  <a:pt x="529" y="33"/>
                </a:cubicBezTo>
                <a:cubicBezTo>
                  <a:pt x="529" y="33"/>
                  <a:pt x="529" y="33"/>
                  <a:pt x="529" y="33"/>
                </a:cubicBezTo>
                <a:cubicBezTo>
                  <a:pt x="529" y="34"/>
                  <a:pt x="529" y="34"/>
                  <a:pt x="529" y="34"/>
                </a:cubicBezTo>
                <a:cubicBezTo>
                  <a:pt x="530" y="34"/>
                  <a:pt x="531" y="34"/>
                  <a:pt x="532" y="35"/>
                </a:cubicBezTo>
                <a:cubicBezTo>
                  <a:pt x="532" y="35"/>
                  <a:pt x="532" y="35"/>
                  <a:pt x="533" y="35"/>
                </a:cubicBezTo>
                <a:cubicBezTo>
                  <a:pt x="533" y="35"/>
                  <a:pt x="534" y="36"/>
                  <a:pt x="534" y="36"/>
                </a:cubicBezTo>
                <a:cubicBezTo>
                  <a:pt x="534" y="36"/>
                  <a:pt x="534" y="36"/>
                  <a:pt x="534" y="36"/>
                </a:cubicBezTo>
                <a:cubicBezTo>
                  <a:pt x="535" y="37"/>
                  <a:pt x="535" y="37"/>
                  <a:pt x="535" y="37"/>
                </a:cubicBezTo>
                <a:cubicBezTo>
                  <a:pt x="535" y="37"/>
                  <a:pt x="535" y="37"/>
                  <a:pt x="535" y="37"/>
                </a:cubicBezTo>
                <a:cubicBezTo>
                  <a:pt x="536" y="37"/>
                  <a:pt x="536" y="37"/>
                  <a:pt x="536" y="37"/>
                </a:cubicBezTo>
                <a:cubicBezTo>
                  <a:pt x="535" y="37"/>
                  <a:pt x="535" y="37"/>
                  <a:pt x="535" y="37"/>
                </a:cubicBezTo>
                <a:cubicBezTo>
                  <a:pt x="535" y="37"/>
                  <a:pt x="529" y="34"/>
                  <a:pt x="526" y="32"/>
                </a:cubicBezTo>
                <a:cubicBezTo>
                  <a:pt x="526" y="32"/>
                  <a:pt x="526" y="32"/>
                  <a:pt x="526" y="32"/>
                </a:cubicBezTo>
                <a:cubicBezTo>
                  <a:pt x="525" y="32"/>
                  <a:pt x="524" y="31"/>
                  <a:pt x="524" y="31"/>
                </a:cubicBezTo>
                <a:cubicBezTo>
                  <a:pt x="523" y="31"/>
                  <a:pt x="523" y="31"/>
                  <a:pt x="522" y="30"/>
                </a:cubicBezTo>
                <a:cubicBezTo>
                  <a:pt x="522" y="30"/>
                  <a:pt x="522" y="30"/>
                  <a:pt x="522" y="30"/>
                </a:cubicBezTo>
                <a:cubicBezTo>
                  <a:pt x="521" y="30"/>
                  <a:pt x="521" y="30"/>
                  <a:pt x="517" y="28"/>
                </a:cubicBezTo>
                <a:cubicBezTo>
                  <a:pt x="517" y="28"/>
                  <a:pt x="517" y="28"/>
                  <a:pt x="517" y="28"/>
                </a:cubicBezTo>
                <a:cubicBezTo>
                  <a:pt x="516" y="27"/>
                  <a:pt x="514" y="27"/>
                  <a:pt x="513" y="26"/>
                </a:cubicBezTo>
                <a:cubicBezTo>
                  <a:pt x="513" y="26"/>
                  <a:pt x="513" y="26"/>
                  <a:pt x="513" y="26"/>
                </a:cubicBezTo>
                <a:cubicBezTo>
                  <a:pt x="511" y="25"/>
                  <a:pt x="509" y="25"/>
                  <a:pt x="507" y="24"/>
                </a:cubicBezTo>
                <a:cubicBezTo>
                  <a:pt x="507" y="24"/>
                  <a:pt x="507" y="24"/>
                  <a:pt x="507" y="24"/>
                </a:cubicBezTo>
                <a:cubicBezTo>
                  <a:pt x="504" y="23"/>
                  <a:pt x="502" y="22"/>
                  <a:pt x="499" y="21"/>
                </a:cubicBezTo>
                <a:cubicBezTo>
                  <a:pt x="498" y="21"/>
                  <a:pt x="498" y="21"/>
                  <a:pt x="498" y="21"/>
                </a:cubicBezTo>
                <a:cubicBezTo>
                  <a:pt x="498" y="21"/>
                  <a:pt x="498" y="21"/>
                  <a:pt x="498" y="21"/>
                </a:cubicBezTo>
                <a:cubicBezTo>
                  <a:pt x="498" y="21"/>
                  <a:pt x="499" y="21"/>
                  <a:pt x="499" y="21"/>
                </a:cubicBezTo>
                <a:cubicBezTo>
                  <a:pt x="499" y="21"/>
                  <a:pt x="498" y="21"/>
                  <a:pt x="497" y="21"/>
                </a:cubicBezTo>
                <a:cubicBezTo>
                  <a:pt x="498" y="21"/>
                  <a:pt x="499" y="21"/>
                  <a:pt x="500" y="22"/>
                </a:cubicBezTo>
                <a:cubicBezTo>
                  <a:pt x="500" y="22"/>
                  <a:pt x="500" y="22"/>
                  <a:pt x="500" y="22"/>
                </a:cubicBezTo>
                <a:cubicBezTo>
                  <a:pt x="499" y="22"/>
                  <a:pt x="499" y="22"/>
                  <a:pt x="499" y="22"/>
                </a:cubicBezTo>
                <a:cubicBezTo>
                  <a:pt x="499" y="21"/>
                  <a:pt x="498" y="21"/>
                  <a:pt x="498" y="21"/>
                </a:cubicBezTo>
                <a:cubicBezTo>
                  <a:pt x="497" y="21"/>
                  <a:pt x="496" y="20"/>
                  <a:pt x="494" y="20"/>
                </a:cubicBezTo>
                <a:cubicBezTo>
                  <a:pt x="494" y="20"/>
                  <a:pt x="494" y="20"/>
                  <a:pt x="494" y="20"/>
                </a:cubicBezTo>
                <a:cubicBezTo>
                  <a:pt x="494" y="20"/>
                  <a:pt x="493" y="20"/>
                  <a:pt x="489" y="18"/>
                </a:cubicBezTo>
                <a:cubicBezTo>
                  <a:pt x="489" y="18"/>
                  <a:pt x="488" y="18"/>
                  <a:pt x="487" y="17"/>
                </a:cubicBezTo>
                <a:cubicBezTo>
                  <a:pt x="486" y="18"/>
                  <a:pt x="486" y="18"/>
                  <a:pt x="486" y="18"/>
                </a:cubicBezTo>
                <a:cubicBezTo>
                  <a:pt x="497" y="21"/>
                  <a:pt x="497" y="21"/>
                  <a:pt x="499" y="22"/>
                </a:cubicBezTo>
                <a:cubicBezTo>
                  <a:pt x="498" y="22"/>
                  <a:pt x="498" y="22"/>
                  <a:pt x="498" y="22"/>
                </a:cubicBezTo>
                <a:cubicBezTo>
                  <a:pt x="498" y="22"/>
                  <a:pt x="499" y="23"/>
                  <a:pt x="500" y="23"/>
                </a:cubicBezTo>
                <a:cubicBezTo>
                  <a:pt x="500" y="23"/>
                  <a:pt x="500" y="23"/>
                  <a:pt x="500" y="23"/>
                </a:cubicBezTo>
                <a:cubicBezTo>
                  <a:pt x="500" y="23"/>
                  <a:pt x="500" y="23"/>
                  <a:pt x="500" y="23"/>
                </a:cubicBezTo>
                <a:cubicBezTo>
                  <a:pt x="500" y="23"/>
                  <a:pt x="500" y="23"/>
                  <a:pt x="500" y="23"/>
                </a:cubicBezTo>
                <a:cubicBezTo>
                  <a:pt x="500" y="23"/>
                  <a:pt x="500" y="23"/>
                  <a:pt x="500" y="23"/>
                </a:cubicBezTo>
                <a:cubicBezTo>
                  <a:pt x="500" y="23"/>
                  <a:pt x="500" y="23"/>
                  <a:pt x="500" y="23"/>
                </a:cubicBezTo>
                <a:cubicBezTo>
                  <a:pt x="500" y="23"/>
                  <a:pt x="500" y="23"/>
                  <a:pt x="500" y="23"/>
                </a:cubicBezTo>
                <a:cubicBezTo>
                  <a:pt x="501" y="24"/>
                  <a:pt x="501" y="24"/>
                  <a:pt x="502" y="24"/>
                </a:cubicBezTo>
                <a:cubicBezTo>
                  <a:pt x="502" y="24"/>
                  <a:pt x="503" y="24"/>
                  <a:pt x="503" y="25"/>
                </a:cubicBezTo>
                <a:cubicBezTo>
                  <a:pt x="503" y="24"/>
                  <a:pt x="503" y="24"/>
                  <a:pt x="500" y="24"/>
                </a:cubicBezTo>
                <a:cubicBezTo>
                  <a:pt x="499" y="24"/>
                  <a:pt x="499" y="24"/>
                  <a:pt x="499" y="24"/>
                </a:cubicBezTo>
                <a:cubicBezTo>
                  <a:pt x="498" y="23"/>
                  <a:pt x="498" y="23"/>
                  <a:pt x="498" y="23"/>
                </a:cubicBezTo>
                <a:cubicBezTo>
                  <a:pt x="500" y="24"/>
                  <a:pt x="501" y="25"/>
                  <a:pt x="502" y="25"/>
                </a:cubicBezTo>
                <a:cubicBezTo>
                  <a:pt x="502" y="25"/>
                  <a:pt x="502" y="25"/>
                  <a:pt x="502" y="25"/>
                </a:cubicBezTo>
                <a:cubicBezTo>
                  <a:pt x="503" y="26"/>
                  <a:pt x="504" y="26"/>
                  <a:pt x="504" y="27"/>
                </a:cubicBezTo>
                <a:cubicBezTo>
                  <a:pt x="504" y="27"/>
                  <a:pt x="504" y="27"/>
                  <a:pt x="504" y="27"/>
                </a:cubicBezTo>
                <a:cubicBezTo>
                  <a:pt x="506" y="29"/>
                  <a:pt x="506" y="29"/>
                  <a:pt x="515" y="34"/>
                </a:cubicBezTo>
                <a:cubicBezTo>
                  <a:pt x="516" y="34"/>
                  <a:pt x="516" y="34"/>
                  <a:pt x="517" y="34"/>
                </a:cubicBezTo>
                <a:cubicBezTo>
                  <a:pt x="517" y="35"/>
                  <a:pt x="517" y="35"/>
                  <a:pt x="517" y="35"/>
                </a:cubicBezTo>
                <a:cubicBezTo>
                  <a:pt x="517" y="35"/>
                  <a:pt x="517" y="35"/>
                  <a:pt x="517" y="35"/>
                </a:cubicBezTo>
                <a:cubicBezTo>
                  <a:pt x="517" y="35"/>
                  <a:pt x="517" y="35"/>
                  <a:pt x="517" y="35"/>
                </a:cubicBezTo>
                <a:cubicBezTo>
                  <a:pt x="516" y="35"/>
                  <a:pt x="516" y="35"/>
                  <a:pt x="515" y="35"/>
                </a:cubicBezTo>
                <a:cubicBezTo>
                  <a:pt x="515" y="36"/>
                  <a:pt x="515" y="36"/>
                  <a:pt x="514" y="36"/>
                </a:cubicBezTo>
                <a:cubicBezTo>
                  <a:pt x="515" y="36"/>
                  <a:pt x="515" y="36"/>
                  <a:pt x="515" y="36"/>
                </a:cubicBezTo>
                <a:cubicBezTo>
                  <a:pt x="515" y="37"/>
                  <a:pt x="515" y="37"/>
                  <a:pt x="515" y="37"/>
                </a:cubicBezTo>
                <a:cubicBezTo>
                  <a:pt x="515" y="37"/>
                  <a:pt x="515" y="37"/>
                  <a:pt x="514" y="37"/>
                </a:cubicBezTo>
                <a:cubicBezTo>
                  <a:pt x="515" y="37"/>
                  <a:pt x="524" y="42"/>
                  <a:pt x="525" y="43"/>
                </a:cubicBezTo>
                <a:cubicBezTo>
                  <a:pt x="526" y="43"/>
                  <a:pt x="526" y="43"/>
                  <a:pt x="526" y="43"/>
                </a:cubicBezTo>
                <a:cubicBezTo>
                  <a:pt x="526" y="43"/>
                  <a:pt x="527" y="43"/>
                  <a:pt x="530" y="44"/>
                </a:cubicBezTo>
                <a:cubicBezTo>
                  <a:pt x="530" y="45"/>
                  <a:pt x="531" y="45"/>
                  <a:pt x="531" y="45"/>
                </a:cubicBezTo>
                <a:cubicBezTo>
                  <a:pt x="532" y="46"/>
                  <a:pt x="532" y="46"/>
                  <a:pt x="532" y="46"/>
                </a:cubicBezTo>
                <a:cubicBezTo>
                  <a:pt x="531" y="46"/>
                  <a:pt x="531" y="46"/>
                  <a:pt x="524" y="43"/>
                </a:cubicBezTo>
                <a:cubicBezTo>
                  <a:pt x="524" y="43"/>
                  <a:pt x="523" y="43"/>
                  <a:pt x="523" y="43"/>
                </a:cubicBezTo>
                <a:cubicBezTo>
                  <a:pt x="522" y="43"/>
                  <a:pt x="521" y="42"/>
                  <a:pt x="520" y="42"/>
                </a:cubicBezTo>
                <a:cubicBezTo>
                  <a:pt x="519" y="41"/>
                  <a:pt x="519" y="41"/>
                  <a:pt x="519" y="41"/>
                </a:cubicBezTo>
                <a:cubicBezTo>
                  <a:pt x="519" y="42"/>
                  <a:pt x="519" y="42"/>
                  <a:pt x="519" y="42"/>
                </a:cubicBezTo>
                <a:cubicBezTo>
                  <a:pt x="520" y="43"/>
                  <a:pt x="520" y="43"/>
                  <a:pt x="520" y="43"/>
                </a:cubicBezTo>
                <a:cubicBezTo>
                  <a:pt x="522" y="43"/>
                  <a:pt x="522" y="43"/>
                  <a:pt x="524" y="45"/>
                </a:cubicBezTo>
                <a:cubicBezTo>
                  <a:pt x="524" y="45"/>
                  <a:pt x="524" y="45"/>
                  <a:pt x="522" y="44"/>
                </a:cubicBezTo>
                <a:cubicBezTo>
                  <a:pt x="521" y="44"/>
                  <a:pt x="521" y="44"/>
                  <a:pt x="521" y="44"/>
                </a:cubicBezTo>
                <a:cubicBezTo>
                  <a:pt x="523" y="46"/>
                  <a:pt x="525" y="47"/>
                  <a:pt x="526" y="47"/>
                </a:cubicBezTo>
                <a:cubicBezTo>
                  <a:pt x="526" y="47"/>
                  <a:pt x="526" y="47"/>
                  <a:pt x="526" y="47"/>
                </a:cubicBezTo>
                <a:cubicBezTo>
                  <a:pt x="526" y="47"/>
                  <a:pt x="526" y="47"/>
                  <a:pt x="526" y="47"/>
                </a:cubicBezTo>
                <a:cubicBezTo>
                  <a:pt x="526" y="47"/>
                  <a:pt x="526" y="47"/>
                  <a:pt x="526" y="47"/>
                </a:cubicBezTo>
                <a:cubicBezTo>
                  <a:pt x="526" y="47"/>
                  <a:pt x="526" y="47"/>
                  <a:pt x="526" y="47"/>
                </a:cubicBezTo>
                <a:cubicBezTo>
                  <a:pt x="527" y="47"/>
                  <a:pt x="527" y="47"/>
                  <a:pt x="527" y="47"/>
                </a:cubicBezTo>
                <a:cubicBezTo>
                  <a:pt x="527" y="47"/>
                  <a:pt x="527" y="47"/>
                  <a:pt x="527" y="47"/>
                </a:cubicBezTo>
                <a:cubicBezTo>
                  <a:pt x="527" y="47"/>
                  <a:pt x="527" y="47"/>
                  <a:pt x="527" y="47"/>
                </a:cubicBezTo>
                <a:cubicBezTo>
                  <a:pt x="527" y="47"/>
                  <a:pt x="527" y="47"/>
                  <a:pt x="527" y="47"/>
                </a:cubicBezTo>
                <a:cubicBezTo>
                  <a:pt x="530" y="48"/>
                  <a:pt x="533" y="50"/>
                  <a:pt x="533" y="50"/>
                </a:cubicBezTo>
                <a:cubicBezTo>
                  <a:pt x="530" y="48"/>
                  <a:pt x="526" y="48"/>
                  <a:pt x="523" y="46"/>
                </a:cubicBezTo>
                <a:cubicBezTo>
                  <a:pt x="522" y="46"/>
                  <a:pt x="521" y="45"/>
                  <a:pt x="521" y="45"/>
                </a:cubicBezTo>
                <a:cubicBezTo>
                  <a:pt x="515" y="41"/>
                  <a:pt x="515" y="41"/>
                  <a:pt x="512" y="40"/>
                </a:cubicBezTo>
                <a:cubicBezTo>
                  <a:pt x="512" y="40"/>
                  <a:pt x="512" y="40"/>
                  <a:pt x="512" y="40"/>
                </a:cubicBezTo>
                <a:cubicBezTo>
                  <a:pt x="512" y="40"/>
                  <a:pt x="512" y="40"/>
                  <a:pt x="512" y="40"/>
                </a:cubicBezTo>
                <a:cubicBezTo>
                  <a:pt x="512" y="40"/>
                  <a:pt x="512" y="40"/>
                  <a:pt x="512" y="40"/>
                </a:cubicBezTo>
                <a:cubicBezTo>
                  <a:pt x="512" y="40"/>
                  <a:pt x="512" y="40"/>
                  <a:pt x="512" y="40"/>
                </a:cubicBezTo>
                <a:cubicBezTo>
                  <a:pt x="512" y="40"/>
                  <a:pt x="512" y="40"/>
                  <a:pt x="512" y="40"/>
                </a:cubicBezTo>
                <a:cubicBezTo>
                  <a:pt x="512" y="40"/>
                  <a:pt x="512" y="40"/>
                  <a:pt x="512" y="40"/>
                </a:cubicBezTo>
                <a:cubicBezTo>
                  <a:pt x="512" y="40"/>
                  <a:pt x="512" y="40"/>
                  <a:pt x="512" y="40"/>
                </a:cubicBezTo>
                <a:cubicBezTo>
                  <a:pt x="512" y="40"/>
                  <a:pt x="512" y="40"/>
                  <a:pt x="512" y="40"/>
                </a:cubicBezTo>
                <a:cubicBezTo>
                  <a:pt x="517" y="43"/>
                  <a:pt x="517" y="43"/>
                  <a:pt x="517" y="43"/>
                </a:cubicBezTo>
                <a:cubicBezTo>
                  <a:pt x="518" y="44"/>
                  <a:pt x="518" y="44"/>
                  <a:pt x="519" y="44"/>
                </a:cubicBezTo>
                <a:cubicBezTo>
                  <a:pt x="518" y="44"/>
                  <a:pt x="518" y="44"/>
                  <a:pt x="518" y="44"/>
                </a:cubicBezTo>
                <a:cubicBezTo>
                  <a:pt x="519" y="46"/>
                  <a:pt x="521" y="47"/>
                  <a:pt x="521" y="47"/>
                </a:cubicBezTo>
                <a:cubicBezTo>
                  <a:pt x="521" y="48"/>
                  <a:pt x="521" y="48"/>
                  <a:pt x="521" y="48"/>
                </a:cubicBezTo>
                <a:cubicBezTo>
                  <a:pt x="530" y="53"/>
                  <a:pt x="530" y="53"/>
                  <a:pt x="532" y="54"/>
                </a:cubicBezTo>
                <a:cubicBezTo>
                  <a:pt x="532" y="55"/>
                  <a:pt x="532" y="55"/>
                  <a:pt x="532" y="55"/>
                </a:cubicBezTo>
                <a:cubicBezTo>
                  <a:pt x="534" y="56"/>
                  <a:pt x="537" y="58"/>
                  <a:pt x="539" y="60"/>
                </a:cubicBezTo>
                <a:cubicBezTo>
                  <a:pt x="540" y="60"/>
                  <a:pt x="541" y="60"/>
                  <a:pt x="541" y="60"/>
                </a:cubicBezTo>
                <a:cubicBezTo>
                  <a:pt x="541" y="59"/>
                  <a:pt x="540" y="59"/>
                  <a:pt x="540" y="58"/>
                </a:cubicBezTo>
                <a:cubicBezTo>
                  <a:pt x="540" y="58"/>
                  <a:pt x="540" y="58"/>
                  <a:pt x="540" y="58"/>
                </a:cubicBezTo>
                <a:cubicBezTo>
                  <a:pt x="546" y="60"/>
                  <a:pt x="550" y="65"/>
                  <a:pt x="556" y="67"/>
                </a:cubicBezTo>
                <a:cubicBezTo>
                  <a:pt x="557" y="68"/>
                  <a:pt x="558" y="68"/>
                  <a:pt x="559" y="69"/>
                </a:cubicBezTo>
                <a:cubicBezTo>
                  <a:pt x="558" y="70"/>
                  <a:pt x="558" y="70"/>
                  <a:pt x="558" y="70"/>
                </a:cubicBezTo>
                <a:cubicBezTo>
                  <a:pt x="555" y="68"/>
                  <a:pt x="555" y="68"/>
                  <a:pt x="553" y="67"/>
                </a:cubicBezTo>
                <a:cubicBezTo>
                  <a:pt x="553" y="66"/>
                  <a:pt x="553" y="66"/>
                  <a:pt x="552" y="66"/>
                </a:cubicBezTo>
                <a:cubicBezTo>
                  <a:pt x="552" y="66"/>
                  <a:pt x="546" y="61"/>
                  <a:pt x="544" y="62"/>
                </a:cubicBezTo>
                <a:cubicBezTo>
                  <a:pt x="543" y="62"/>
                  <a:pt x="543" y="62"/>
                  <a:pt x="543" y="62"/>
                </a:cubicBezTo>
                <a:cubicBezTo>
                  <a:pt x="544" y="64"/>
                  <a:pt x="554" y="73"/>
                  <a:pt x="554" y="73"/>
                </a:cubicBezTo>
                <a:cubicBezTo>
                  <a:pt x="553" y="73"/>
                  <a:pt x="553" y="73"/>
                  <a:pt x="553" y="73"/>
                </a:cubicBezTo>
                <a:cubicBezTo>
                  <a:pt x="553" y="73"/>
                  <a:pt x="553" y="74"/>
                  <a:pt x="553" y="75"/>
                </a:cubicBezTo>
                <a:cubicBezTo>
                  <a:pt x="553" y="75"/>
                  <a:pt x="554" y="76"/>
                  <a:pt x="554" y="76"/>
                </a:cubicBezTo>
                <a:cubicBezTo>
                  <a:pt x="554" y="76"/>
                  <a:pt x="554" y="76"/>
                  <a:pt x="554" y="76"/>
                </a:cubicBezTo>
                <a:cubicBezTo>
                  <a:pt x="553" y="76"/>
                  <a:pt x="553" y="76"/>
                  <a:pt x="551" y="76"/>
                </a:cubicBezTo>
                <a:cubicBezTo>
                  <a:pt x="550" y="75"/>
                  <a:pt x="549" y="75"/>
                  <a:pt x="548" y="75"/>
                </a:cubicBezTo>
                <a:cubicBezTo>
                  <a:pt x="547" y="75"/>
                  <a:pt x="547" y="75"/>
                  <a:pt x="547" y="75"/>
                </a:cubicBezTo>
                <a:cubicBezTo>
                  <a:pt x="547" y="74"/>
                  <a:pt x="546" y="74"/>
                  <a:pt x="546" y="73"/>
                </a:cubicBezTo>
                <a:cubicBezTo>
                  <a:pt x="547" y="73"/>
                  <a:pt x="548" y="74"/>
                  <a:pt x="550" y="74"/>
                </a:cubicBezTo>
                <a:cubicBezTo>
                  <a:pt x="550" y="73"/>
                  <a:pt x="550" y="72"/>
                  <a:pt x="547" y="68"/>
                </a:cubicBezTo>
                <a:cubicBezTo>
                  <a:pt x="547" y="68"/>
                  <a:pt x="547" y="68"/>
                  <a:pt x="533" y="57"/>
                </a:cubicBezTo>
                <a:cubicBezTo>
                  <a:pt x="532" y="56"/>
                  <a:pt x="532" y="56"/>
                  <a:pt x="531" y="56"/>
                </a:cubicBezTo>
                <a:cubicBezTo>
                  <a:pt x="527" y="52"/>
                  <a:pt x="527" y="52"/>
                  <a:pt x="520" y="48"/>
                </a:cubicBezTo>
                <a:cubicBezTo>
                  <a:pt x="518" y="47"/>
                  <a:pt x="516" y="45"/>
                  <a:pt x="515" y="44"/>
                </a:cubicBezTo>
                <a:cubicBezTo>
                  <a:pt x="515" y="44"/>
                  <a:pt x="515" y="44"/>
                  <a:pt x="516" y="44"/>
                </a:cubicBezTo>
                <a:cubicBezTo>
                  <a:pt x="510" y="41"/>
                  <a:pt x="510" y="41"/>
                  <a:pt x="510" y="41"/>
                </a:cubicBezTo>
                <a:cubicBezTo>
                  <a:pt x="509" y="41"/>
                  <a:pt x="508" y="40"/>
                  <a:pt x="507" y="40"/>
                </a:cubicBezTo>
                <a:cubicBezTo>
                  <a:pt x="506" y="40"/>
                  <a:pt x="506" y="40"/>
                  <a:pt x="506" y="40"/>
                </a:cubicBezTo>
                <a:cubicBezTo>
                  <a:pt x="505" y="40"/>
                  <a:pt x="505" y="40"/>
                  <a:pt x="505" y="40"/>
                </a:cubicBezTo>
                <a:cubicBezTo>
                  <a:pt x="506" y="41"/>
                  <a:pt x="506" y="41"/>
                  <a:pt x="506" y="41"/>
                </a:cubicBezTo>
                <a:cubicBezTo>
                  <a:pt x="505" y="41"/>
                  <a:pt x="505" y="41"/>
                  <a:pt x="505" y="41"/>
                </a:cubicBezTo>
                <a:cubicBezTo>
                  <a:pt x="506" y="43"/>
                  <a:pt x="513" y="48"/>
                  <a:pt x="513" y="48"/>
                </a:cubicBezTo>
                <a:cubicBezTo>
                  <a:pt x="512" y="48"/>
                  <a:pt x="512" y="48"/>
                  <a:pt x="512" y="48"/>
                </a:cubicBezTo>
                <a:cubicBezTo>
                  <a:pt x="512" y="49"/>
                  <a:pt x="512" y="49"/>
                  <a:pt x="512" y="49"/>
                </a:cubicBezTo>
                <a:cubicBezTo>
                  <a:pt x="513" y="50"/>
                  <a:pt x="513" y="50"/>
                  <a:pt x="513" y="50"/>
                </a:cubicBezTo>
                <a:cubicBezTo>
                  <a:pt x="514" y="50"/>
                  <a:pt x="514" y="50"/>
                  <a:pt x="514" y="50"/>
                </a:cubicBezTo>
                <a:cubicBezTo>
                  <a:pt x="514" y="51"/>
                  <a:pt x="515" y="51"/>
                  <a:pt x="515" y="51"/>
                </a:cubicBezTo>
                <a:cubicBezTo>
                  <a:pt x="516" y="51"/>
                  <a:pt x="519" y="53"/>
                  <a:pt x="520" y="54"/>
                </a:cubicBezTo>
                <a:cubicBezTo>
                  <a:pt x="521" y="56"/>
                  <a:pt x="523" y="57"/>
                  <a:pt x="530" y="60"/>
                </a:cubicBezTo>
                <a:cubicBezTo>
                  <a:pt x="532" y="62"/>
                  <a:pt x="532" y="62"/>
                  <a:pt x="535" y="65"/>
                </a:cubicBezTo>
                <a:cubicBezTo>
                  <a:pt x="535" y="65"/>
                  <a:pt x="534" y="65"/>
                  <a:pt x="534" y="65"/>
                </a:cubicBezTo>
                <a:cubicBezTo>
                  <a:pt x="533" y="65"/>
                  <a:pt x="533" y="65"/>
                  <a:pt x="516" y="57"/>
                </a:cubicBezTo>
                <a:cubicBezTo>
                  <a:pt x="515" y="57"/>
                  <a:pt x="515" y="57"/>
                  <a:pt x="514" y="57"/>
                </a:cubicBezTo>
                <a:cubicBezTo>
                  <a:pt x="513" y="57"/>
                  <a:pt x="512" y="56"/>
                  <a:pt x="511" y="56"/>
                </a:cubicBezTo>
                <a:cubicBezTo>
                  <a:pt x="510" y="56"/>
                  <a:pt x="510" y="56"/>
                  <a:pt x="509" y="56"/>
                </a:cubicBezTo>
                <a:cubicBezTo>
                  <a:pt x="507" y="55"/>
                  <a:pt x="505" y="54"/>
                  <a:pt x="503" y="53"/>
                </a:cubicBezTo>
                <a:cubicBezTo>
                  <a:pt x="502" y="53"/>
                  <a:pt x="502" y="52"/>
                  <a:pt x="501" y="52"/>
                </a:cubicBezTo>
                <a:cubicBezTo>
                  <a:pt x="500" y="52"/>
                  <a:pt x="500" y="52"/>
                  <a:pt x="500" y="52"/>
                </a:cubicBezTo>
                <a:cubicBezTo>
                  <a:pt x="500" y="53"/>
                  <a:pt x="500" y="53"/>
                  <a:pt x="500" y="53"/>
                </a:cubicBezTo>
                <a:cubicBezTo>
                  <a:pt x="504" y="57"/>
                  <a:pt x="511" y="56"/>
                  <a:pt x="514" y="62"/>
                </a:cubicBezTo>
                <a:cubicBezTo>
                  <a:pt x="514" y="62"/>
                  <a:pt x="514" y="62"/>
                  <a:pt x="514" y="62"/>
                </a:cubicBezTo>
                <a:cubicBezTo>
                  <a:pt x="514" y="63"/>
                  <a:pt x="514" y="64"/>
                  <a:pt x="514" y="65"/>
                </a:cubicBezTo>
                <a:cubicBezTo>
                  <a:pt x="514" y="65"/>
                  <a:pt x="514" y="65"/>
                  <a:pt x="514" y="65"/>
                </a:cubicBezTo>
                <a:cubicBezTo>
                  <a:pt x="510" y="61"/>
                  <a:pt x="510" y="61"/>
                  <a:pt x="510" y="61"/>
                </a:cubicBezTo>
                <a:cubicBezTo>
                  <a:pt x="509" y="61"/>
                  <a:pt x="509" y="61"/>
                  <a:pt x="509" y="61"/>
                </a:cubicBezTo>
                <a:cubicBezTo>
                  <a:pt x="509" y="61"/>
                  <a:pt x="509" y="61"/>
                  <a:pt x="509" y="61"/>
                </a:cubicBezTo>
                <a:cubicBezTo>
                  <a:pt x="509" y="62"/>
                  <a:pt x="509" y="62"/>
                  <a:pt x="509" y="62"/>
                </a:cubicBezTo>
                <a:cubicBezTo>
                  <a:pt x="508" y="63"/>
                  <a:pt x="508" y="63"/>
                  <a:pt x="508" y="63"/>
                </a:cubicBezTo>
                <a:cubicBezTo>
                  <a:pt x="508" y="63"/>
                  <a:pt x="508" y="63"/>
                  <a:pt x="508" y="63"/>
                </a:cubicBezTo>
                <a:cubicBezTo>
                  <a:pt x="507" y="62"/>
                  <a:pt x="507" y="62"/>
                  <a:pt x="507" y="62"/>
                </a:cubicBezTo>
                <a:cubicBezTo>
                  <a:pt x="522" y="79"/>
                  <a:pt x="537" y="99"/>
                  <a:pt x="550" y="121"/>
                </a:cubicBezTo>
                <a:cubicBezTo>
                  <a:pt x="614" y="121"/>
                  <a:pt x="649" y="120"/>
                  <a:pt x="646" y="118"/>
                </a:cubicBezTo>
                <a:cubicBezTo>
                  <a:pt x="644" y="116"/>
                  <a:pt x="644" y="116"/>
                  <a:pt x="644" y="116"/>
                </a:cubicBezTo>
                <a:cubicBezTo>
                  <a:pt x="617" y="89"/>
                  <a:pt x="617" y="89"/>
                  <a:pt x="602" y="77"/>
                </a:cubicBezTo>
                <a:cubicBezTo>
                  <a:pt x="573" y="57"/>
                  <a:pt x="569" y="54"/>
                  <a:pt x="554" y="46"/>
                </a:cubicBezTo>
                <a:moveTo>
                  <a:pt x="624" y="357"/>
                </a:moveTo>
                <a:cubicBezTo>
                  <a:pt x="624" y="357"/>
                  <a:pt x="624" y="357"/>
                  <a:pt x="624" y="357"/>
                </a:cubicBezTo>
                <a:cubicBezTo>
                  <a:pt x="624" y="356"/>
                  <a:pt x="624" y="354"/>
                  <a:pt x="623" y="354"/>
                </a:cubicBezTo>
                <a:cubicBezTo>
                  <a:pt x="623" y="353"/>
                  <a:pt x="622" y="353"/>
                  <a:pt x="621" y="353"/>
                </a:cubicBezTo>
                <a:cubicBezTo>
                  <a:pt x="620" y="352"/>
                  <a:pt x="620" y="352"/>
                  <a:pt x="620" y="352"/>
                </a:cubicBezTo>
                <a:cubicBezTo>
                  <a:pt x="619" y="351"/>
                  <a:pt x="620" y="349"/>
                  <a:pt x="619" y="348"/>
                </a:cubicBezTo>
                <a:cubicBezTo>
                  <a:pt x="618" y="346"/>
                  <a:pt x="616" y="345"/>
                  <a:pt x="615" y="345"/>
                </a:cubicBezTo>
                <a:cubicBezTo>
                  <a:pt x="613" y="345"/>
                  <a:pt x="615" y="341"/>
                  <a:pt x="614" y="340"/>
                </a:cubicBezTo>
                <a:cubicBezTo>
                  <a:pt x="612" y="338"/>
                  <a:pt x="612" y="338"/>
                  <a:pt x="612" y="338"/>
                </a:cubicBezTo>
                <a:cubicBezTo>
                  <a:pt x="612" y="338"/>
                  <a:pt x="611" y="338"/>
                  <a:pt x="610" y="338"/>
                </a:cubicBezTo>
                <a:cubicBezTo>
                  <a:pt x="611" y="341"/>
                  <a:pt x="611" y="341"/>
                  <a:pt x="610" y="342"/>
                </a:cubicBezTo>
                <a:cubicBezTo>
                  <a:pt x="610" y="354"/>
                  <a:pt x="611" y="365"/>
                  <a:pt x="610" y="376"/>
                </a:cubicBezTo>
                <a:cubicBezTo>
                  <a:pt x="611" y="376"/>
                  <a:pt x="611" y="376"/>
                  <a:pt x="611" y="376"/>
                </a:cubicBezTo>
                <a:cubicBezTo>
                  <a:pt x="612" y="376"/>
                  <a:pt x="612" y="376"/>
                  <a:pt x="612" y="376"/>
                </a:cubicBezTo>
                <a:cubicBezTo>
                  <a:pt x="613" y="376"/>
                  <a:pt x="613" y="376"/>
                  <a:pt x="613" y="376"/>
                </a:cubicBezTo>
                <a:cubicBezTo>
                  <a:pt x="614" y="375"/>
                  <a:pt x="614" y="374"/>
                  <a:pt x="614" y="374"/>
                </a:cubicBezTo>
                <a:cubicBezTo>
                  <a:pt x="614" y="373"/>
                  <a:pt x="614" y="373"/>
                  <a:pt x="614" y="372"/>
                </a:cubicBezTo>
                <a:cubicBezTo>
                  <a:pt x="614" y="372"/>
                  <a:pt x="614" y="372"/>
                  <a:pt x="614" y="372"/>
                </a:cubicBezTo>
                <a:cubicBezTo>
                  <a:pt x="614" y="370"/>
                  <a:pt x="616" y="368"/>
                  <a:pt x="617" y="368"/>
                </a:cubicBezTo>
                <a:cubicBezTo>
                  <a:pt x="618" y="368"/>
                  <a:pt x="618" y="368"/>
                  <a:pt x="618" y="368"/>
                </a:cubicBezTo>
                <a:cubicBezTo>
                  <a:pt x="618" y="368"/>
                  <a:pt x="618" y="369"/>
                  <a:pt x="619" y="369"/>
                </a:cubicBezTo>
                <a:cubicBezTo>
                  <a:pt x="620" y="366"/>
                  <a:pt x="619" y="362"/>
                  <a:pt x="620" y="359"/>
                </a:cubicBezTo>
                <a:cubicBezTo>
                  <a:pt x="620" y="358"/>
                  <a:pt x="620" y="358"/>
                  <a:pt x="622" y="358"/>
                </a:cubicBezTo>
                <a:cubicBezTo>
                  <a:pt x="622" y="358"/>
                  <a:pt x="623" y="358"/>
                  <a:pt x="624" y="357"/>
                </a:cubicBezTo>
                <a:moveTo>
                  <a:pt x="743" y="321"/>
                </a:moveTo>
                <a:cubicBezTo>
                  <a:pt x="741" y="310"/>
                  <a:pt x="738" y="295"/>
                  <a:pt x="736" y="284"/>
                </a:cubicBezTo>
                <a:cubicBezTo>
                  <a:pt x="736" y="287"/>
                  <a:pt x="690" y="289"/>
                  <a:pt x="605" y="288"/>
                </a:cubicBezTo>
                <a:cubicBezTo>
                  <a:pt x="607" y="300"/>
                  <a:pt x="608" y="313"/>
                  <a:pt x="609" y="325"/>
                </a:cubicBezTo>
                <a:cubicBezTo>
                  <a:pt x="610" y="327"/>
                  <a:pt x="610" y="330"/>
                  <a:pt x="612" y="331"/>
                </a:cubicBezTo>
                <a:cubicBezTo>
                  <a:pt x="614" y="331"/>
                  <a:pt x="616" y="331"/>
                  <a:pt x="618" y="331"/>
                </a:cubicBezTo>
                <a:cubicBezTo>
                  <a:pt x="621" y="330"/>
                  <a:pt x="621" y="334"/>
                  <a:pt x="623" y="334"/>
                </a:cubicBezTo>
                <a:cubicBezTo>
                  <a:pt x="625" y="334"/>
                  <a:pt x="627" y="334"/>
                  <a:pt x="628" y="334"/>
                </a:cubicBezTo>
                <a:cubicBezTo>
                  <a:pt x="629" y="335"/>
                  <a:pt x="629" y="335"/>
                  <a:pt x="630" y="335"/>
                </a:cubicBezTo>
                <a:cubicBezTo>
                  <a:pt x="637" y="335"/>
                  <a:pt x="637" y="335"/>
                  <a:pt x="637" y="335"/>
                </a:cubicBezTo>
                <a:cubicBezTo>
                  <a:pt x="643" y="334"/>
                  <a:pt x="643" y="334"/>
                  <a:pt x="643" y="334"/>
                </a:cubicBezTo>
                <a:cubicBezTo>
                  <a:pt x="644" y="334"/>
                  <a:pt x="646" y="334"/>
                  <a:pt x="647" y="334"/>
                </a:cubicBezTo>
                <a:cubicBezTo>
                  <a:pt x="648" y="334"/>
                  <a:pt x="655" y="341"/>
                  <a:pt x="656" y="346"/>
                </a:cubicBezTo>
                <a:cubicBezTo>
                  <a:pt x="656" y="346"/>
                  <a:pt x="656" y="346"/>
                  <a:pt x="657" y="346"/>
                </a:cubicBezTo>
                <a:cubicBezTo>
                  <a:pt x="657" y="347"/>
                  <a:pt x="657" y="347"/>
                  <a:pt x="658" y="349"/>
                </a:cubicBezTo>
                <a:cubicBezTo>
                  <a:pt x="659" y="349"/>
                  <a:pt x="659" y="349"/>
                  <a:pt x="660" y="349"/>
                </a:cubicBezTo>
                <a:cubicBezTo>
                  <a:pt x="661" y="349"/>
                  <a:pt x="661" y="349"/>
                  <a:pt x="664" y="351"/>
                </a:cubicBezTo>
                <a:cubicBezTo>
                  <a:pt x="657" y="352"/>
                  <a:pt x="661" y="356"/>
                  <a:pt x="661" y="356"/>
                </a:cubicBezTo>
                <a:cubicBezTo>
                  <a:pt x="664" y="358"/>
                  <a:pt x="663" y="363"/>
                  <a:pt x="668" y="363"/>
                </a:cubicBezTo>
                <a:cubicBezTo>
                  <a:pt x="670" y="360"/>
                  <a:pt x="670" y="360"/>
                  <a:pt x="671" y="360"/>
                </a:cubicBezTo>
                <a:cubicBezTo>
                  <a:pt x="671" y="359"/>
                  <a:pt x="671" y="358"/>
                  <a:pt x="672" y="358"/>
                </a:cubicBezTo>
                <a:cubicBezTo>
                  <a:pt x="672" y="358"/>
                  <a:pt x="672" y="357"/>
                  <a:pt x="673" y="357"/>
                </a:cubicBezTo>
                <a:cubicBezTo>
                  <a:pt x="676" y="360"/>
                  <a:pt x="676" y="371"/>
                  <a:pt x="676" y="372"/>
                </a:cubicBezTo>
                <a:cubicBezTo>
                  <a:pt x="676" y="373"/>
                  <a:pt x="676" y="374"/>
                  <a:pt x="676" y="375"/>
                </a:cubicBezTo>
                <a:cubicBezTo>
                  <a:pt x="674" y="389"/>
                  <a:pt x="682" y="401"/>
                  <a:pt x="681" y="415"/>
                </a:cubicBezTo>
                <a:cubicBezTo>
                  <a:pt x="681" y="416"/>
                  <a:pt x="681" y="416"/>
                  <a:pt x="681" y="416"/>
                </a:cubicBezTo>
                <a:cubicBezTo>
                  <a:pt x="680" y="424"/>
                  <a:pt x="683" y="431"/>
                  <a:pt x="683" y="439"/>
                </a:cubicBezTo>
                <a:cubicBezTo>
                  <a:pt x="684" y="439"/>
                  <a:pt x="684" y="440"/>
                  <a:pt x="684" y="441"/>
                </a:cubicBezTo>
                <a:cubicBezTo>
                  <a:pt x="684" y="441"/>
                  <a:pt x="685" y="441"/>
                  <a:pt x="685" y="441"/>
                </a:cubicBezTo>
                <a:cubicBezTo>
                  <a:pt x="690" y="437"/>
                  <a:pt x="690" y="437"/>
                  <a:pt x="696" y="409"/>
                </a:cubicBezTo>
                <a:cubicBezTo>
                  <a:pt x="696" y="407"/>
                  <a:pt x="697" y="405"/>
                  <a:pt x="697" y="402"/>
                </a:cubicBezTo>
                <a:cubicBezTo>
                  <a:pt x="697" y="395"/>
                  <a:pt x="697" y="395"/>
                  <a:pt x="698" y="394"/>
                </a:cubicBezTo>
                <a:cubicBezTo>
                  <a:pt x="705" y="394"/>
                  <a:pt x="710" y="372"/>
                  <a:pt x="710" y="371"/>
                </a:cubicBezTo>
                <a:cubicBezTo>
                  <a:pt x="710" y="371"/>
                  <a:pt x="710" y="371"/>
                  <a:pt x="713" y="367"/>
                </a:cubicBezTo>
                <a:cubicBezTo>
                  <a:pt x="713" y="367"/>
                  <a:pt x="713" y="367"/>
                  <a:pt x="713" y="367"/>
                </a:cubicBezTo>
                <a:cubicBezTo>
                  <a:pt x="713" y="367"/>
                  <a:pt x="713" y="367"/>
                  <a:pt x="713" y="367"/>
                </a:cubicBezTo>
                <a:cubicBezTo>
                  <a:pt x="713" y="367"/>
                  <a:pt x="713" y="367"/>
                  <a:pt x="713" y="367"/>
                </a:cubicBezTo>
                <a:cubicBezTo>
                  <a:pt x="713" y="367"/>
                  <a:pt x="713" y="367"/>
                  <a:pt x="713" y="367"/>
                </a:cubicBezTo>
                <a:cubicBezTo>
                  <a:pt x="713" y="367"/>
                  <a:pt x="713" y="367"/>
                  <a:pt x="713" y="367"/>
                </a:cubicBezTo>
                <a:cubicBezTo>
                  <a:pt x="713" y="367"/>
                  <a:pt x="713" y="367"/>
                  <a:pt x="713" y="367"/>
                </a:cubicBezTo>
                <a:cubicBezTo>
                  <a:pt x="713" y="367"/>
                  <a:pt x="713" y="367"/>
                  <a:pt x="713" y="367"/>
                </a:cubicBezTo>
                <a:cubicBezTo>
                  <a:pt x="714" y="367"/>
                  <a:pt x="714" y="367"/>
                  <a:pt x="714" y="367"/>
                </a:cubicBezTo>
                <a:cubicBezTo>
                  <a:pt x="715" y="366"/>
                  <a:pt x="715" y="366"/>
                  <a:pt x="715" y="358"/>
                </a:cubicBezTo>
                <a:cubicBezTo>
                  <a:pt x="716" y="357"/>
                  <a:pt x="716" y="357"/>
                  <a:pt x="717" y="357"/>
                </a:cubicBezTo>
                <a:cubicBezTo>
                  <a:pt x="718" y="358"/>
                  <a:pt x="718" y="358"/>
                  <a:pt x="718" y="358"/>
                </a:cubicBezTo>
                <a:cubicBezTo>
                  <a:pt x="718" y="358"/>
                  <a:pt x="718" y="358"/>
                  <a:pt x="718" y="358"/>
                </a:cubicBezTo>
                <a:cubicBezTo>
                  <a:pt x="719" y="357"/>
                  <a:pt x="720" y="355"/>
                  <a:pt x="721" y="354"/>
                </a:cubicBezTo>
                <a:cubicBezTo>
                  <a:pt x="721" y="353"/>
                  <a:pt x="722" y="353"/>
                  <a:pt x="723" y="353"/>
                </a:cubicBezTo>
                <a:cubicBezTo>
                  <a:pt x="723" y="352"/>
                  <a:pt x="723" y="351"/>
                  <a:pt x="723" y="350"/>
                </a:cubicBezTo>
                <a:cubicBezTo>
                  <a:pt x="724" y="350"/>
                  <a:pt x="724" y="350"/>
                  <a:pt x="724" y="350"/>
                </a:cubicBezTo>
                <a:cubicBezTo>
                  <a:pt x="725" y="353"/>
                  <a:pt x="726" y="358"/>
                  <a:pt x="727" y="365"/>
                </a:cubicBezTo>
                <a:cubicBezTo>
                  <a:pt x="728" y="369"/>
                  <a:pt x="728" y="369"/>
                  <a:pt x="728" y="370"/>
                </a:cubicBezTo>
                <a:cubicBezTo>
                  <a:pt x="728" y="371"/>
                  <a:pt x="728" y="371"/>
                  <a:pt x="728" y="372"/>
                </a:cubicBezTo>
                <a:cubicBezTo>
                  <a:pt x="728" y="373"/>
                  <a:pt x="728" y="373"/>
                  <a:pt x="728" y="375"/>
                </a:cubicBezTo>
                <a:cubicBezTo>
                  <a:pt x="728" y="376"/>
                  <a:pt x="728" y="376"/>
                  <a:pt x="728" y="376"/>
                </a:cubicBezTo>
                <a:cubicBezTo>
                  <a:pt x="729" y="376"/>
                  <a:pt x="729" y="376"/>
                  <a:pt x="729" y="376"/>
                </a:cubicBezTo>
                <a:cubicBezTo>
                  <a:pt x="732" y="381"/>
                  <a:pt x="727" y="387"/>
                  <a:pt x="730" y="392"/>
                </a:cubicBezTo>
                <a:cubicBezTo>
                  <a:pt x="731" y="392"/>
                  <a:pt x="731" y="392"/>
                  <a:pt x="731" y="392"/>
                </a:cubicBezTo>
                <a:cubicBezTo>
                  <a:pt x="731" y="391"/>
                  <a:pt x="732" y="391"/>
                  <a:pt x="733" y="389"/>
                </a:cubicBezTo>
                <a:cubicBezTo>
                  <a:pt x="733" y="389"/>
                  <a:pt x="733" y="388"/>
                  <a:pt x="733" y="388"/>
                </a:cubicBezTo>
                <a:cubicBezTo>
                  <a:pt x="733" y="387"/>
                  <a:pt x="733" y="387"/>
                  <a:pt x="733" y="387"/>
                </a:cubicBezTo>
                <a:cubicBezTo>
                  <a:pt x="733" y="386"/>
                  <a:pt x="733" y="386"/>
                  <a:pt x="733" y="385"/>
                </a:cubicBezTo>
                <a:cubicBezTo>
                  <a:pt x="737" y="389"/>
                  <a:pt x="735" y="403"/>
                  <a:pt x="731" y="428"/>
                </a:cubicBezTo>
                <a:cubicBezTo>
                  <a:pt x="731" y="429"/>
                  <a:pt x="731" y="430"/>
                  <a:pt x="731" y="430"/>
                </a:cubicBezTo>
                <a:cubicBezTo>
                  <a:pt x="730" y="436"/>
                  <a:pt x="731" y="442"/>
                  <a:pt x="730" y="448"/>
                </a:cubicBezTo>
                <a:cubicBezTo>
                  <a:pt x="730" y="449"/>
                  <a:pt x="730" y="449"/>
                  <a:pt x="730" y="449"/>
                </a:cubicBezTo>
                <a:cubicBezTo>
                  <a:pt x="729" y="453"/>
                  <a:pt x="729" y="456"/>
                  <a:pt x="729" y="459"/>
                </a:cubicBezTo>
                <a:cubicBezTo>
                  <a:pt x="728" y="462"/>
                  <a:pt x="728" y="464"/>
                  <a:pt x="727" y="467"/>
                </a:cubicBezTo>
                <a:cubicBezTo>
                  <a:pt x="726" y="470"/>
                  <a:pt x="725" y="476"/>
                  <a:pt x="726" y="480"/>
                </a:cubicBezTo>
                <a:cubicBezTo>
                  <a:pt x="726" y="480"/>
                  <a:pt x="726" y="480"/>
                  <a:pt x="726" y="480"/>
                </a:cubicBezTo>
                <a:cubicBezTo>
                  <a:pt x="727" y="478"/>
                  <a:pt x="727" y="476"/>
                  <a:pt x="727" y="476"/>
                </a:cubicBezTo>
                <a:cubicBezTo>
                  <a:pt x="728" y="473"/>
                  <a:pt x="731" y="459"/>
                  <a:pt x="731" y="459"/>
                </a:cubicBezTo>
                <a:cubicBezTo>
                  <a:pt x="731" y="458"/>
                  <a:pt x="731" y="458"/>
                  <a:pt x="731" y="458"/>
                </a:cubicBezTo>
                <a:cubicBezTo>
                  <a:pt x="731" y="457"/>
                  <a:pt x="731" y="457"/>
                  <a:pt x="732" y="457"/>
                </a:cubicBezTo>
                <a:cubicBezTo>
                  <a:pt x="732" y="456"/>
                  <a:pt x="732" y="456"/>
                  <a:pt x="732" y="455"/>
                </a:cubicBezTo>
                <a:cubicBezTo>
                  <a:pt x="732" y="455"/>
                  <a:pt x="732" y="454"/>
                  <a:pt x="732" y="454"/>
                </a:cubicBezTo>
                <a:cubicBezTo>
                  <a:pt x="732" y="453"/>
                  <a:pt x="733" y="452"/>
                  <a:pt x="733" y="451"/>
                </a:cubicBezTo>
                <a:cubicBezTo>
                  <a:pt x="732" y="450"/>
                  <a:pt x="732" y="438"/>
                  <a:pt x="733" y="434"/>
                </a:cubicBezTo>
                <a:cubicBezTo>
                  <a:pt x="733" y="433"/>
                  <a:pt x="733" y="433"/>
                  <a:pt x="733" y="432"/>
                </a:cubicBezTo>
                <a:cubicBezTo>
                  <a:pt x="733" y="431"/>
                  <a:pt x="733" y="431"/>
                  <a:pt x="733" y="430"/>
                </a:cubicBezTo>
                <a:cubicBezTo>
                  <a:pt x="733" y="428"/>
                  <a:pt x="733" y="426"/>
                  <a:pt x="733" y="424"/>
                </a:cubicBezTo>
                <a:cubicBezTo>
                  <a:pt x="734" y="421"/>
                  <a:pt x="737" y="408"/>
                  <a:pt x="737" y="407"/>
                </a:cubicBezTo>
                <a:cubicBezTo>
                  <a:pt x="738" y="410"/>
                  <a:pt x="737" y="412"/>
                  <a:pt x="737" y="414"/>
                </a:cubicBezTo>
                <a:cubicBezTo>
                  <a:pt x="738" y="414"/>
                  <a:pt x="738" y="414"/>
                  <a:pt x="738" y="414"/>
                </a:cubicBezTo>
                <a:cubicBezTo>
                  <a:pt x="738" y="413"/>
                  <a:pt x="738" y="413"/>
                  <a:pt x="738" y="413"/>
                </a:cubicBezTo>
                <a:cubicBezTo>
                  <a:pt x="739" y="417"/>
                  <a:pt x="739" y="417"/>
                  <a:pt x="737" y="440"/>
                </a:cubicBezTo>
                <a:cubicBezTo>
                  <a:pt x="742" y="419"/>
                  <a:pt x="742" y="419"/>
                  <a:pt x="743" y="409"/>
                </a:cubicBezTo>
                <a:cubicBezTo>
                  <a:pt x="743" y="407"/>
                  <a:pt x="744" y="406"/>
                  <a:pt x="744" y="404"/>
                </a:cubicBezTo>
                <a:cubicBezTo>
                  <a:pt x="745" y="395"/>
                  <a:pt x="745" y="395"/>
                  <a:pt x="744" y="385"/>
                </a:cubicBezTo>
                <a:cubicBezTo>
                  <a:pt x="743" y="379"/>
                  <a:pt x="743" y="364"/>
                  <a:pt x="744" y="355"/>
                </a:cubicBezTo>
                <a:cubicBezTo>
                  <a:pt x="745" y="355"/>
                  <a:pt x="745" y="356"/>
                  <a:pt x="745" y="356"/>
                </a:cubicBezTo>
                <a:cubicBezTo>
                  <a:pt x="745" y="357"/>
                  <a:pt x="745" y="357"/>
                  <a:pt x="745" y="357"/>
                </a:cubicBezTo>
                <a:cubicBezTo>
                  <a:pt x="745" y="360"/>
                  <a:pt x="745" y="362"/>
                  <a:pt x="745" y="364"/>
                </a:cubicBezTo>
                <a:cubicBezTo>
                  <a:pt x="745" y="368"/>
                  <a:pt x="745" y="371"/>
                  <a:pt x="745" y="374"/>
                </a:cubicBezTo>
                <a:cubicBezTo>
                  <a:pt x="745" y="375"/>
                  <a:pt x="745" y="375"/>
                  <a:pt x="746" y="375"/>
                </a:cubicBezTo>
                <a:cubicBezTo>
                  <a:pt x="746" y="365"/>
                  <a:pt x="746" y="365"/>
                  <a:pt x="745" y="364"/>
                </a:cubicBezTo>
                <a:cubicBezTo>
                  <a:pt x="745" y="361"/>
                  <a:pt x="745" y="359"/>
                  <a:pt x="745" y="356"/>
                </a:cubicBezTo>
                <a:cubicBezTo>
                  <a:pt x="745" y="356"/>
                  <a:pt x="745" y="356"/>
                  <a:pt x="745" y="356"/>
                </a:cubicBezTo>
                <a:cubicBezTo>
                  <a:pt x="745" y="355"/>
                  <a:pt x="745" y="354"/>
                  <a:pt x="745" y="353"/>
                </a:cubicBezTo>
                <a:cubicBezTo>
                  <a:pt x="745" y="352"/>
                  <a:pt x="745" y="352"/>
                  <a:pt x="745" y="352"/>
                </a:cubicBezTo>
                <a:cubicBezTo>
                  <a:pt x="745" y="343"/>
                  <a:pt x="744" y="330"/>
                  <a:pt x="743" y="321"/>
                </a:cubicBezTo>
                <a:moveTo>
                  <a:pt x="299" y="117"/>
                </a:moveTo>
                <a:cubicBezTo>
                  <a:pt x="299" y="117"/>
                  <a:pt x="299" y="117"/>
                  <a:pt x="299" y="117"/>
                </a:cubicBezTo>
                <a:cubicBezTo>
                  <a:pt x="297" y="117"/>
                  <a:pt x="297" y="117"/>
                  <a:pt x="297" y="117"/>
                </a:cubicBezTo>
                <a:cubicBezTo>
                  <a:pt x="297" y="118"/>
                  <a:pt x="296" y="118"/>
                  <a:pt x="296" y="118"/>
                </a:cubicBezTo>
                <a:cubicBezTo>
                  <a:pt x="295" y="119"/>
                  <a:pt x="295" y="119"/>
                  <a:pt x="295" y="119"/>
                </a:cubicBezTo>
                <a:cubicBezTo>
                  <a:pt x="295" y="119"/>
                  <a:pt x="295" y="119"/>
                  <a:pt x="295" y="119"/>
                </a:cubicBezTo>
                <a:cubicBezTo>
                  <a:pt x="294" y="119"/>
                  <a:pt x="294" y="119"/>
                  <a:pt x="294" y="119"/>
                </a:cubicBezTo>
                <a:cubicBezTo>
                  <a:pt x="293" y="120"/>
                  <a:pt x="293" y="120"/>
                  <a:pt x="292" y="121"/>
                </a:cubicBezTo>
                <a:cubicBezTo>
                  <a:pt x="292" y="121"/>
                  <a:pt x="292" y="122"/>
                  <a:pt x="292" y="122"/>
                </a:cubicBezTo>
                <a:cubicBezTo>
                  <a:pt x="292" y="123"/>
                  <a:pt x="292" y="123"/>
                  <a:pt x="292" y="123"/>
                </a:cubicBezTo>
                <a:cubicBezTo>
                  <a:pt x="294" y="122"/>
                  <a:pt x="294" y="122"/>
                  <a:pt x="294" y="122"/>
                </a:cubicBezTo>
                <a:cubicBezTo>
                  <a:pt x="295" y="120"/>
                  <a:pt x="295" y="120"/>
                  <a:pt x="295" y="120"/>
                </a:cubicBezTo>
                <a:cubicBezTo>
                  <a:pt x="295" y="120"/>
                  <a:pt x="295" y="120"/>
                  <a:pt x="295" y="120"/>
                </a:cubicBezTo>
                <a:cubicBezTo>
                  <a:pt x="296" y="121"/>
                  <a:pt x="297" y="120"/>
                  <a:pt x="297" y="120"/>
                </a:cubicBezTo>
                <a:cubicBezTo>
                  <a:pt x="297" y="119"/>
                  <a:pt x="297" y="119"/>
                  <a:pt x="297" y="119"/>
                </a:cubicBezTo>
                <a:cubicBezTo>
                  <a:pt x="297" y="119"/>
                  <a:pt x="298" y="119"/>
                  <a:pt x="298" y="118"/>
                </a:cubicBezTo>
                <a:cubicBezTo>
                  <a:pt x="298" y="118"/>
                  <a:pt x="298" y="118"/>
                  <a:pt x="298" y="118"/>
                </a:cubicBezTo>
                <a:cubicBezTo>
                  <a:pt x="298" y="118"/>
                  <a:pt x="299" y="117"/>
                  <a:pt x="299" y="117"/>
                </a:cubicBezTo>
                <a:moveTo>
                  <a:pt x="324" y="158"/>
                </a:moveTo>
                <a:cubicBezTo>
                  <a:pt x="324" y="157"/>
                  <a:pt x="324" y="156"/>
                  <a:pt x="324" y="156"/>
                </a:cubicBezTo>
                <a:cubicBezTo>
                  <a:pt x="323" y="155"/>
                  <a:pt x="323" y="153"/>
                  <a:pt x="323" y="153"/>
                </a:cubicBezTo>
                <a:cubicBezTo>
                  <a:pt x="323" y="152"/>
                  <a:pt x="322" y="152"/>
                  <a:pt x="322" y="151"/>
                </a:cubicBezTo>
                <a:cubicBezTo>
                  <a:pt x="321" y="152"/>
                  <a:pt x="321" y="152"/>
                  <a:pt x="321" y="152"/>
                </a:cubicBezTo>
                <a:cubicBezTo>
                  <a:pt x="321" y="152"/>
                  <a:pt x="321" y="153"/>
                  <a:pt x="319" y="154"/>
                </a:cubicBezTo>
                <a:cubicBezTo>
                  <a:pt x="318" y="155"/>
                  <a:pt x="318" y="155"/>
                  <a:pt x="318" y="149"/>
                </a:cubicBezTo>
                <a:cubicBezTo>
                  <a:pt x="317" y="149"/>
                  <a:pt x="316" y="149"/>
                  <a:pt x="315" y="149"/>
                </a:cubicBezTo>
                <a:cubicBezTo>
                  <a:pt x="316" y="145"/>
                  <a:pt x="317" y="144"/>
                  <a:pt x="314" y="143"/>
                </a:cubicBezTo>
                <a:cubicBezTo>
                  <a:pt x="314" y="143"/>
                  <a:pt x="314" y="143"/>
                  <a:pt x="314" y="142"/>
                </a:cubicBezTo>
                <a:cubicBezTo>
                  <a:pt x="313" y="142"/>
                  <a:pt x="313" y="142"/>
                  <a:pt x="313" y="142"/>
                </a:cubicBezTo>
                <a:cubicBezTo>
                  <a:pt x="313" y="141"/>
                  <a:pt x="313" y="140"/>
                  <a:pt x="312" y="139"/>
                </a:cubicBezTo>
                <a:cubicBezTo>
                  <a:pt x="312" y="139"/>
                  <a:pt x="312" y="139"/>
                  <a:pt x="312" y="139"/>
                </a:cubicBezTo>
                <a:cubicBezTo>
                  <a:pt x="312" y="138"/>
                  <a:pt x="311" y="135"/>
                  <a:pt x="310" y="135"/>
                </a:cubicBezTo>
                <a:cubicBezTo>
                  <a:pt x="306" y="135"/>
                  <a:pt x="306" y="135"/>
                  <a:pt x="306" y="134"/>
                </a:cubicBezTo>
                <a:cubicBezTo>
                  <a:pt x="307" y="131"/>
                  <a:pt x="307" y="131"/>
                  <a:pt x="310" y="131"/>
                </a:cubicBezTo>
                <a:cubicBezTo>
                  <a:pt x="310" y="131"/>
                  <a:pt x="310" y="130"/>
                  <a:pt x="310" y="130"/>
                </a:cubicBezTo>
                <a:cubicBezTo>
                  <a:pt x="310" y="128"/>
                  <a:pt x="312" y="128"/>
                  <a:pt x="313" y="127"/>
                </a:cubicBezTo>
                <a:cubicBezTo>
                  <a:pt x="313" y="126"/>
                  <a:pt x="313" y="125"/>
                  <a:pt x="314" y="123"/>
                </a:cubicBezTo>
                <a:cubicBezTo>
                  <a:pt x="311" y="123"/>
                  <a:pt x="308" y="123"/>
                  <a:pt x="305" y="123"/>
                </a:cubicBezTo>
                <a:cubicBezTo>
                  <a:pt x="307" y="120"/>
                  <a:pt x="307" y="120"/>
                  <a:pt x="307" y="120"/>
                </a:cubicBezTo>
                <a:cubicBezTo>
                  <a:pt x="308" y="119"/>
                  <a:pt x="310" y="119"/>
                  <a:pt x="310" y="118"/>
                </a:cubicBezTo>
                <a:cubicBezTo>
                  <a:pt x="310" y="117"/>
                  <a:pt x="310" y="117"/>
                  <a:pt x="309" y="117"/>
                </a:cubicBezTo>
                <a:cubicBezTo>
                  <a:pt x="309" y="117"/>
                  <a:pt x="309" y="117"/>
                  <a:pt x="309" y="117"/>
                </a:cubicBezTo>
                <a:cubicBezTo>
                  <a:pt x="308" y="117"/>
                  <a:pt x="308" y="117"/>
                  <a:pt x="307" y="117"/>
                </a:cubicBezTo>
                <a:cubicBezTo>
                  <a:pt x="306" y="117"/>
                  <a:pt x="304" y="116"/>
                  <a:pt x="303" y="117"/>
                </a:cubicBezTo>
                <a:cubicBezTo>
                  <a:pt x="303" y="118"/>
                  <a:pt x="302" y="119"/>
                  <a:pt x="301" y="120"/>
                </a:cubicBezTo>
                <a:cubicBezTo>
                  <a:pt x="301" y="121"/>
                  <a:pt x="301" y="122"/>
                  <a:pt x="300" y="123"/>
                </a:cubicBezTo>
                <a:cubicBezTo>
                  <a:pt x="298" y="124"/>
                  <a:pt x="298" y="124"/>
                  <a:pt x="298" y="124"/>
                </a:cubicBezTo>
                <a:cubicBezTo>
                  <a:pt x="297" y="123"/>
                  <a:pt x="297" y="123"/>
                  <a:pt x="297" y="122"/>
                </a:cubicBezTo>
                <a:cubicBezTo>
                  <a:pt x="296" y="123"/>
                  <a:pt x="296" y="123"/>
                  <a:pt x="296" y="123"/>
                </a:cubicBezTo>
                <a:cubicBezTo>
                  <a:pt x="294" y="123"/>
                  <a:pt x="294" y="126"/>
                  <a:pt x="294" y="126"/>
                </a:cubicBezTo>
                <a:cubicBezTo>
                  <a:pt x="295" y="127"/>
                  <a:pt x="296" y="126"/>
                  <a:pt x="297" y="127"/>
                </a:cubicBezTo>
                <a:cubicBezTo>
                  <a:pt x="296" y="128"/>
                  <a:pt x="296" y="128"/>
                  <a:pt x="296" y="128"/>
                </a:cubicBezTo>
                <a:cubicBezTo>
                  <a:pt x="296" y="128"/>
                  <a:pt x="296" y="128"/>
                  <a:pt x="296" y="129"/>
                </a:cubicBezTo>
                <a:cubicBezTo>
                  <a:pt x="295" y="130"/>
                  <a:pt x="296" y="131"/>
                  <a:pt x="294" y="131"/>
                </a:cubicBezTo>
                <a:cubicBezTo>
                  <a:pt x="292" y="132"/>
                  <a:pt x="292" y="133"/>
                  <a:pt x="292" y="133"/>
                </a:cubicBezTo>
                <a:cubicBezTo>
                  <a:pt x="292" y="134"/>
                  <a:pt x="292" y="134"/>
                  <a:pt x="292" y="134"/>
                </a:cubicBezTo>
                <a:cubicBezTo>
                  <a:pt x="292" y="134"/>
                  <a:pt x="293" y="134"/>
                  <a:pt x="294" y="134"/>
                </a:cubicBezTo>
                <a:cubicBezTo>
                  <a:pt x="294" y="134"/>
                  <a:pt x="294" y="133"/>
                  <a:pt x="295" y="134"/>
                </a:cubicBezTo>
                <a:cubicBezTo>
                  <a:pt x="295" y="135"/>
                  <a:pt x="295" y="135"/>
                  <a:pt x="296" y="135"/>
                </a:cubicBezTo>
                <a:cubicBezTo>
                  <a:pt x="296" y="136"/>
                  <a:pt x="297" y="136"/>
                  <a:pt x="297" y="135"/>
                </a:cubicBezTo>
                <a:cubicBezTo>
                  <a:pt x="297" y="135"/>
                  <a:pt x="297" y="135"/>
                  <a:pt x="298" y="134"/>
                </a:cubicBezTo>
                <a:cubicBezTo>
                  <a:pt x="299" y="135"/>
                  <a:pt x="299" y="135"/>
                  <a:pt x="299" y="135"/>
                </a:cubicBezTo>
                <a:cubicBezTo>
                  <a:pt x="298" y="136"/>
                  <a:pt x="299" y="137"/>
                  <a:pt x="299" y="138"/>
                </a:cubicBezTo>
                <a:cubicBezTo>
                  <a:pt x="298" y="139"/>
                  <a:pt x="297" y="138"/>
                  <a:pt x="296" y="139"/>
                </a:cubicBezTo>
                <a:cubicBezTo>
                  <a:pt x="296" y="140"/>
                  <a:pt x="296" y="140"/>
                  <a:pt x="296" y="141"/>
                </a:cubicBezTo>
                <a:cubicBezTo>
                  <a:pt x="298" y="141"/>
                  <a:pt x="299" y="141"/>
                  <a:pt x="301" y="141"/>
                </a:cubicBezTo>
                <a:cubicBezTo>
                  <a:pt x="302" y="140"/>
                  <a:pt x="302" y="140"/>
                  <a:pt x="302" y="140"/>
                </a:cubicBezTo>
                <a:cubicBezTo>
                  <a:pt x="304" y="142"/>
                  <a:pt x="301" y="145"/>
                  <a:pt x="304" y="146"/>
                </a:cubicBezTo>
                <a:cubicBezTo>
                  <a:pt x="304" y="146"/>
                  <a:pt x="304" y="146"/>
                  <a:pt x="304" y="146"/>
                </a:cubicBezTo>
                <a:cubicBezTo>
                  <a:pt x="304" y="147"/>
                  <a:pt x="303" y="148"/>
                  <a:pt x="303" y="149"/>
                </a:cubicBezTo>
                <a:cubicBezTo>
                  <a:pt x="304" y="150"/>
                  <a:pt x="303" y="151"/>
                  <a:pt x="302" y="151"/>
                </a:cubicBezTo>
                <a:cubicBezTo>
                  <a:pt x="300" y="152"/>
                  <a:pt x="299" y="150"/>
                  <a:pt x="297" y="150"/>
                </a:cubicBezTo>
                <a:cubicBezTo>
                  <a:pt x="297" y="150"/>
                  <a:pt x="297" y="150"/>
                  <a:pt x="297" y="150"/>
                </a:cubicBezTo>
                <a:cubicBezTo>
                  <a:pt x="296" y="150"/>
                  <a:pt x="296" y="150"/>
                  <a:pt x="295" y="151"/>
                </a:cubicBezTo>
                <a:cubicBezTo>
                  <a:pt x="295" y="152"/>
                  <a:pt x="295" y="152"/>
                  <a:pt x="295" y="152"/>
                </a:cubicBezTo>
                <a:cubicBezTo>
                  <a:pt x="294" y="152"/>
                  <a:pt x="294" y="152"/>
                  <a:pt x="293" y="152"/>
                </a:cubicBezTo>
                <a:cubicBezTo>
                  <a:pt x="292" y="153"/>
                  <a:pt x="292" y="153"/>
                  <a:pt x="292" y="153"/>
                </a:cubicBezTo>
                <a:cubicBezTo>
                  <a:pt x="294" y="154"/>
                  <a:pt x="295" y="153"/>
                  <a:pt x="297" y="154"/>
                </a:cubicBezTo>
                <a:cubicBezTo>
                  <a:pt x="297" y="154"/>
                  <a:pt x="297" y="155"/>
                  <a:pt x="296" y="156"/>
                </a:cubicBezTo>
                <a:cubicBezTo>
                  <a:pt x="296" y="156"/>
                  <a:pt x="296" y="156"/>
                  <a:pt x="295" y="156"/>
                </a:cubicBezTo>
                <a:cubicBezTo>
                  <a:pt x="292" y="157"/>
                  <a:pt x="292" y="157"/>
                  <a:pt x="292" y="157"/>
                </a:cubicBezTo>
                <a:cubicBezTo>
                  <a:pt x="292" y="157"/>
                  <a:pt x="292" y="157"/>
                  <a:pt x="292" y="157"/>
                </a:cubicBezTo>
                <a:cubicBezTo>
                  <a:pt x="292" y="157"/>
                  <a:pt x="292" y="157"/>
                  <a:pt x="292" y="157"/>
                </a:cubicBezTo>
                <a:cubicBezTo>
                  <a:pt x="292" y="157"/>
                  <a:pt x="292" y="157"/>
                  <a:pt x="292" y="157"/>
                </a:cubicBezTo>
                <a:cubicBezTo>
                  <a:pt x="292" y="157"/>
                  <a:pt x="292" y="157"/>
                  <a:pt x="292" y="157"/>
                </a:cubicBezTo>
                <a:cubicBezTo>
                  <a:pt x="292" y="157"/>
                  <a:pt x="292" y="157"/>
                  <a:pt x="292" y="157"/>
                </a:cubicBezTo>
                <a:cubicBezTo>
                  <a:pt x="292" y="157"/>
                  <a:pt x="292" y="157"/>
                  <a:pt x="292" y="157"/>
                </a:cubicBezTo>
                <a:cubicBezTo>
                  <a:pt x="292" y="157"/>
                  <a:pt x="292" y="157"/>
                  <a:pt x="292" y="157"/>
                </a:cubicBezTo>
                <a:cubicBezTo>
                  <a:pt x="292" y="157"/>
                  <a:pt x="292" y="157"/>
                  <a:pt x="292" y="157"/>
                </a:cubicBezTo>
                <a:cubicBezTo>
                  <a:pt x="291" y="159"/>
                  <a:pt x="291" y="159"/>
                  <a:pt x="291" y="160"/>
                </a:cubicBezTo>
                <a:cubicBezTo>
                  <a:pt x="293" y="161"/>
                  <a:pt x="295" y="159"/>
                  <a:pt x="296" y="160"/>
                </a:cubicBezTo>
                <a:cubicBezTo>
                  <a:pt x="298" y="161"/>
                  <a:pt x="299" y="160"/>
                  <a:pt x="301" y="161"/>
                </a:cubicBezTo>
                <a:cubicBezTo>
                  <a:pt x="301" y="162"/>
                  <a:pt x="301" y="162"/>
                  <a:pt x="300" y="163"/>
                </a:cubicBezTo>
                <a:cubicBezTo>
                  <a:pt x="300" y="163"/>
                  <a:pt x="299" y="163"/>
                  <a:pt x="296" y="163"/>
                </a:cubicBezTo>
                <a:cubicBezTo>
                  <a:pt x="295" y="163"/>
                  <a:pt x="295" y="164"/>
                  <a:pt x="294" y="165"/>
                </a:cubicBezTo>
                <a:cubicBezTo>
                  <a:pt x="293" y="165"/>
                  <a:pt x="292" y="165"/>
                  <a:pt x="291" y="165"/>
                </a:cubicBezTo>
                <a:cubicBezTo>
                  <a:pt x="291" y="168"/>
                  <a:pt x="291" y="168"/>
                  <a:pt x="287" y="169"/>
                </a:cubicBezTo>
                <a:cubicBezTo>
                  <a:pt x="288" y="170"/>
                  <a:pt x="288" y="170"/>
                  <a:pt x="291" y="169"/>
                </a:cubicBezTo>
                <a:cubicBezTo>
                  <a:pt x="292" y="169"/>
                  <a:pt x="292" y="169"/>
                  <a:pt x="293" y="168"/>
                </a:cubicBezTo>
                <a:cubicBezTo>
                  <a:pt x="293" y="168"/>
                  <a:pt x="293" y="168"/>
                  <a:pt x="295" y="169"/>
                </a:cubicBezTo>
                <a:cubicBezTo>
                  <a:pt x="296" y="169"/>
                  <a:pt x="296" y="169"/>
                  <a:pt x="297" y="169"/>
                </a:cubicBezTo>
                <a:cubicBezTo>
                  <a:pt x="298" y="167"/>
                  <a:pt x="298" y="167"/>
                  <a:pt x="298" y="166"/>
                </a:cubicBezTo>
                <a:cubicBezTo>
                  <a:pt x="300" y="167"/>
                  <a:pt x="302" y="166"/>
                  <a:pt x="304" y="167"/>
                </a:cubicBezTo>
                <a:cubicBezTo>
                  <a:pt x="306" y="167"/>
                  <a:pt x="306" y="165"/>
                  <a:pt x="307" y="165"/>
                </a:cubicBezTo>
                <a:cubicBezTo>
                  <a:pt x="309" y="165"/>
                  <a:pt x="309" y="167"/>
                  <a:pt x="310" y="167"/>
                </a:cubicBezTo>
                <a:cubicBezTo>
                  <a:pt x="311" y="167"/>
                  <a:pt x="311" y="167"/>
                  <a:pt x="311" y="167"/>
                </a:cubicBezTo>
                <a:cubicBezTo>
                  <a:pt x="312" y="167"/>
                  <a:pt x="314" y="167"/>
                  <a:pt x="316" y="166"/>
                </a:cubicBezTo>
                <a:cubicBezTo>
                  <a:pt x="317" y="165"/>
                  <a:pt x="317" y="165"/>
                  <a:pt x="317" y="165"/>
                </a:cubicBezTo>
                <a:cubicBezTo>
                  <a:pt x="319" y="165"/>
                  <a:pt x="319" y="165"/>
                  <a:pt x="320" y="165"/>
                </a:cubicBezTo>
                <a:cubicBezTo>
                  <a:pt x="320" y="164"/>
                  <a:pt x="320" y="164"/>
                  <a:pt x="320" y="164"/>
                </a:cubicBezTo>
                <a:cubicBezTo>
                  <a:pt x="320" y="163"/>
                  <a:pt x="319" y="162"/>
                  <a:pt x="319" y="161"/>
                </a:cubicBezTo>
                <a:cubicBezTo>
                  <a:pt x="319" y="161"/>
                  <a:pt x="319" y="161"/>
                  <a:pt x="319" y="161"/>
                </a:cubicBezTo>
                <a:cubicBezTo>
                  <a:pt x="319" y="160"/>
                  <a:pt x="319" y="159"/>
                  <a:pt x="321" y="160"/>
                </a:cubicBezTo>
                <a:cubicBezTo>
                  <a:pt x="321" y="160"/>
                  <a:pt x="321" y="160"/>
                  <a:pt x="322" y="158"/>
                </a:cubicBezTo>
                <a:cubicBezTo>
                  <a:pt x="323" y="158"/>
                  <a:pt x="323" y="158"/>
                  <a:pt x="324" y="158"/>
                </a:cubicBezTo>
                <a:moveTo>
                  <a:pt x="281" y="142"/>
                </a:moveTo>
                <a:cubicBezTo>
                  <a:pt x="281" y="142"/>
                  <a:pt x="281" y="142"/>
                  <a:pt x="281" y="142"/>
                </a:cubicBezTo>
                <a:cubicBezTo>
                  <a:pt x="281" y="142"/>
                  <a:pt x="281" y="142"/>
                  <a:pt x="281" y="142"/>
                </a:cubicBezTo>
                <a:cubicBezTo>
                  <a:pt x="281" y="142"/>
                  <a:pt x="281" y="142"/>
                  <a:pt x="281" y="142"/>
                </a:cubicBezTo>
                <a:moveTo>
                  <a:pt x="293" y="143"/>
                </a:moveTo>
                <a:cubicBezTo>
                  <a:pt x="293" y="143"/>
                  <a:pt x="294" y="142"/>
                  <a:pt x="293" y="141"/>
                </a:cubicBezTo>
                <a:cubicBezTo>
                  <a:pt x="292" y="140"/>
                  <a:pt x="293" y="139"/>
                  <a:pt x="293" y="139"/>
                </a:cubicBezTo>
                <a:cubicBezTo>
                  <a:pt x="293" y="139"/>
                  <a:pt x="293" y="138"/>
                  <a:pt x="292" y="138"/>
                </a:cubicBezTo>
                <a:cubicBezTo>
                  <a:pt x="292" y="138"/>
                  <a:pt x="291" y="138"/>
                  <a:pt x="291" y="138"/>
                </a:cubicBezTo>
                <a:cubicBezTo>
                  <a:pt x="291" y="137"/>
                  <a:pt x="291" y="137"/>
                  <a:pt x="291" y="137"/>
                </a:cubicBezTo>
                <a:cubicBezTo>
                  <a:pt x="290" y="137"/>
                  <a:pt x="290" y="137"/>
                  <a:pt x="290" y="137"/>
                </a:cubicBezTo>
                <a:cubicBezTo>
                  <a:pt x="289" y="137"/>
                  <a:pt x="288" y="138"/>
                  <a:pt x="288" y="138"/>
                </a:cubicBezTo>
                <a:cubicBezTo>
                  <a:pt x="287" y="138"/>
                  <a:pt x="287" y="138"/>
                  <a:pt x="287" y="139"/>
                </a:cubicBezTo>
                <a:cubicBezTo>
                  <a:pt x="287" y="139"/>
                  <a:pt x="286" y="139"/>
                  <a:pt x="286" y="139"/>
                </a:cubicBezTo>
                <a:cubicBezTo>
                  <a:pt x="285" y="139"/>
                  <a:pt x="285" y="139"/>
                  <a:pt x="285" y="139"/>
                </a:cubicBezTo>
                <a:cubicBezTo>
                  <a:pt x="285" y="138"/>
                  <a:pt x="285" y="138"/>
                  <a:pt x="285" y="137"/>
                </a:cubicBezTo>
                <a:cubicBezTo>
                  <a:pt x="284" y="137"/>
                  <a:pt x="284" y="137"/>
                  <a:pt x="282" y="137"/>
                </a:cubicBezTo>
                <a:cubicBezTo>
                  <a:pt x="282" y="139"/>
                  <a:pt x="281" y="140"/>
                  <a:pt x="281" y="142"/>
                </a:cubicBezTo>
                <a:cubicBezTo>
                  <a:pt x="280" y="142"/>
                  <a:pt x="280" y="143"/>
                  <a:pt x="279" y="142"/>
                </a:cubicBezTo>
                <a:cubicBezTo>
                  <a:pt x="278" y="142"/>
                  <a:pt x="278" y="143"/>
                  <a:pt x="277" y="143"/>
                </a:cubicBezTo>
                <a:cubicBezTo>
                  <a:pt x="277" y="143"/>
                  <a:pt x="277" y="143"/>
                  <a:pt x="276" y="142"/>
                </a:cubicBezTo>
                <a:cubicBezTo>
                  <a:pt x="275" y="142"/>
                  <a:pt x="275" y="142"/>
                  <a:pt x="275" y="142"/>
                </a:cubicBezTo>
                <a:cubicBezTo>
                  <a:pt x="274" y="145"/>
                  <a:pt x="273" y="147"/>
                  <a:pt x="273" y="149"/>
                </a:cubicBezTo>
                <a:cubicBezTo>
                  <a:pt x="274" y="149"/>
                  <a:pt x="274" y="149"/>
                  <a:pt x="276" y="149"/>
                </a:cubicBezTo>
                <a:cubicBezTo>
                  <a:pt x="275" y="150"/>
                  <a:pt x="275" y="151"/>
                  <a:pt x="275" y="152"/>
                </a:cubicBezTo>
                <a:cubicBezTo>
                  <a:pt x="272" y="153"/>
                  <a:pt x="272" y="153"/>
                  <a:pt x="271" y="154"/>
                </a:cubicBezTo>
                <a:cubicBezTo>
                  <a:pt x="271" y="154"/>
                  <a:pt x="271" y="154"/>
                  <a:pt x="271" y="154"/>
                </a:cubicBezTo>
                <a:cubicBezTo>
                  <a:pt x="271" y="155"/>
                  <a:pt x="271" y="156"/>
                  <a:pt x="270" y="156"/>
                </a:cubicBezTo>
                <a:cubicBezTo>
                  <a:pt x="270" y="157"/>
                  <a:pt x="269" y="157"/>
                  <a:pt x="269" y="157"/>
                </a:cubicBezTo>
                <a:cubicBezTo>
                  <a:pt x="269" y="158"/>
                  <a:pt x="269" y="158"/>
                  <a:pt x="269" y="158"/>
                </a:cubicBezTo>
                <a:cubicBezTo>
                  <a:pt x="269" y="158"/>
                  <a:pt x="268" y="159"/>
                  <a:pt x="269" y="159"/>
                </a:cubicBezTo>
                <a:cubicBezTo>
                  <a:pt x="270" y="160"/>
                  <a:pt x="271" y="160"/>
                  <a:pt x="271" y="160"/>
                </a:cubicBezTo>
                <a:cubicBezTo>
                  <a:pt x="273" y="159"/>
                  <a:pt x="274" y="160"/>
                  <a:pt x="274" y="160"/>
                </a:cubicBezTo>
                <a:cubicBezTo>
                  <a:pt x="275" y="160"/>
                  <a:pt x="277" y="159"/>
                  <a:pt x="277" y="159"/>
                </a:cubicBezTo>
                <a:cubicBezTo>
                  <a:pt x="277" y="159"/>
                  <a:pt x="277" y="159"/>
                  <a:pt x="277" y="158"/>
                </a:cubicBezTo>
                <a:cubicBezTo>
                  <a:pt x="278" y="157"/>
                  <a:pt x="278" y="157"/>
                  <a:pt x="278" y="157"/>
                </a:cubicBezTo>
                <a:cubicBezTo>
                  <a:pt x="281" y="157"/>
                  <a:pt x="284" y="157"/>
                  <a:pt x="286" y="157"/>
                </a:cubicBezTo>
                <a:cubicBezTo>
                  <a:pt x="286" y="157"/>
                  <a:pt x="287" y="156"/>
                  <a:pt x="287" y="156"/>
                </a:cubicBezTo>
                <a:cubicBezTo>
                  <a:pt x="287" y="155"/>
                  <a:pt x="286" y="155"/>
                  <a:pt x="286" y="154"/>
                </a:cubicBezTo>
                <a:cubicBezTo>
                  <a:pt x="287" y="153"/>
                  <a:pt x="287" y="154"/>
                  <a:pt x="288" y="153"/>
                </a:cubicBezTo>
                <a:cubicBezTo>
                  <a:pt x="288" y="152"/>
                  <a:pt x="288" y="152"/>
                  <a:pt x="289" y="150"/>
                </a:cubicBezTo>
                <a:cubicBezTo>
                  <a:pt x="289" y="149"/>
                  <a:pt x="290" y="148"/>
                  <a:pt x="290" y="147"/>
                </a:cubicBezTo>
                <a:cubicBezTo>
                  <a:pt x="290" y="146"/>
                  <a:pt x="290" y="145"/>
                  <a:pt x="290" y="145"/>
                </a:cubicBezTo>
                <a:cubicBezTo>
                  <a:pt x="292" y="145"/>
                  <a:pt x="293" y="144"/>
                  <a:pt x="293" y="143"/>
                </a:cubicBezTo>
                <a:moveTo>
                  <a:pt x="544" y="571"/>
                </a:moveTo>
                <a:cubicBezTo>
                  <a:pt x="544" y="571"/>
                  <a:pt x="544" y="570"/>
                  <a:pt x="545" y="570"/>
                </a:cubicBezTo>
                <a:cubicBezTo>
                  <a:pt x="548" y="559"/>
                  <a:pt x="548" y="559"/>
                  <a:pt x="548" y="559"/>
                </a:cubicBezTo>
                <a:cubicBezTo>
                  <a:pt x="547" y="558"/>
                  <a:pt x="547" y="556"/>
                  <a:pt x="543" y="555"/>
                </a:cubicBezTo>
                <a:cubicBezTo>
                  <a:pt x="542" y="559"/>
                  <a:pt x="542" y="559"/>
                  <a:pt x="542" y="559"/>
                </a:cubicBezTo>
                <a:cubicBezTo>
                  <a:pt x="541" y="560"/>
                  <a:pt x="541" y="560"/>
                  <a:pt x="535" y="564"/>
                </a:cubicBezTo>
                <a:cubicBezTo>
                  <a:pt x="535" y="564"/>
                  <a:pt x="533" y="567"/>
                  <a:pt x="533" y="567"/>
                </a:cubicBezTo>
                <a:cubicBezTo>
                  <a:pt x="533" y="568"/>
                  <a:pt x="533" y="568"/>
                  <a:pt x="533" y="568"/>
                </a:cubicBezTo>
                <a:cubicBezTo>
                  <a:pt x="532" y="569"/>
                  <a:pt x="531" y="568"/>
                  <a:pt x="531" y="569"/>
                </a:cubicBezTo>
                <a:cubicBezTo>
                  <a:pt x="530" y="570"/>
                  <a:pt x="530" y="571"/>
                  <a:pt x="528" y="572"/>
                </a:cubicBezTo>
                <a:cubicBezTo>
                  <a:pt x="525" y="575"/>
                  <a:pt x="522" y="572"/>
                  <a:pt x="518" y="573"/>
                </a:cubicBezTo>
                <a:cubicBezTo>
                  <a:pt x="517" y="574"/>
                  <a:pt x="516" y="574"/>
                  <a:pt x="516" y="575"/>
                </a:cubicBezTo>
                <a:cubicBezTo>
                  <a:pt x="515" y="576"/>
                  <a:pt x="515" y="577"/>
                  <a:pt x="514" y="579"/>
                </a:cubicBezTo>
                <a:cubicBezTo>
                  <a:pt x="513" y="580"/>
                  <a:pt x="512" y="581"/>
                  <a:pt x="511" y="582"/>
                </a:cubicBezTo>
                <a:cubicBezTo>
                  <a:pt x="511" y="582"/>
                  <a:pt x="509" y="588"/>
                  <a:pt x="510" y="589"/>
                </a:cubicBezTo>
                <a:cubicBezTo>
                  <a:pt x="510" y="590"/>
                  <a:pt x="510" y="590"/>
                  <a:pt x="510" y="591"/>
                </a:cubicBezTo>
                <a:cubicBezTo>
                  <a:pt x="510" y="591"/>
                  <a:pt x="509" y="594"/>
                  <a:pt x="509" y="594"/>
                </a:cubicBezTo>
                <a:cubicBezTo>
                  <a:pt x="509" y="595"/>
                  <a:pt x="508" y="595"/>
                  <a:pt x="508" y="594"/>
                </a:cubicBezTo>
                <a:cubicBezTo>
                  <a:pt x="507" y="594"/>
                  <a:pt x="507" y="594"/>
                  <a:pt x="504" y="597"/>
                </a:cubicBezTo>
                <a:cubicBezTo>
                  <a:pt x="503" y="599"/>
                  <a:pt x="503" y="601"/>
                  <a:pt x="501" y="603"/>
                </a:cubicBezTo>
                <a:cubicBezTo>
                  <a:pt x="501" y="603"/>
                  <a:pt x="501" y="603"/>
                  <a:pt x="500" y="604"/>
                </a:cubicBezTo>
                <a:cubicBezTo>
                  <a:pt x="500" y="604"/>
                  <a:pt x="500" y="604"/>
                  <a:pt x="500" y="605"/>
                </a:cubicBezTo>
                <a:cubicBezTo>
                  <a:pt x="500" y="606"/>
                  <a:pt x="500" y="608"/>
                  <a:pt x="500" y="609"/>
                </a:cubicBezTo>
                <a:cubicBezTo>
                  <a:pt x="499" y="610"/>
                  <a:pt x="499" y="610"/>
                  <a:pt x="499" y="611"/>
                </a:cubicBezTo>
                <a:cubicBezTo>
                  <a:pt x="498" y="614"/>
                  <a:pt x="498" y="614"/>
                  <a:pt x="497" y="616"/>
                </a:cubicBezTo>
                <a:cubicBezTo>
                  <a:pt x="499" y="617"/>
                  <a:pt x="501" y="616"/>
                  <a:pt x="503" y="616"/>
                </a:cubicBezTo>
                <a:cubicBezTo>
                  <a:pt x="503" y="617"/>
                  <a:pt x="503" y="617"/>
                  <a:pt x="503" y="618"/>
                </a:cubicBezTo>
                <a:cubicBezTo>
                  <a:pt x="505" y="619"/>
                  <a:pt x="510" y="620"/>
                  <a:pt x="515" y="615"/>
                </a:cubicBezTo>
                <a:cubicBezTo>
                  <a:pt x="517" y="612"/>
                  <a:pt x="517" y="609"/>
                  <a:pt x="519" y="606"/>
                </a:cubicBezTo>
                <a:cubicBezTo>
                  <a:pt x="521" y="604"/>
                  <a:pt x="523" y="603"/>
                  <a:pt x="524" y="601"/>
                </a:cubicBezTo>
                <a:cubicBezTo>
                  <a:pt x="526" y="599"/>
                  <a:pt x="526" y="596"/>
                  <a:pt x="528" y="593"/>
                </a:cubicBezTo>
                <a:cubicBezTo>
                  <a:pt x="529" y="592"/>
                  <a:pt x="531" y="592"/>
                  <a:pt x="532" y="591"/>
                </a:cubicBezTo>
                <a:cubicBezTo>
                  <a:pt x="533" y="590"/>
                  <a:pt x="534" y="591"/>
                  <a:pt x="535" y="590"/>
                </a:cubicBezTo>
                <a:cubicBezTo>
                  <a:pt x="536" y="588"/>
                  <a:pt x="535" y="585"/>
                  <a:pt x="536" y="583"/>
                </a:cubicBezTo>
                <a:cubicBezTo>
                  <a:pt x="537" y="582"/>
                  <a:pt x="539" y="581"/>
                  <a:pt x="539" y="579"/>
                </a:cubicBezTo>
                <a:cubicBezTo>
                  <a:pt x="539" y="579"/>
                  <a:pt x="540" y="578"/>
                  <a:pt x="540" y="577"/>
                </a:cubicBezTo>
                <a:cubicBezTo>
                  <a:pt x="540" y="577"/>
                  <a:pt x="540" y="576"/>
                  <a:pt x="540" y="575"/>
                </a:cubicBezTo>
                <a:cubicBezTo>
                  <a:pt x="540" y="575"/>
                  <a:pt x="541" y="575"/>
                  <a:pt x="541" y="574"/>
                </a:cubicBezTo>
                <a:cubicBezTo>
                  <a:pt x="541" y="573"/>
                  <a:pt x="543" y="572"/>
                  <a:pt x="544" y="571"/>
                </a:cubicBezTo>
                <a:moveTo>
                  <a:pt x="577" y="426"/>
                </a:moveTo>
                <a:cubicBezTo>
                  <a:pt x="577" y="425"/>
                  <a:pt x="577" y="423"/>
                  <a:pt x="575" y="421"/>
                </a:cubicBezTo>
                <a:cubicBezTo>
                  <a:pt x="568" y="420"/>
                  <a:pt x="563" y="428"/>
                  <a:pt x="556" y="426"/>
                </a:cubicBezTo>
                <a:cubicBezTo>
                  <a:pt x="555" y="426"/>
                  <a:pt x="554" y="426"/>
                  <a:pt x="552" y="426"/>
                </a:cubicBezTo>
                <a:cubicBezTo>
                  <a:pt x="546" y="427"/>
                  <a:pt x="544" y="426"/>
                  <a:pt x="541" y="425"/>
                </a:cubicBezTo>
                <a:cubicBezTo>
                  <a:pt x="539" y="419"/>
                  <a:pt x="539" y="419"/>
                  <a:pt x="539" y="417"/>
                </a:cubicBezTo>
                <a:cubicBezTo>
                  <a:pt x="538" y="417"/>
                  <a:pt x="537" y="416"/>
                  <a:pt x="537" y="416"/>
                </a:cubicBezTo>
                <a:cubicBezTo>
                  <a:pt x="536" y="414"/>
                  <a:pt x="536" y="412"/>
                  <a:pt x="536" y="411"/>
                </a:cubicBezTo>
                <a:cubicBezTo>
                  <a:pt x="519" y="396"/>
                  <a:pt x="504" y="384"/>
                  <a:pt x="507" y="371"/>
                </a:cubicBezTo>
                <a:cubicBezTo>
                  <a:pt x="507" y="371"/>
                  <a:pt x="507" y="370"/>
                  <a:pt x="507" y="367"/>
                </a:cubicBezTo>
                <a:cubicBezTo>
                  <a:pt x="507" y="365"/>
                  <a:pt x="507" y="364"/>
                  <a:pt x="506" y="362"/>
                </a:cubicBezTo>
                <a:cubicBezTo>
                  <a:pt x="506" y="362"/>
                  <a:pt x="477" y="309"/>
                  <a:pt x="477" y="300"/>
                </a:cubicBezTo>
                <a:cubicBezTo>
                  <a:pt x="474" y="297"/>
                  <a:pt x="470" y="297"/>
                  <a:pt x="468" y="295"/>
                </a:cubicBezTo>
                <a:cubicBezTo>
                  <a:pt x="467" y="295"/>
                  <a:pt x="467" y="295"/>
                  <a:pt x="465" y="295"/>
                </a:cubicBezTo>
                <a:cubicBezTo>
                  <a:pt x="464" y="295"/>
                  <a:pt x="462" y="296"/>
                  <a:pt x="461" y="297"/>
                </a:cubicBezTo>
                <a:cubicBezTo>
                  <a:pt x="460" y="297"/>
                  <a:pt x="460" y="297"/>
                  <a:pt x="460" y="297"/>
                </a:cubicBezTo>
                <a:cubicBezTo>
                  <a:pt x="443" y="293"/>
                  <a:pt x="427" y="284"/>
                  <a:pt x="410" y="284"/>
                </a:cubicBezTo>
                <a:cubicBezTo>
                  <a:pt x="409" y="297"/>
                  <a:pt x="409" y="297"/>
                  <a:pt x="408" y="299"/>
                </a:cubicBezTo>
                <a:cubicBezTo>
                  <a:pt x="408" y="299"/>
                  <a:pt x="407" y="299"/>
                  <a:pt x="406" y="299"/>
                </a:cubicBezTo>
                <a:cubicBezTo>
                  <a:pt x="405" y="299"/>
                  <a:pt x="405" y="299"/>
                  <a:pt x="403" y="299"/>
                </a:cubicBezTo>
                <a:cubicBezTo>
                  <a:pt x="399" y="298"/>
                  <a:pt x="397" y="294"/>
                  <a:pt x="394" y="293"/>
                </a:cubicBezTo>
                <a:cubicBezTo>
                  <a:pt x="390" y="293"/>
                  <a:pt x="386" y="293"/>
                  <a:pt x="381" y="291"/>
                </a:cubicBezTo>
                <a:cubicBezTo>
                  <a:pt x="379" y="283"/>
                  <a:pt x="367" y="283"/>
                  <a:pt x="367" y="283"/>
                </a:cubicBezTo>
                <a:cubicBezTo>
                  <a:pt x="361" y="283"/>
                  <a:pt x="361" y="283"/>
                  <a:pt x="354" y="261"/>
                </a:cubicBezTo>
                <a:cubicBezTo>
                  <a:pt x="355" y="260"/>
                  <a:pt x="355" y="260"/>
                  <a:pt x="360" y="258"/>
                </a:cubicBezTo>
                <a:cubicBezTo>
                  <a:pt x="360" y="258"/>
                  <a:pt x="359" y="257"/>
                  <a:pt x="359" y="256"/>
                </a:cubicBezTo>
                <a:cubicBezTo>
                  <a:pt x="357" y="255"/>
                  <a:pt x="355" y="254"/>
                  <a:pt x="353" y="254"/>
                </a:cubicBezTo>
                <a:cubicBezTo>
                  <a:pt x="337" y="254"/>
                  <a:pt x="337" y="254"/>
                  <a:pt x="329" y="258"/>
                </a:cubicBezTo>
                <a:cubicBezTo>
                  <a:pt x="325" y="255"/>
                  <a:pt x="318" y="249"/>
                  <a:pt x="310" y="257"/>
                </a:cubicBezTo>
                <a:cubicBezTo>
                  <a:pt x="306" y="257"/>
                  <a:pt x="303" y="257"/>
                  <a:pt x="299" y="257"/>
                </a:cubicBezTo>
                <a:cubicBezTo>
                  <a:pt x="299" y="258"/>
                  <a:pt x="299" y="258"/>
                  <a:pt x="285" y="264"/>
                </a:cubicBezTo>
                <a:cubicBezTo>
                  <a:pt x="285" y="264"/>
                  <a:pt x="285" y="264"/>
                  <a:pt x="284" y="264"/>
                </a:cubicBezTo>
                <a:cubicBezTo>
                  <a:pt x="279" y="263"/>
                  <a:pt x="274" y="265"/>
                  <a:pt x="270" y="261"/>
                </a:cubicBezTo>
                <a:cubicBezTo>
                  <a:pt x="270" y="261"/>
                  <a:pt x="268" y="260"/>
                  <a:pt x="268" y="260"/>
                </a:cubicBezTo>
                <a:cubicBezTo>
                  <a:pt x="266" y="263"/>
                  <a:pt x="265" y="269"/>
                  <a:pt x="265" y="269"/>
                </a:cubicBezTo>
                <a:cubicBezTo>
                  <a:pt x="263" y="270"/>
                  <a:pt x="262" y="271"/>
                  <a:pt x="257" y="270"/>
                </a:cubicBezTo>
                <a:cubicBezTo>
                  <a:pt x="256" y="273"/>
                  <a:pt x="256" y="276"/>
                  <a:pt x="255" y="280"/>
                </a:cubicBezTo>
                <a:cubicBezTo>
                  <a:pt x="253" y="280"/>
                  <a:pt x="250" y="279"/>
                  <a:pt x="247" y="281"/>
                </a:cubicBezTo>
                <a:cubicBezTo>
                  <a:pt x="246" y="286"/>
                  <a:pt x="244" y="291"/>
                  <a:pt x="243" y="297"/>
                </a:cubicBezTo>
                <a:cubicBezTo>
                  <a:pt x="243" y="298"/>
                  <a:pt x="243" y="299"/>
                  <a:pt x="243" y="301"/>
                </a:cubicBezTo>
                <a:cubicBezTo>
                  <a:pt x="240" y="301"/>
                  <a:pt x="238" y="301"/>
                  <a:pt x="236" y="301"/>
                </a:cubicBezTo>
                <a:cubicBezTo>
                  <a:pt x="235" y="307"/>
                  <a:pt x="227" y="311"/>
                  <a:pt x="224" y="311"/>
                </a:cubicBezTo>
                <a:cubicBezTo>
                  <a:pt x="220" y="319"/>
                  <a:pt x="213" y="326"/>
                  <a:pt x="211" y="334"/>
                </a:cubicBezTo>
                <a:cubicBezTo>
                  <a:pt x="210" y="334"/>
                  <a:pt x="210" y="334"/>
                  <a:pt x="209" y="334"/>
                </a:cubicBezTo>
                <a:cubicBezTo>
                  <a:pt x="209" y="334"/>
                  <a:pt x="209" y="334"/>
                  <a:pt x="207" y="335"/>
                </a:cubicBezTo>
                <a:cubicBezTo>
                  <a:pt x="207" y="335"/>
                  <a:pt x="206" y="335"/>
                  <a:pt x="205" y="335"/>
                </a:cubicBezTo>
                <a:cubicBezTo>
                  <a:pt x="204" y="348"/>
                  <a:pt x="204" y="349"/>
                  <a:pt x="198" y="351"/>
                </a:cubicBezTo>
                <a:cubicBezTo>
                  <a:pt x="198" y="351"/>
                  <a:pt x="198" y="352"/>
                  <a:pt x="197" y="353"/>
                </a:cubicBezTo>
                <a:cubicBezTo>
                  <a:pt x="197" y="354"/>
                  <a:pt x="197" y="356"/>
                  <a:pt x="198" y="357"/>
                </a:cubicBezTo>
                <a:cubicBezTo>
                  <a:pt x="206" y="359"/>
                  <a:pt x="206" y="359"/>
                  <a:pt x="207" y="361"/>
                </a:cubicBezTo>
                <a:cubicBezTo>
                  <a:pt x="204" y="366"/>
                  <a:pt x="204" y="366"/>
                  <a:pt x="204" y="381"/>
                </a:cubicBezTo>
                <a:cubicBezTo>
                  <a:pt x="204" y="382"/>
                  <a:pt x="204" y="383"/>
                  <a:pt x="204" y="386"/>
                </a:cubicBezTo>
                <a:cubicBezTo>
                  <a:pt x="204" y="386"/>
                  <a:pt x="204" y="386"/>
                  <a:pt x="200" y="390"/>
                </a:cubicBezTo>
                <a:cubicBezTo>
                  <a:pt x="200" y="393"/>
                  <a:pt x="201" y="396"/>
                  <a:pt x="202" y="399"/>
                </a:cubicBezTo>
                <a:cubicBezTo>
                  <a:pt x="202" y="402"/>
                  <a:pt x="202" y="402"/>
                  <a:pt x="202" y="402"/>
                </a:cubicBezTo>
                <a:cubicBezTo>
                  <a:pt x="202" y="413"/>
                  <a:pt x="220" y="423"/>
                  <a:pt x="220" y="424"/>
                </a:cubicBezTo>
                <a:cubicBezTo>
                  <a:pt x="220" y="430"/>
                  <a:pt x="220" y="435"/>
                  <a:pt x="234" y="438"/>
                </a:cubicBezTo>
                <a:cubicBezTo>
                  <a:pt x="235" y="441"/>
                  <a:pt x="235" y="441"/>
                  <a:pt x="235" y="445"/>
                </a:cubicBezTo>
                <a:cubicBezTo>
                  <a:pt x="247" y="456"/>
                  <a:pt x="255" y="455"/>
                  <a:pt x="255" y="455"/>
                </a:cubicBezTo>
                <a:cubicBezTo>
                  <a:pt x="255" y="454"/>
                  <a:pt x="256" y="452"/>
                  <a:pt x="257" y="451"/>
                </a:cubicBezTo>
                <a:cubicBezTo>
                  <a:pt x="260" y="450"/>
                  <a:pt x="262" y="451"/>
                  <a:pt x="265" y="451"/>
                </a:cubicBezTo>
                <a:cubicBezTo>
                  <a:pt x="266" y="451"/>
                  <a:pt x="266" y="451"/>
                  <a:pt x="268" y="451"/>
                </a:cubicBezTo>
                <a:cubicBezTo>
                  <a:pt x="270" y="451"/>
                  <a:pt x="273" y="451"/>
                  <a:pt x="275" y="451"/>
                </a:cubicBezTo>
                <a:cubicBezTo>
                  <a:pt x="277" y="456"/>
                  <a:pt x="281" y="455"/>
                  <a:pt x="290" y="453"/>
                </a:cubicBezTo>
                <a:cubicBezTo>
                  <a:pt x="293" y="447"/>
                  <a:pt x="295" y="447"/>
                  <a:pt x="305" y="449"/>
                </a:cubicBezTo>
                <a:cubicBezTo>
                  <a:pt x="305" y="449"/>
                  <a:pt x="306" y="449"/>
                  <a:pt x="306" y="449"/>
                </a:cubicBezTo>
                <a:cubicBezTo>
                  <a:pt x="312" y="443"/>
                  <a:pt x="317" y="446"/>
                  <a:pt x="319" y="446"/>
                </a:cubicBezTo>
                <a:cubicBezTo>
                  <a:pt x="321" y="456"/>
                  <a:pt x="323" y="457"/>
                  <a:pt x="327" y="458"/>
                </a:cubicBezTo>
                <a:cubicBezTo>
                  <a:pt x="334" y="458"/>
                  <a:pt x="341" y="458"/>
                  <a:pt x="347" y="459"/>
                </a:cubicBezTo>
                <a:cubicBezTo>
                  <a:pt x="347" y="461"/>
                  <a:pt x="347" y="463"/>
                  <a:pt x="347" y="467"/>
                </a:cubicBezTo>
                <a:cubicBezTo>
                  <a:pt x="347" y="467"/>
                  <a:pt x="345" y="485"/>
                  <a:pt x="343" y="489"/>
                </a:cubicBezTo>
                <a:cubicBezTo>
                  <a:pt x="342" y="489"/>
                  <a:pt x="341" y="489"/>
                  <a:pt x="341" y="489"/>
                </a:cubicBezTo>
                <a:cubicBezTo>
                  <a:pt x="340" y="490"/>
                  <a:pt x="340" y="491"/>
                  <a:pt x="340" y="491"/>
                </a:cubicBezTo>
                <a:cubicBezTo>
                  <a:pt x="355" y="500"/>
                  <a:pt x="356" y="518"/>
                  <a:pt x="365" y="531"/>
                </a:cubicBezTo>
                <a:cubicBezTo>
                  <a:pt x="364" y="532"/>
                  <a:pt x="364" y="533"/>
                  <a:pt x="364" y="533"/>
                </a:cubicBezTo>
                <a:cubicBezTo>
                  <a:pt x="364" y="534"/>
                  <a:pt x="364" y="535"/>
                  <a:pt x="364" y="536"/>
                </a:cubicBezTo>
                <a:cubicBezTo>
                  <a:pt x="364" y="540"/>
                  <a:pt x="365" y="540"/>
                  <a:pt x="367" y="541"/>
                </a:cubicBezTo>
                <a:cubicBezTo>
                  <a:pt x="367" y="553"/>
                  <a:pt x="357" y="562"/>
                  <a:pt x="356" y="574"/>
                </a:cubicBezTo>
                <a:cubicBezTo>
                  <a:pt x="356" y="580"/>
                  <a:pt x="357" y="580"/>
                  <a:pt x="361" y="583"/>
                </a:cubicBezTo>
                <a:cubicBezTo>
                  <a:pt x="361" y="589"/>
                  <a:pt x="361" y="591"/>
                  <a:pt x="366" y="594"/>
                </a:cubicBezTo>
                <a:cubicBezTo>
                  <a:pt x="368" y="603"/>
                  <a:pt x="368" y="603"/>
                  <a:pt x="370" y="604"/>
                </a:cubicBezTo>
                <a:cubicBezTo>
                  <a:pt x="370" y="607"/>
                  <a:pt x="369" y="610"/>
                  <a:pt x="369" y="613"/>
                </a:cubicBezTo>
                <a:cubicBezTo>
                  <a:pt x="369" y="614"/>
                  <a:pt x="375" y="632"/>
                  <a:pt x="382" y="639"/>
                </a:cubicBezTo>
                <a:cubicBezTo>
                  <a:pt x="381" y="642"/>
                  <a:pt x="381" y="642"/>
                  <a:pt x="383" y="645"/>
                </a:cubicBezTo>
                <a:cubicBezTo>
                  <a:pt x="383" y="646"/>
                  <a:pt x="383" y="646"/>
                  <a:pt x="383" y="647"/>
                </a:cubicBezTo>
                <a:cubicBezTo>
                  <a:pt x="382" y="648"/>
                  <a:pt x="380" y="649"/>
                  <a:pt x="380" y="650"/>
                </a:cubicBezTo>
                <a:cubicBezTo>
                  <a:pt x="380" y="650"/>
                  <a:pt x="381" y="651"/>
                  <a:pt x="381" y="651"/>
                </a:cubicBezTo>
                <a:cubicBezTo>
                  <a:pt x="382" y="651"/>
                  <a:pt x="383" y="651"/>
                  <a:pt x="383" y="651"/>
                </a:cubicBezTo>
                <a:cubicBezTo>
                  <a:pt x="383" y="654"/>
                  <a:pt x="383" y="654"/>
                  <a:pt x="386" y="656"/>
                </a:cubicBezTo>
                <a:cubicBezTo>
                  <a:pt x="389" y="656"/>
                  <a:pt x="391" y="656"/>
                  <a:pt x="394" y="656"/>
                </a:cubicBezTo>
                <a:cubicBezTo>
                  <a:pt x="398" y="655"/>
                  <a:pt x="398" y="655"/>
                  <a:pt x="401" y="654"/>
                </a:cubicBezTo>
                <a:cubicBezTo>
                  <a:pt x="404" y="654"/>
                  <a:pt x="408" y="654"/>
                  <a:pt x="412" y="653"/>
                </a:cubicBezTo>
                <a:cubicBezTo>
                  <a:pt x="413" y="653"/>
                  <a:pt x="413" y="652"/>
                  <a:pt x="413" y="651"/>
                </a:cubicBezTo>
                <a:cubicBezTo>
                  <a:pt x="422" y="650"/>
                  <a:pt x="422" y="650"/>
                  <a:pt x="424" y="647"/>
                </a:cubicBezTo>
                <a:cubicBezTo>
                  <a:pt x="424" y="647"/>
                  <a:pt x="451" y="634"/>
                  <a:pt x="448" y="620"/>
                </a:cubicBezTo>
                <a:cubicBezTo>
                  <a:pt x="448" y="619"/>
                  <a:pt x="460" y="612"/>
                  <a:pt x="465" y="610"/>
                </a:cubicBezTo>
                <a:cubicBezTo>
                  <a:pt x="466" y="606"/>
                  <a:pt x="466" y="606"/>
                  <a:pt x="464" y="592"/>
                </a:cubicBezTo>
                <a:cubicBezTo>
                  <a:pt x="476" y="582"/>
                  <a:pt x="492" y="578"/>
                  <a:pt x="500" y="564"/>
                </a:cubicBezTo>
                <a:cubicBezTo>
                  <a:pt x="500" y="563"/>
                  <a:pt x="501" y="562"/>
                  <a:pt x="501" y="560"/>
                </a:cubicBezTo>
                <a:cubicBezTo>
                  <a:pt x="502" y="558"/>
                  <a:pt x="502" y="557"/>
                  <a:pt x="501" y="555"/>
                </a:cubicBezTo>
                <a:cubicBezTo>
                  <a:pt x="502" y="551"/>
                  <a:pt x="503" y="547"/>
                  <a:pt x="503" y="542"/>
                </a:cubicBezTo>
                <a:cubicBezTo>
                  <a:pt x="499" y="535"/>
                  <a:pt x="505" y="528"/>
                  <a:pt x="502" y="521"/>
                </a:cubicBezTo>
                <a:cubicBezTo>
                  <a:pt x="502" y="519"/>
                  <a:pt x="502" y="519"/>
                  <a:pt x="502" y="519"/>
                </a:cubicBezTo>
                <a:cubicBezTo>
                  <a:pt x="515" y="479"/>
                  <a:pt x="568" y="470"/>
                  <a:pt x="577" y="426"/>
                </a:cubicBezTo>
                <a:moveTo>
                  <a:pt x="133" y="516"/>
                </a:moveTo>
                <a:cubicBezTo>
                  <a:pt x="132" y="514"/>
                  <a:pt x="129" y="503"/>
                  <a:pt x="124" y="501"/>
                </a:cubicBezTo>
                <a:cubicBezTo>
                  <a:pt x="123" y="501"/>
                  <a:pt x="122" y="501"/>
                  <a:pt x="120" y="501"/>
                </a:cubicBezTo>
                <a:cubicBezTo>
                  <a:pt x="114" y="498"/>
                  <a:pt x="113" y="486"/>
                  <a:pt x="105" y="490"/>
                </a:cubicBezTo>
                <a:cubicBezTo>
                  <a:pt x="103" y="490"/>
                  <a:pt x="101" y="490"/>
                  <a:pt x="99" y="489"/>
                </a:cubicBezTo>
                <a:cubicBezTo>
                  <a:pt x="96" y="486"/>
                  <a:pt x="96" y="486"/>
                  <a:pt x="93" y="486"/>
                </a:cubicBezTo>
                <a:cubicBezTo>
                  <a:pt x="93" y="487"/>
                  <a:pt x="93" y="489"/>
                  <a:pt x="93" y="490"/>
                </a:cubicBezTo>
                <a:cubicBezTo>
                  <a:pt x="89" y="489"/>
                  <a:pt x="89" y="488"/>
                  <a:pt x="89" y="486"/>
                </a:cubicBezTo>
                <a:cubicBezTo>
                  <a:pt x="89" y="486"/>
                  <a:pt x="90" y="485"/>
                  <a:pt x="90" y="485"/>
                </a:cubicBezTo>
                <a:cubicBezTo>
                  <a:pt x="83" y="478"/>
                  <a:pt x="82" y="478"/>
                  <a:pt x="80" y="478"/>
                </a:cubicBezTo>
                <a:cubicBezTo>
                  <a:pt x="80" y="478"/>
                  <a:pt x="80" y="478"/>
                  <a:pt x="79" y="477"/>
                </a:cubicBezTo>
                <a:cubicBezTo>
                  <a:pt x="77" y="475"/>
                  <a:pt x="77" y="475"/>
                  <a:pt x="74" y="476"/>
                </a:cubicBezTo>
                <a:cubicBezTo>
                  <a:pt x="75" y="477"/>
                  <a:pt x="75" y="479"/>
                  <a:pt x="76" y="481"/>
                </a:cubicBezTo>
                <a:cubicBezTo>
                  <a:pt x="75" y="481"/>
                  <a:pt x="74" y="481"/>
                  <a:pt x="73" y="481"/>
                </a:cubicBezTo>
                <a:cubicBezTo>
                  <a:pt x="73" y="480"/>
                  <a:pt x="73" y="479"/>
                  <a:pt x="72" y="478"/>
                </a:cubicBezTo>
                <a:cubicBezTo>
                  <a:pt x="72" y="477"/>
                  <a:pt x="73" y="476"/>
                  <a:pt x="73" y="475"/>
                </a:cubicBezTo>
                <a:cubicBezTo>
                  <a:pt x="73" y="475"/>
                  <a:pt x="73" y="474"/>
                  <a:pt x="73" y="474"/>
                </a:cubicBezTo>
                <a:cubicBezTo>
                  <a:pt x="73" y="472"/>
                  <a:pt x="73" y="472"/>
                  <a:pt x="68" y="470"/>
                </a:cubicBezTo>
                <a:cubicBezTo>
                  <a:pt x="68" y="470"/>
                  <a:pt x="68" y="470"/>
                  <a:pt x="68" y="470"/>
                </a:cubicBezTo>
                <a:cubicBezTo>
                  <a:pt x="68" y="470"/>
                  <a:pt x="67" y="470"/>
                  <a:pt x="66" y="470"/>
                </a:cubicBezTo>
                <a:cubicBezTo>
                  <a:pt x="67" y="474"/>
                  <a:pt x="67" y="474"/>
                  <a:pt x="67" y="475"/>
                </a:cubicBezTo>
                <a:cubicBezTo>
                  <a:pt x="66" y="475"/>
                  <a:pt x="65" y="475"/>
                  <a:pt x="65" y="475"/>
                </a:cubicBezTo>
                <a:cubicBezTo>
                  <a:pt x="65" y="474"/>
                  <a:pt x="64" y="473"/>
                  <a:pt x="64" y="472"/>
                </a:cubicBezTo>
                <a:cubicBezTo>
                  <a:pt x="65" y="471"/>
                  <a:pt x="66" y="470"/>
                  <a:pt x="66" y="469"/>
                </a:cubicBezTo>
                <a:cubicBezTo>
                  <a:pt x="65" y="461"/>
                  <a:pt x="65" y="461"/>
                  <a:pt x="64" y="459"/>
                </a:cubicBezTo>
                <a:cubicBezTo>
                  <a:pt x="64" y="459"/>
                  <a:pt x="63" y="459"/>
                  <a:pt x="62" y="459"/>
                </a:cubicBezTo>
                <a:cubicBezTo>
                  <a:pt x="62" y="457"/>
                  <a:pt x="62" y="454"/>
                  <a:pt x="61" y="451"/>
                </a:cubicBezTo>
                <a:cubicBezTo>
                  <a:pt x="59" y="446"/>
                  <a:pt x="55" y="442"/>
                  <a:pt x="52" y="437"/>
                </a:cubicBezTo>
                <a:cubicBezTo>
                  <a:pt x="51" y="437"/>
                  <a:pt x="50" y="436"/>
                  <a:pt x="49" y="436"/>
                </a:cubicBezTo>
                <a:cubicBezTo>
                  <a:pt x="49" y="435"/>
                  <a:pt x="48" y="435"/>
                  <a:pt x="48" y="434"/>
                </a:cubicBezTo>
                <a:cubicBezTo>
                  <a:pt x="47" y="435"/>
                  <a:pt x="45" y="435"/>
                  <a:pt x="45" y="435"/>
                </a:cubicBezTo>
                <a:cubicBezTo>
                  <a:pt x="44" y="435"/>
                  <a:pt x="44" y="435"/>
                  <a:pt x="44" y="435"/>
                </a:cubicBezTo>
                <a:cubicBezTo>
                  <a:pt x="44" y="435"/>
                  <a:pt x="34" y="422"/>
                  <a:pt x="32" y="419"/>
                </a:cubicBezTo>
                <a:cubicBezTo>
                  <a:pt x="32" y="419"/>
                  <a:pt x="32" y="418"/>
                  <a:pt x="31" y="417"/>
                </a:cubicBezTo>
                <a:cubicBezTo>
                  <a:pt x="30" y="415"/>
                  <a:pt x="30" y="415"/>
                  <a:pt x="30" y="412"/>
                </a:cubicBezTo>
                <a:cubicBezTo>
                  <a:pt x="30" y="412"/>
                  <a:pt x="30" y="412"/>
                  <a:pt x="29" y="412"/>
                </a:cubicBezTo>
                <a:cubicBezTo>
                  <a:pt x="29" y="412"/>
                  <a:pt x="28" y="413"/>
                  <a:pt x="28" y="413"/>
                </a:cubicBezTo>
                <a:cubicBezTo>
                  <a:pt x="27" y="412"/>
                  <a:pt x="27" y="412"/>
                  <a:pt x="26" y="408"/>
                </a:cubicBezTo>
                <a:cubicBezTo>
                  <a:pt x="26" y="408"/>
                  <a:pt x="27" y="407"/>
                  <a:pt x="27" y="407"/>
                </a:cubicBezTo>
                <a:cubicBezTo>
                  <a:pt x="26" y="406"/>
                  <a:pt x="26" y="405"/>
                  <a:pt x="25" y="404"/>
                </a:cubicBezTo>
                <a:cubicBezTo>
                  <a:pt x="24" y="406"/>
                  <a:pt x="24" y="406"/>
                  <a:pt x="24" y="406"/>
                </a:cubicBezTo>
                <a:cubicBezTo>
                  <a:pt x="24" y="406"/>
                  <a:pt x="24" y="406"/>
                  <a:pt x="24" y="406"/>
                </a:cubicBezTo>
                <a:cubicBezTo>
                  <a:pt x="23" y="405"/>
                  <a:pt x="22" y="405"/>
                  <a:pt x="22" y="405"/>
                </a:cubicBezTo>
                <a:cubicBezTo>
                  <a:pt x="22" y="406"/>
                  <a:pt x="22" y="407"/>
                  <a:pt x="22" y="409"/>
                </a:cubicBezTo>
                <a:cubicBezTo>
                  <a:pt x="21" y="409"/>
                  <a:pt x="21" y="409"/>
                  <a:pt x="21" y="410"/>
                </a:cubicBezTo>
                <a:cubicBezTo>
                  <a:pt x="20" y="406"/>
                  <a:pt x="20" y="406"/>
                  <a:pt x="18" y="405"/>
                </a:cubicBezTo>
                <a:cubicBezTo>
                  <a:pt x="18" y="405"/>
                  <a:pt x="17" y="405"/>
                  <a:pt x="16" y="405"/>
                </a:cubicBezTo>
                <a:cubicBezTo>
                  <a:pt x="16" y="404"/>
                  <a:pt x="15" y="404"/>
                  <a:pt x="15" y="403"/>
                </a:cubicBezTo>
                <a:cubicBezTo>
                  <a:pt x="15" y="402"/>
                  <a:pt x="15" y="401"/>
                  <a:pt x="14" y="399"/>
                </a:cubicBezTo>
                <a:cubicBezTo>
                  <a:pt x="13" y="398"/>
                  <a:pt x="12" y="397"/>
                  <a:pt x="12" y="396"/>
                </a:cubicBezTo>
                <a:cubicBezTo>
                  <a:pt x="12" y="396"/>
                  <a:pt x="12" y="409"/>
                  <a:pt x="11" y="413"/>
                </a:cubicBezTo>
                <a:cubicBezTo>
                  <a:pt x="9" y="402"/>
                  <a:pt x="10" y="396"/>
                  <a:pt x="10" y="393"/>
                </a:cubicBezTo>
                <a:cubicBezTo>
                  <a:pt x="10" y="392"/>
                  <a:pt x="10" y="392"/>
                  <a:pt x="10" y="392"/>
                </a:cubicBezTo>
                <a:cubicBezTo>
                  <a:pt x="10" y="392"/>
                  <a:pt x="10" y="392"/>
                  <a:pt x="9" y="392"/>
                </a:cubicBezTo>
                <a:cubicBezTo>
                  <a:pt x="9" y="394"/>
                  <a:pt x="9" y="394"/>
                  <a:pt x="9" y="397"/>
                </a:cubicBezTo>
                <a:cubicBezTo>
                  <a:pt x="8" y="397"/>
                  <a:pt x="8" y="397"/>
                  <a:pt x="7" y="398"/>
                </a:cubicBezTo>
                <a:cubicBezTo>
                  <a:pt x="7" y="399"/>
                  <a:pt x="6" y="401"/>
                  <a:pt x="6" y="401"/>
                </a:cubicBezTo>
                <a:cubicBezTo>
                  <a:pt x="6" y="404"/>
                  <a:pt x="6" y="406"/>
                  <a:pt x="6" y="410"/>
                </a:cubicBezTo>
                <a:cubicBezTo>
                  <a:pt x="2" y="424"/>
                  <a:pt x="12" y="436"/>
                  <a:pt x="10" y="449"/>
                </a:cubicBezTo>
                <a:cubicBezTo>
                  <a:pt x="11" y="454"/>
                  <a:pt x="11" y="454"/>
                  <a:pt x="11" y="456"/>
                </a:cubicBezTo>
                <a:cubicBezTo>
                  <a:pt x="12" y="461"/>
                  <a:pt x="12" y="461"/>
                  <a:pt x="13" y="465"/>
                </a:cubicBezTo>
                <a:cubicBezTo>
                  <a:pt x="13" y="465"/>
                  <a:pt x="13" y="465"/>
                  <a:pt x="13" y="466"/>
                </a:cubicBezTo>
                <a:cubicBezTo>
                  <a:pt x="16" y="475"/>
                  <a:pt x="16" y="475"/>
                  <a:pt x="16" y="476"/>
                </a:cubicBezTo>
                <a:cubicBezTo>
                  <a:pt x="17" y="477"/>
                  <a:pt x="17" y="478"/>
                  <a:pt x="17" y="479"/>
                </a:cubicBezTo>
                <a:cubicBezTo>
                  <a:pt x="17" y="479"/>
                  <a:pt x="18" y="484"/>
                  <a:pt x="21" y="492"/>
                </a:cubicBezTo>
                <a:cubicBezTo>
                  <a:pt x="21" y="493"/>
                  <a:pt x="21" y="493"/>
                  <a:pt x="22" y="494"/>
                </a:cubicBezTo>
                <a:cubicBezTo>
                  <a:pt x="25" y="502"/>
                  <a:pt x="28" y="509"/>
                  <a:pt x="32" y="517"/>
                </a:cubicBezTo>
                <a:cubicBezTo>
                  <a:pt x="32" y="518"/>
                  <a:pt x="32" y="519"/>
                  <a:pt x="33" y="520"/>
                </a:cubicBezTo>
                <a:cubicBezTo>
                  <a:pt x="38" y="531"/>
                  <a:pt x="50" y="555"/>
                  <a:pt x="61" y="564"/>
                </a:cubicBezTo>
                <a:cubicBezTo>
                  <a:pt x="64" y="567"/>
                  <a:pt x="66" y="571"/>
                  <a:pt x="68" y="575"/>
                </a:cubicBezTo>
                <a:cubicBezTo>
                  <a:pt x="69" y="576"/>
                  <a:pt x="70" y="577"/>
                  <a:pt x="70" y="578"/>
                </a:cubicBezTo>
                <a:cubicBezTo>
                  <a:pt x="70" y="579"/>
                  <a:pt x="70" y="579"/>
                  <a:pt x="70" y="579"/>
                </a:cubicBezTo>
                <a:cubicBezTo>
                  <a:pt x="71" y="579"/>
                  <a:pt x="71" y="579"/>
                  <a:pt x="72" y="580"/>
                </a:cubicBezTo>
                <a:cubicBezTo>
                  <a:pt x="72" y="581"/>
                  <a:pt x="72" y="581"/>
                  <a:pt x="73" y="582"/>
                </a:cubicBezTo>
                <a:cubicBezTo>
                  <a:pt x="73" y="582"/>
                  <a:pt x="73" y="582"/>
                  <a:pt x="73" y="583"/>
                </a:cubicBezTo>
                <a:cubicBezTo>
                  <a:pt x="75" y="586"/>
                  <a:pt x="75" y="586"/>
                  <a:pt x="76" y="587"/>
                </a:cubicBezTo>
                <a:cubicBezTo>
                  <a:pt x="76" y="587"/>
                  <a:pt x="76" y="587"/>
                  <a:pt x="76" y="587"/>
                </a:cubicBezTo>
                <a:cubicBezTo>
                  <a:pt x="77" y="588"/>
                  <a:pt x="77" y="588"/>
                  <a:pt x="78" y="590"/>
                </a:cubicBezTo>
                <a:cubicBezTo>
                  <a:pt x="78" y="590"/>
                  <a:pt x="79" y="591"/>
                  <a:pt x="79" y="591"/>
                </a:cubicBezTo>
                <a:cubicBezTo>
                  <a:pt x="79" y="592"/>
                  <a:pt x="79" y="592"/>
                  <a:pt x="79" y="592"/>
                </a:cubicBezTo>
                <a:cubicBezTo>
                  <a:pt x="79" y="592"/>
                  <a:pt x="80" y="592"/>
                  <a:pt x="80" y="592"/>
                </a:cubicBezTo>
                <a:cubicBezTo>
                  <a:pt x="81" y="594"/>
                  <a:pt x="81" y="595"/>
                  <a:pt x="83" y="597"/>
                </a:cubicBezTo>
                <a:cubicBezTo>
                  <a:pt x="83" y="597"/>
                  <a:pt x="84" y="598"/>
                  <a:pt x="84" y="598"/>
                </a:cubicBezTo>
                <a:cubicBezTo>
                  <a:pt x="84" y="598"/>
                  <a:pt x="84" y="599"/>
                  <a:pt x="85" y="599"/>
                </a:cubicBezTo>
                <a:cubicBezTo>
                  <a:pt x="87" y="602"/>
                  <a:pt x="89" y="606"/>
                  <a:pt x="92" y="609"/>
                </a:cubicBezTo>
                <a:cubicBezTo>
                  <a:pt x="92" y="609"/>
                  <a:pt x="100" y="619"/>
                  <a:pt x="102" y="622"/>
                </a:cubicBezTo>
                <a:cubicBezTo>
                  <a:pt x="103" y="622"/>
                  <a:pt x="103" y="623"/>
                  <a:pt x="103" y="623"/>
                </a:cubicBezTo>
                <a:cubicBezTo>
                  <a:pt x="110" y="630"/>
                  <a:pt x="117" y="637"/>
                  <a:pt x="123" y="644"/>
                </a:cubicBezTo>
                <a:cubicBezTo>
                  <a:pt x="124" y="645"/>
                  <a:pt x="124" y="645"/>
                  <a:pt x="126" y="647"/>
                </a:cubicBezTo>
                <a:cubicBezTo>
                  <a:pt x="126" y="647"/>
                  <a:pt x="127" y="648"/>
                  <a:pt x="127" y="648"/>
                </a:cubicBezTo>
                <a:cubicBezTo>
                  <a:pt x="148" y="666"/>
                  <a:pt x="148" y="666"/>
                  <a:pt x="152" y="669"/>
                </a:cubicBezTo>
                <a:cubicBezTo>
                  <a:pt x="156" y="672"/>
                  <a:pt x="160" y="675"/>
                  <a:pt x="165" y="678"/>
                </a:cubicBezTo>
                <a:cubicBezTo>
                  <a:pt x="165" y="678"/>
                  <a:pt x="165" y="678"/>
                  <a:pt x="165" y="678"/>
                </a:cubicBezTo>
                <a:cubicBezTo>
                  <a:pt x="156" y="672"/>
                  <a:pt x="156" y="672"/>
                  <a:pt x="156" y="672"/>
                </a:cubicBezTo>
                <a:cubicBezTo>
                  <a:pt x="157" y="672"/>
                  <a:pt x="157" y="672"/>
                  <a:pt x="157" y="672"/>
                </a:cubicBezTo>
                <a:cubicBezTo>
                  <a:pt x="158" y="673"/>
                  <a:pt x="159" y="674"/>
                  <a:pt x="161" y="675"/>
                </a:cubicBezTo>
                <a:cubicBezTo>
                  <a:pt x="161" y="675"/>
                  <a:pt x="161" y="676"/>
                  <a:pt x="162" y="676"/>
                </a:cubicBezTo>
                <a:cubicBezTo>
                  <a:pt x="163" y="677"/>
                  <a:pt x="165" y="678"/>
                  <a:pt x="167" y="680"/>
                </a:cubicBezTo>
                <a:cubicBezTo>
                  <a:pt x="169" y="681"/>
                  <a:pt x="169" y="681"/>
                  <a:pt x="178" y="687"/>
                </a:cubicBezTo>
                <a:cubicBezTo>
                  <a:pt x="177" y="686"/>
                  <a:pt x="175" y="685"/>
                  <a:pt x="174" y="685"/>
                </a:cubicBezTo>
                <a:cubicBezTo>
                  <a:pt x="174" y="684"/>
                  <a:pt x="174" y="684"/>
                  <a:pt x="173" y="684"/>
                </a:cubicBezTo>
                <a:cubicBezTo>
                  <a:pt x="172" y="683"/>
                  <a:pt x="172" y="683"/>
                  <a:pt x="171" y="683"/>
                </a:cubicBezTo>
                <a:cubicBezTo>
                  <a:pt x="172" y="683"/>
                  <a:pt x="172" y="683"/>
                  <a:pt x="172" y="683"/>
                </a:cubicBezTo>
                <a:cubicBezTo>
                  <a:pt x="173" y="684"/>
                  <a:pt x="174" y="684"/>
                  <a:pt x="175" y="685"/>
                </a:cubicBezTo>
                <a:cubicBezTo>
                  <a:pt x="177" y="686"/>
                  <a:pt x="180" y="688"/>
                  <a:pt x="182" y="689"/>
                </a:cubicBezTo>
                <a:cubicBezTo>
                  <a:pt x="181" y="689"/>
                  <a:pt x="179" y="688"/>
                  <a:pt x="178" y="687"/>
                </a:cubicBezTo>
                <a:cubicBezTo>
                  <a:pt x="179" y="688"/>
                  <a:pt x="180" y="688"/>
                  <a:pt x="181" y="689"/>
                </a:cubicBezTo>
                <a:cubicBezTo>
                  <a:pt x="186" y="692"/>
                  <a:pt x="191" y="695"/>
                  <a:pt x="196" y="698"/>
                </a:cubicBezTo>
                <a:cubicBezTo>
                  <a:pt x="197" y="698"/>
                  <a:pt x="197" y="698"/>
                  <a:pt x="198" y="699"/>
                </a:cubicBezTo>
                <a:cubicBezTo>
                  <a:pt x="199" y="700"/>
                  <a:pt x="201" y="700"/>
                  <a:pt x="202" y="701"/>
                </a:cubicBezTo>
                <a:cubicBezTo>
                  <a:pt x="203" y="701"/>
                  <a:pt x="203" y="701"/>
                  <a:pt x="203" y="702"/>
                </a:cubicBezTo>
                <a:cubicBezTo>
                  <a:pt x="207" y="703"/>
                  <a:pt x="210" y="705"/>
                  <a:pt x="213" y="706"/>
                </a:cubicBezTo>
                <a:cubicBezTo>
                  <a:pt x="214" y="707"/>
                  <a:pt x="214" y="707"/>
                  <a:pt x="214" y="707"/>
                </a:cubicBezTo>
                <a:cubicBezTo>
                  <a:pt x="215" y="707"/>
                  <a:pt x="215" y="707"/>
                  <a:pt x="215" y="707"/>
                </a:cubicBezTo>
                <a:cubicBezTo>
                  <a:pt x="215" y="708"/>
                  <a:pt x="215" y="708"/>
                  <a:pt x="215" y="708"/>
                </a:cubicBezTo>
                <a:cubicBezTo>
                  <a:pt x="219" y="709"/>
                  <a:pt x="219" y="709"/>
                  <a:pt x="220" y="710"/>
                </a:cubicBezTo>
                <a:cubicBezTo>
                  <a:pt x="221" y="710"/>
                  <a:pt x="221" y="710"/>
                  <a:pt x="221" y="710"/>
                </a:cubicBezTo>
                <a:cubicBezTo>
                  <a:pt x="228" y="713"/>
                  <a:pt x="237" y="717"/>
                  <a:pt x="237" y="717"/>
                </a:cubicBezTo>
                <a:cubicBezTo>
                  <a:pt x="237" y="717"/>
                  <a:pt x="238" y="717"/>
                  <a:pt x="238" y="717"/>
                </a:cubicBezTo>
                <a:cubicBezTo>
                  <a:pt x="240" y="718"/>
                  <a:pt x="240" y="718"/>
                  <a:pt x="243" y="719"/>
                </a:cubicBezTo>
                <a:cubicBezTo>
                  <a:pt x="243" y="719"/>
                  <a:pt x="243" y="719"/>
                  <a:pt x="245" y="719"/>
                </a:cubicBezTo>
                <a:cubicBezTo>
                  <a:pt x="245" y="719"/>
                  <a:pt x="245" y="719"/>
                  <a:pt x="245" y="719"/>
                </a:cubicBezTo>
                <a:cubicBezTo>
                  <a:pt x="241" y="717"/>
                  <a:pt x="241" y="717"/>
                  <a:pt x="239" y="717"/>
                </a:cubicBezTo>
                <a:cubicBezTo>
                  <a:pt x="238" y="717"/>
                  <a:pt x="238" y="716"/>
                  <a:pt x="236" y="716"/>
                </a:cubicBezTo>
                <a:cubicBezTo>
                  <a:pt x="236" y="716"/>
                  <a:pt x="230" y="713"/>
                  <a:pt x="227" y="712"/>
                </a:cubicBezTo>
                <a:cubicBezTo>
                  <a:pt x="226" y="712"/>
                  <a:pt x="226" y="712"/>
                  <a:pt x="225" y="711"/>
                </a:cubicBezTo>
                <a:cubicBezTo>
                  <a:pt x="218" y="708"/>
                  <a:pt x="218" y="708"/>
                  <a:pt x="217" y="707"/>
                </a:cubicBezTo>
                <a:cubicBezTo>
                  <a:pt x="217" y="707"/>
                  <a:pt x="216" y="707"/>
                  <a:pt x="215" y="706"/>
                </a:cubicBezTo>
                <a:cubicBezTo>
                  <a:pt x="214" y="706"/>
                  <a:pt x="212" y="705"/>
                  <a:pt x="210" y="704"/>
                </a:cubicBezTo>
                <a:cubicBezTo>
                  <a:pt x="210" y="704"/>
                  <a:pt x="209" y="704"/>
                  <a:pt x="209" y="703"/>
                </a:cubicBezTo>
                <a:cubicBezTo>
                  <a:pt x="209" y="703"/>
                  <a:pt x="209" y="704"/>
                  <a:pt x="208" y="703"/>
                </a:cubicBezTo>
                <a:cubicBezTo>
                  <a:pt x="203" y="700"/>
                  <a:pt x="196" y="695"/>
                  <a:pt x="196" y="695"/>
                </a:cubicBezTo>
                <a:cubicBezTo>
                  <a:pt x="195" y="695"/>
                  <a:pt x="194" y="694"/>
                  <a:pt x="194" y="694"/>
                </a:cubicBezTo>
                <a:cubicBezTo>
                  <a:pt x="193" y="694"/>
                  <a:pt x="193" y="694"/>
                  <a:pt x="192" y="693"/>
                </a:cubicBezTo>
                <a:cubicBezTo>
                  <a:pt x="190" y="692"/>
                  <a:pt x="187" y="691"/>
                  <a:pt x="184" y="689"/>
                </a:cubicBezTo>
                <a:cubicBezTo>
                  <a:pt x="184" y="689"/>
                  <a:pt x="184" y="689"/>
                  <a:pt x="183" y="688"/>
                </a:cubicBezTo>
                <a:cubicBezTo>
                  <a:pt x="182" y="688"/>
                  <a:pt x="181" y="687"/>
                  <a:pt x="180" y="686"/>
                </a:cubicBezTo>
                <a:cubicBezTo>
                  <a:pt x="181" y="686"/>
                  <a:pt x="181" y="686"/>
                  <a:pt x="182" y="686"/>
                </a:cubicBezTo>
                <a:cubicBezTo>
                  <a:pt x="180" y="685"/>
                  <a:pt x="178" y="684"/>
                  <a:pt x="176" y="682"/>
                </a:cubicBezTo>
                <a:cubicBezTo>
                  <a:pt x="173" y="680"/>
                  <a:pt x="171" y="678"/>
                  <a:pt x="168" y="676"/>
                </a:cubicBezTo>
                <a:cubicBezTo>
                  <a:pt x="168" y="675"/>
                  <a:pt x="168" y="675"/>
                  <a:pt x="166" y="674"/>
                </a:cubicBezTo>
                <a:cubicBezTo>
                  <a:pt x="166" y="674"/>
                  <a:pt x="166" y="674"/>
                  <a:pt x="166" y="674"/>
                </a:cubicBezTo>
                <a:cubicBezTo>
                  <a:pt x="166" y="674"/>
                  <a:pt x="166" y="674"/>
                  <a:pt x="166" y="674"/>
                </a:cubicBezTo>
                <a:cubicBezTo>
                  <a:pt x="166" y="674"/>
                  <a:pt x="166" y="674"/>
                  <a:pt x="166" y="674"/>
                </a:cubicBezTo>
                <a:cubicBezTo>
                  <a:pt x="166" y="674"/>
                  <a:pt x="166" y="674"/>
                  <a:pt x="166" y="674"/>
                </a:cubicBezTo>
                <a:cubicBezTo>
                  <a:pt x="166" y="674"/>
                  <a:pt x="166" y="674"/>
                  <a:pt x="166" y="674"/>
                </a:cubicBezTo>
                <a:cubicBezTo>
                  <a:pt x="166" y="674"/>
                  <a:pt x="166" y="674"/>
                  <a:pt x="166" y="674"/>
                </a:cubicBezTo>
                <a:cubicBezTo>
                  <a:pt x="166" y="674"/>
                  <a:pt x="166" y="674"/>
                  <a:pt x="166" y="674"/>
                </a:cubicBezTo>
                <a:cubicBezTo>
                  <a:pt x="166" y="674"/>
                  <a:pt x="166" y="674"/>
                  <a:pt x="167" y="675"/>
                </a:cubicBezTo>
                <a:cubicBezTo>
                  <a:pt x="165" y="675"/>
                  <a:pt x="165" y="675"/>
                  <a:pt x="161" y="671"/>
                </a:cubicBezTo>
                <a:cubicBezTo>
                  <a:pt x="160" y="671"/>
                  <a:pt x="159" y="670"/>
                  <a:pt x="158" y="669"/>
                </a:cubicBezTo>
                <a:cubicBezTo>
                  <a:pt x="158" y="669"/>
                  <a:pt x="158" y="669"/>
                  <a:pt x="160" y="670"/>
                </a:cubicBezTo>
                <a:cubicBezTo>
                  <a:pt x="161" y="670"/>
                  <a:pt x="161" y="671"/>
                  <a:pt x="162" y="671"/>
                </a:cubicBezTo>
                <a:cubicBezTo>
                  <a:pt x="162" y="671"/>
                  <a:pt x="163" y="671"/>
                  <a:pt x="163" y="671"/>
                </a:cubicBezTo>
                <a:cubicBezTo>
                  <a:pt x="162" y="670"/>
                  <a:pt x="162" y="670"/>
                  <a:pt x="161" y="670"/>
                </a:cubicBezTo>
                <a:cubicBezTo>
                  <a:pt x="161" y="669"/>
                  <a:pt x="161" y="669"/>
                  <a:pt x="159" y="668"/>
                </a:cubicBezTo>
                <a:cubicBezTo>
                  <a:pt x="158" y="667"/>
                  <a:pt x="158" y="667"/>
                  <a:pt x="154" y="663"/>
                </a:cubicBezTo>
                <a:cubicBezTo>
                  <a:pt x="153" y="663"/>
                  <a:pt x="153" y="662"/>
                  <a:pt x="152" y="662"/>
                </a:cubicBezTo>
                <a:cubicBezTo>
                  <a:pt x="152" y="662"/>
                  <a:pt x="153" y="662"/>
                  <a:pt x="153" y="662"/>
                </a:cubicBezTo>
                <a:cubicBezTo>
                  <a:pt x="154" y="662"/>
                  <a:pt x="154" y="662"/>
                  <a:pt x="154" y="661"/>
                </a:cubicBezTo>
                <a:cubicBezTo>
                  <a:pt x="155" y="661"/>
                  <a:pt x="155" y="661"/>
                  <a:pt x="157" y="662"/>
                </a:cubicBezTo>
                <a:cubicBezTo>
                  <a:pt x="155" y="660"/>
                  <a:pt x="153" y="657"/>
                  <a:pt x="152" y="655"/>
                </a:cubicBezTo>
                <a:cubicBezTo>
                  <a:pt x="151" y="653"/>
                  <a:pt x="151" y="653"/>
                  <a:pt x="151" y="653"/>
                </a:cubicBezTo>
                <a:cubicBezTo>
                  <a:pt x="150" y="653"/>
                  <a:pt x="149" y="652"/>
                  <a:pt x="148" y="651"/>
                </a:cubicBezTo>
                <a:cubicBezTo>
                  <a:pt x="148" y="651"/>
                  <a:pt x="148" y="651"/>
                  <a:pt x="147" y="651"/>
                </a:cubicBezTo>
                <a:cubicBezTo>
                  <a:pt x="147" y="650"/>
                  <a:pt x="146" y="650"/>
                  <a:pt x="145" y="648"/>
                </a:cubicBezTo>
                <a:cubicBezTo>
                  <a:pt x="142" y="646"/>
                  <a:pt x="139" y="645"/>
                  <a:pt x="137" y="643"/>
                </a:cubicBezTo>
                <a:cubicBezTo>
                  <a:pt x="138" y="643"/>
                  <a:pt x="138" y="643"/>
                  <a:pt x="139" y="643"/>
                </a:cubicBezTo>
                <a:cubicBezTo>
                  <a:pt x="145" y="646"/>
                  <a:pt x="145" y="646"/>
                  <a:pt x="146" y="644"/>
                </a:cubicBezTo>
                <a:cubicBezTo>
                  <a:pt x="137" y="630"/>
                  <a:pt x="137" y="628"/>
                  <a:pt x="137" y="627"/>
                </a:cubicBezTo>
                <a:cubicBezTo>
                  <a:pt x="138" y="628"/>
                  <a:pt x="139" y="630"/>
                  <a:pt x="140" y="631"/>
                </a:cubicBezTo>
                <a:cubicBezTo>
                  <a:pt x="137" y="619"/>
                  <a:pt x="125" y="611"/>
                  <a:pt x="127" y="597"/>
                </a:cubicBezTo>
                <a:cubicBezTo>
                  <a:pt x="128" y="597"/>
                  <a:pt x="129" y="597"/>
                  <a:pt x="130" y="597"/>
                </a:cubicBezTo>
                <a:cubicBezTo>
                  <a:pt x="130" y="596"/>
                  <a:pt x="131" y="594"/>
                  <a:pt x="131" y="593"/>
                </a:cubicBezTo>
                <a:cubicBezTo>
                  <a:pt x="133" y="594"/>
                  <a:pt x="136" y="594"/>
                  <a:pt x="138" y="594"/>
                </a:cubicBezTo>
                <a:cubicBezTo>
                  <a:pt x="138" y="593"/>
                  <a:pt x="138" y="592"/>
                  <a:pt x="137" y="591"/>
                </a:cubicBezTo>
                <a:cubicBezTo>
                  <a:pt x="138" y="590"/>
                  <a:pt x="138" y="590"/>
                  <a:pt x="138" y="590"/>
                </a:cubicBezTo>
                <a:cubicBezTo>
                  <a:pt x="137" y="585"/>
                  <a:pt x="137" y="585"/>
                  <a:pt x="137" y="584"/>
                </a:cubicBezTo>
                <a:cubicBezTo>
                  <a:pt x="137" y="583"/>
                  <a:pt x="138" y="583"/>
                  <a:pt x="138" y="583"/>
                </a:cubicBezTo>
                <a:cubicBezTo>
                  <a:pt x="136" y="579"/>
                  <a:pt x="136" y="578"/>
                  <a:pt x="136" y="575"/>
                </a:cubicBezTo>
                <a:cubicBezTo>
                  <a:pt x="136" y="575"/>
                  <a:pt x="136" y="575"/>
                  <a:pt x="136" y="575"/>
                </a:cubicBezTo>
                <a:cubicBezTo>
                  <a:pt x="136" y="572"/>
                  <a:pt x="134" y="569"/>
                  <a:pt x="133" y="566"/>
                </a:cubicBezTo>
                <a:cubicBezTo>
                  <a:pt x="133" y="566"/>
                  <a:pt x="133" y="566"/>
                  <a:pt x="133" y="564"/>
                </a:cubicBezTo>
                <a:cubicBezTo>
                  <a:pt x="133" y="561"/>
                  <a:pt x="132" y="559"/>
                  <a:pt x="131" y="557"/>
                </a:cubicBezTo>
                <a:cubicBezTo>
                  <a:pt x="131" y="557"/>
                  <a:pt x="131" y="556"/>
                  <a:pt x="130" y="555"/>
                </a:cubicBezTo>
                <a:cubicBezTo>
                  <a:pt x="130" y="554"/>
                  <a:pt x="130" y="554"/>
                  <a:pt x="129" y="553"/>
                </a:cubicBezTo>
                <a:cubicBezTo>
                  <a:pt x="129" y="552"/>
                  <a:pt x="129" y="552"/>
                  <a:pt x="128" y="550"/>
                </a:cubicBezTo>
                <a:cubicBezTo>
                  <a:pt x="127" y="548"/>
                  <a:pt x="126" y="545"/>
                  <a:pt x="126" y="543"/>
                </a:cubicBezTo>
                <a:cubicBezTo>
                  <a:pt x="126" y="543"/>
                  <a:pt x="126" y="543"/>
                  <a:pt x="129" y="535"/>
                </a:cubicBezTo>
                <a:cubicBezTo>
                  <a:pt x="129" y="534"/>
                  <a:pt x="130" y="534"/>
                  <a:pt x="130" y="534"/>
                </a:cubicBezTo>
                <a:cubicBezTo>
                  <a:pt x="130" y="533"/>
                  <a:pt x="131" y="533"/>
                  <a:pt x="131" y="532"/>
                </a:cubicBezTo>
                <a:cubicBezTo>
                  <a:pt x="131" y="532"/>
                  <a:pt x="132" y="525"/>
                  <a:pt x="133" y="522"/>
                </a:cubicBezTo>
                <a:cubicBezTo>
                  <a:pt x="134" y="519"/>
                  <a:pt x="134" y="519"/>
                  <a:pt x="133" y="516"/>
                </a:cubicBezTo>
                <a:moveTo>
                  <a:pt x="19" y="357"/>
                </a:moveTo>
                <a:cubicBezTo>
                  <a:pt x="20" y="357"/>
                  <a:pt x="20" y="357"/>
                  <a:pt x="20" y="357"/>
                </a:cubicBezTo>
                <a:cubicBezTo>
                  <a:pt x="19" y="357"/>
                  <a:pt x="19" y="356"/>
                  <a:pt x="19" y="356"/>
                </a:cubicBezTo>
                <a:cubicBezTo>
                  <a:pt x="19" y="355"/>
                  <a:pt x="19" y="353"/>
                  <a:pt x="19" y="352"/>
                </a:cubicBezTo>
                <a:cubicBezTo>
                  <a:pt x="17" y="353"/>
                  <a:pt x="17" y="353"/>
                  <a:pt x="17" y="353"/>
                </a:cubicBezTo>
                <a:cubicBezTo>
                  <a:pt x="16" y="353"/>
                  <a:pt x="16" y="353"/>
                  <a:pt x="16" y="353"/>
                </a:cubicBezTo>
                <a:cubicBezTo>
                  <a:pt x="16" y="352"/>
                  <a:pt x="16" y="352"/>
                  <a:pt x="15" y="351"/>
                </a:cubicBezTo>
                <a:cubicBezTo>
                  <a:pt x="15" y="351"/>
                  <a:pt x="15" y="351"/>
                  <a:pt x="15" y="351"/>
                </a:cubicBezTo>
                <a:cubicBezTo>
                  <a:pt x="14" y="352"/>
                  <a:pt x="14" y="353"/>
                  <a:pt x="14" y="353"/>
                </a:cubicBezTo>
                <a:cubicBezTo>
                  <a:pt x="13" y="353"/>
                  <a:pt x="13" y="353"/>
                  <a:pt x="13" y="353"/>
                </a:cubicBezTo>
                <a:cubicBezTo>
                  <a:pt x="13" y="353"/>
                  <a:pt x="13" y="353"/>
                  <a:pt x="12" y="352"/>
                </a:cubicBezTo>
                <a:cubicBezTo>
                  <a:pt x="12" y="351"/>
                  <a:pt x="12" y="351"/>
                  <a:pt x="12" y="351"/>
                </a:cubicBezTo>
                <a:cubicBezTo>
                  <a:pt x="12" y="350"/>
                  <a:pt x="12" y="350"/>
                  <a:pt x="11" y="349"/>
                </a:cubicBezTo>
                <a:cubicBezTo>
                  <a:pt x="11" y="348"/>
                  <a:pt x="11" y="348"/>
                  <a:pt x="11" y="348"/>
                </a:cubicBezTo>
                <a:cubicBezTo>
                  <a:pt x="11" y="348"/>
                  <a:pt x="11" y="348"/>
                  <a:pt x="11" y="348"/>
                </a:cubicBezTo>
                <a:cubicBezTo>
                  <a:pt x="10" y="348"/>
                  <a:pt x="10" y="348"/>
                  <a:pt x="10" y="348"/>
                </a:cubicBezTo>
                <a:cubicBezTo>
                  <a:pt x="10" y="348"/>
                  <a:pt x="10" y="347"/>
                  <a:pt x="9" y="347"/>
                </a:cubicBezTo>
                <a:cubicBezTo>
                  <a:pt x="9" y="347"/>
                  <a:pt x="9" y="347"/>
                  <a:pt x="8" y="348"/>
                </a:cubicBezTo>
                <a:cubicBezTo>
                  <a:pt x="8" y="350"/>
                  <a:pt x="8" y="353"/>
                  <a:pt x="8" y="355"/>
                </a:cubicBezTo>
                <a:cubicBezTo>
                  <a:pt x="8" y="359"/>
                  <a:pt x="8" y="360"/>
                  <a:pt x="8" y="360"/>
                </a:cubicBezTo>
                <a:cubicBezTo>
                  <a:pt x="9" y="360"/>
                  <a:pt x="9" y="360"/>
                  <a:pt x="9" y="360"/>
                </a:cubicBezTo>
                <a:cubicBezTo>
                  <a:pt x="9" y="360"/>
                  <a:pt x="9" y="360"/>
                  <a:pt x="10" y="358"/>
                </a:cubicBezTo>
                <a:cubicBezTo>
                  <a:pt x="10" y="357"/>
                  <a:pt x="11" y="357"/>
                  <a:pt x="11" y="357"/>
                </a:cubicBezTo>
                <a:cubicBezTo>
                  <a:pt x="11" y="357"/>
                  <a:pt x="11" y="357"/>
                  <a:pt x="12" y="358"/>
                </a:cubicBezTo>
                <a:cubicBezTo>
                  <a:pt x="12" y="358"/>
                  <a:pt x="12" y="358"/>
                  <a:pt x="12" y="358"/>
                </a:cubicBezTo>
                <a:cubicBezTo>
                  <a:pt x="12" y="358"/>
                  <a:pt x="12" y="358"/>
                  <a:pt x="12" y="358"/>
                </a:cubicBezTo>
                <a:cubicBezTo>
                  <a:pt x="12" y="357"/>
                  <a:pt x="12" y="357"/>
                  <a:pt x="13" y="358"/>
                </a:cubicBezTo>
                <a:cubicBezTo>
                  <a:pt x="14" y="358"/>
                  <a:pt x="15" y="357"/>
                  <a:pt x="15" y="357"/>
                </a:cubicBezTo>
                <a:cubicBezTo>
                  <a:pt x="16" y="357"/>
                  <a:pt x="16" y="357"/>
                  <a:pt x="16" y="357"/>
                </a:cubicBezTo>
                <a:cubicBezTo>
                  <a:pt x="17" y="358"/>
                  <a:pt x="18" y="358"/>
                  <a:pt x="18" y="358"/>
                </a:cubicBezTo>
                <a:cubicBezTo>
                  <a:pt x="19" y="358"/>
                  <a:pt x="19" y="358"/>
                  <a:pt x="19" y="358"/>
                </a:cubicBezTo>
                <a:cubicBezTo>
                  <a:pt x="19" y="358"/>
                  <a:pt x="19" y="358"/>
                  <a:pt x="19" y="357"/>
                </a:cubicBezTo>
                <a:moveTo>
                  <a:pt x="4" y="358"/>
                </a:moveTo>
                <a:cubicBezTo>
                  <a:pt x="4" y="357"/>
                  <a:pt x="4" y="355"/>
                  <a:pt x="4" y="355"/>
                </a:cubicBezTo>
                <a:cubicBezTo>
                  <a:pt x="4" y="354"/>
                  <a:pt x="4" y="354"/>
                  <a:pt x="4" y="354"/>
                </a:cubicBezTo>
                <a:cubicBezTo>
                  <a:pt x="4" y="354"/>
                  <a:pt x="4" y="353"/>
                  <a:pt x="4" y="353"/>
                </a:cubicBezTo>
                <a:cubicBezTo>
                  <a:pt x="4" y="353"/>
                  <a:pt x="4" y="353"/>
                  <a:pt x="4" y="353"/>
                </a:cubicBezTo>
                <a:cubicBezTo>
                  <a:pt x="3" y="353"/>
                  <a:pt x="3" y="352"/>
                  <a:pt x="3" y="352"/>
                </a:cubicBezTo>
                <a:cubicBezTo>
                  <a:pt x="3" y="356"/>
                  <a:pt x="3" y="356"/>
                  <a:pt x="3" y="356"/>
                </a:cubicBezTo>
                <a:cubicBezTo>
                  <a:pt x="3" y="356"/>
                  <a:pt x="3" y="356"/>
                  <a:pt x="3" y="356"/>
                </a:cubicBezTo>
                <a:cubicBezTo>
                  <a:pt x="3" y="356"/>
                  <a:pt x="3" y="356"/>
                  <a:pt x="3" y="356"/>
                </a:cubicBezTo>
                <a:cubicBezTo>
                  <a:pt x="3" y="356"/>
                  <a:pt x="4" y="357"/>
                  <a:pt x="4" y="357"/>
                </a:cubicBezTo>
                <a:cubicBezTo>
                  <a:pt x="4" y="358"/>
                  <a:pt x="4" y="359"/>
                  <a:pt x="4" y="360"/>
                </a:cubicBezTo>
                <a:cubicBezTo>
                  <a:pt x="4" y="360"/>
                  <a:pt x="4" y="360"/>
                  <a:pt x="4" y="360"/>
                </a:cubicBezTo>
                <a:cubicBezTo>
                  <a:pt x="4" y="360"/>
                  <a:pt x="4" y="360"/>
                  <a:pt x="4" y="358"/>
                </a:cubicBezTo>
                <a:moveTo>
                  <a:pt x="4" y="343"/>
                </a:moveTo>
                <a:cubicBezTo>
                  <a:pt x="5" y="343"/>
                  <a:pt x="6" y="343"/>
                  <a:pt x="7" y="343"/>
                </a:cubicBezTo>
                <a:cubicBezTo>
                  <a:pt x="7" y="342"/>
                  <a:pt x="7" y="336"/>
                  <a:pt x="6" y="335"/>
                </a:cubicBezTo>
                <a:cubicBezTo>
                  <a:pt x="6" y="335"/>
                  <a:pt x="6" y="335"/>
                  <a:pt x="6" y="335"/>
                </a:cubicBezTo>
                <a:cubicBezTo>
                  <a:pt x="5" y="335"/>
                  <a:pt x="5" y="335"/>
                  <a:pt x="5" y="335"/>
                </a:cubicBezTo>
                <a:cubicBezTo>
                  <a:pt x="5" y="335"/>
                  <a:pt x="5" y="335"/>
                  <a:pt x="5" y="335"/>
                </a:cubicBezTo>
                <a:cubicBezTo>
                  <a:pt x="5" y="335"/>
                  <a:pt x="5" y="335"/>
                  <a:pt x="4" y="327"/>
                </a:cubicBezTo>
                <a:cubicBezTo>
                  <a:pt x="4" y="325"/>
                  <a:pt x="4" y="325"/>
                  <a:pt x="4" y="324"/>
                </a:cubicBezTo>
                <a:cubicBezTo>
                  <a:pt x="5" y="323"/>
                  <a:pt x="5" y="323"/>
                  <a:pt x="4" y="323"/>
                </a:cubicBezTo>
                <a:cubicBezTo>
                  <a:pt x="4" y="323"/>
                  <a:pt x="4" y="323"/>
                  <a:pt x="4" y="323"/>
                </a:cubicBezTo>
                <a:cubicBezTo>
                  <a:pt x="4" y="323"/>
                  <a:pt x="4" y="323"/>
                  <a:pt x="4" y="323"/>
                </a:cubicBezTo>
                <a:cubicBezTo>
                  <a:pt x="4" y="323"/>
                  <a:pt x="4" y="323"/>
                  <a:pt x="4" y="323"/>
                </a:cubicBezTo>
                <a:cubicBezTo>
                  <a:pt x="4" y="323"/>
                  <a:pt x="4" y="323"/>
                  <a:pt x="4" y="324"/>
                </a:cubicBezTo>
                <a:cubicBezTo>
                  <a:pt x="4" y="323"/>
                  <a:pt x="4" y="323"/>
                  <a:pt x="4" y="323"/>
                </a:cubicBezTo>
                <a:cubicBezTo>
                  <a:pt x="4" y="323"/>
                  <a:pt x="4" y="323"/>
                  <a:pt x="4" y="323"/>
                </a:cubicBezTo>
                <a:cubicBezTo>
                  <a:pt x="3" y="323"/>
                  <a:pt x="3" y="323"/>
                  <a:pt x="3" y="323"/>
                </a:cubicBezTo>
                <a:cubicBezTo>
                  <a:pt x="3" y="323"/>
                  <a:pt x="2" y="331"/>
                  <a:pt x="3" y="332"/>
                </a:cubicBezTo>
                <a:cubicBezTo>
                  <a:pt x="3" y="331"/>
                  <a:pt x="3" y="330"/>
                  <a:pt x="3" y="329"/>
                </a:cubicBezTo>
                <a:cubicBezTo>
                  <a:pt x="4" y="329"/>
                  <a:pt x="3" y="332"/>
                  <a:pt x="3" y="334"/>
                </a:cubicBezTo>
                <a:cubicBezTo>
                  <a:pt x="3" y="335"/>
                  <a:pt x="3" y="337"/>
                  <a:pt x="4" y="337"/>
                </a:cubicBezTo>
                <a:cubicBezTo>
                  <a:pt x="4" y="337"/>
                  <a:pt x="4" y="337"/>
                  <a:pt x="4" y="337"/>
                </a:cubicBezTo>
                <a:cubicBezTo>
                  <a:pt x="4" y="337"/>
                  <a:pt x="4" y="337"/>
                  <a:pt x="4" y="339"/>
                </a:cubicBezTo>
                <a:cubicBezTo>
                  <a:pt x="4" y="339"/>
                  <a:pt x="4" y="342"/>
                  <a:pt x="4" y="343"/>
                </a:cubicBezTo>
                <a:moveTo>
                  <a:pt x="287" y="80"/>
                </a:moveTo>
                <a:cubicBezTo>
                  <a:pt x="287" y="79"/>
                  <a:pt x="288" y="78"/>
                  <a:pt x="289" y="77"/>
                </a:cubicBezTo>
                <a:cubicBezTo>
                  <a:pt x="289" y="76"/>
                  <a:pt x="289" y="76"/>
                  <a:pt x="289" y="75"/>
                </a:cubicBezTo>
                <a:cubicBezTo>
                  <a:pt x="288" y="75"/>
                  <a:pt x="288" y="75"/>
                  <a:pt x="287" y="74"/>
                </a:cubicBezTo>
                <a:cubicBezTo>
                  <a:pt x="289" y="71"/>
                  <a:pt x="289" y="71"/>
                  <a:pt x="290" y="70"/>
                </a:cubicBezTo>
                <a:cubicBezTo>
                  <a:pt x="289" y="70"/>
                  <a:pt x="288" y="70"/>
                  <a:pt x="287" y="70"/>
                </a:cubicBezTo>
                <a:cubicBezTo>
                  <a:pt x="286" y="70"/>
                  <a:pt x="286" y="70"/>
                  <a:pt x="286" y="70"/>
                </a:cubicBezTo>
                <a:cubicBezTo>
                  <a:pt x="284" y="70"/>
                  <a:pt x="282" y="72"/>
                  <a:pt x="280" y="72"/>
                </a:cubicBezTo>
                <a:cubicBezTo>
                  <a:pt x="279" y="72"/>
                  <a:pt x="279" y="72"/>
                  <a:pt x="278" y="72"/>
                </a:cubicBezTo>
                <a:cubicBezTo>
                  <a:pt x="278" y="71"/>
                  <a:pt x="277" y="71"/>
                  <a:pt x="276" y="71"/>
                </a:cubicBezTo>
                <a:cubicBezTo>
                  <a:pt x="274" y="71"/>
                  <a:pt x="272" y="73"/>
                  <a:pt x="270" y="73"/>
                </a:cubicBezTo>
                <a:cubicBezTo>
                  <a:pt x="270" y="73"/>
                  <a:pt x="269" y="73"/>
                  <a:pt x="268" y="73"/>
                </a:cubicBezTo>
                <a:cubicBezTo>
                  <a:pt x="268" y="72"/>
                  <a:pt x="269" y="72"/>
                  <a:pt x="269" y="71"/>
                </a:cubicBezTo>
                <a:cubicBezTo>
                  <a:pt x="269" y="71"/>
                  <a:pt x="270" y="70"/>
                  <a:pt x="270" y="70"/>
                </a:cubicBezTo>
                <a:cubicBezTo>
                  <a:pt x="270" y="69"/>
                  <a:pt x="270" y="69"/>
                  <a:pt x="270" y="68"/>
                </a:cubicBezTo>
                <a:cubicBezTo>
                  <a:pt x="269" y="69"/>
                  <a:pt x="269" y="69"/>
                  <a:pt x="269" y="69"/>
                </a:cubicBezTo>
                <a:cubicBezTo>
                  <a:pt x="268" y="69"/>
                  <a:pt x="268" y="70"/>
                  <a:pt x="268" y="70"/>
                </a:cubicBezTo>
                <a:cubicBezTo>
                  <a:pt x="268" y="70"/>
                  <a:pt x="262" y="67"/>
                  <a:pt x="258" y="73"/>
                </a:cubicBezTo>
                <a:cubicBezTo>
                  <a:pt x="259" y="73"/>
                  <a:pt x="260" y="73"/>
                  <a:pt x="261" y="73"/>
                </a:cubicBezTo>
                <a:cubicBezTo>
                  <a:pt x="263" y="73"/>
                  <a:pt x="263" y="73"/>
                  <a:pt x="263" y="73"/>
                </a:cubicBezTo>
                <a:cubicBezTo>
                  <a:pt x="263" y="75"/>
                  <a:pt x="263" y="75"/>
                  <a:pt x="263" y="75"/>
                </a:cubicBezTo>
                <a:cubicBezTo>
                  <a:pt x="264" y="76"/>
                  <a:pt x="262" y="76"/>
                  <a:pt x="262" y="77"/>
                </a:cubicBezTo>
                <a:cubicBezTo>
                  <a:pt x="260" y="76"/>
                  <a:pt x="257" y="76"/>
                  <a:pt x="256" y="76"/>
                </a:cubicBezTo>
                <a:cubicBezTo>
                  <a:pt x="255" y="77"/>
                  <a:pt x="255" y="78"/>
                  <a:pt x="254" y="79"/>
                </a:cubicBezTo>
                <a:cubicBezTo>
                  <a:pt x="255" y="78"/>
                  <a:pt x="255" y="78"/>
                  <a:pt x="256" y="78"/>
                </a:cubicBezTo>
                <a:cubicBezTo>
                  <a:pt x="257" y="78"/>
                  <a:pt x="258" y="78"/>
                  <a:pt x="258" y="78"/>
                </a:cubicBezTo>
                <a:cubicBezTo>
                  <a:pt x="259" y="79"/>
                  <a:pt x="259" y="79"/>
                  <a:pt x="259" y="79"/>
                </a:cubicBezTo>
                <a:cubicBezTo>
                  <a:pt x="258" y="80"/>
                  <a:pt x="257" y="81"/>
                  <a:pt x="256" y="82"/>
                </a:cubicBezTo>
                <a:cubicBezTo>
                  <a:pt x="256" y="83"/>
                  <a:pt x="256" y="83"/>
                  <a:pt x="256" y="83"/>
                </a:cubicBezTo>
                <a:cubicBezTo>
                  <a:pt x="256" y="83"/>
                  <a:pt x="257" y="83"/>
                  <a:pt x="257" y="83"/>
                </a:cubicBezTo>
                <a:cubicBezTo>
                  <a:pt x="259" y="83"/>
                  <a:pt x="260" y="83"/>
                  <a:pt x="261" y="83"/>
                </a:cubicBezTo>
                <a:cubicBezTo>
                  <a:pt x="262" y="83"/>
                  <a:pt x="262" y="83"/>
                  <a:pt x="263" y="83"/>
                </a:cubicBezTo>
                <a:cubicBezTo>
                  <a:pt x="264" y="83"/>
                  <a:pt x="264" y="83"/>
                  <a:pt x="264" y="84"/>
                </a:cubicBezTo>
                <a:cubicBezTo>
                  <a:pt x="264" y="84"/>
                  <a:pt x="264" y="86"/>
                  <a:pt x="266" y="86"/>
                </a:cubicBezTo>
                <a:cubicBezTo>
                  <a:pt x="267" y="86"/>
                  <a:pt x="268" y="86"/>
                  <a:pt x="269" y="86"/>
                </a:cubicBezTo>
                <a:cubicBezTo>
                  <a:pt x="270" y="85"/>
                  <a:pt x="270" y="85"/>
                  <a:pt x="272" y="83"/>
                </a:cubicBezTo>
                <a:cubicBezTo>
                  <a:pt x="273" y="83"/>
                  <a:pt x="275" y="82"/>
                  <a:pt x="275" y="82"/>
                </a:cubicBezTo>
                <a:cubicBezTo>
                  <a:pt x="276" y="82"/>
                  <a:pt x="277" y="82"/>
                  <a:pt x="277" y="81"/>
                </a:cubicBezTo>
                <a:cubicBezTo>
                  <a:pt x="278" y="80"/>
                  <a:pt x="279" y="80"/>
                  <a:pt x="281" y="80"/>
                </a:cubicBezTo>
                <a:cubicBezTo>
                  <a:pt x="282" y="79"/>
                  <a:pt x="282" y="79"/>
                  <a:pt x="287" y="80"/>
                </a:cubicBezTo>
                <a:moveTo>
                  <a:pt x="103" y="171"/>
                </a:moveTo>
                <a:cubicBezTo>
                  <a:pt x="104" y="170"/>
                  <a:pt x="104" y="170"/>
                  <a:pt x="104" y="170"/>
                </a:cubicBezTo>
                <a:cubicBezTo>
                  <a:pt x="104" y="169"/>
                  <a:pt x="104" y="169"/>
                  <a:pt x="104" y="168"/>
                </a:cubicBezTo>
                <a:cubicBezTo>
                  <a:pt x="104" y="168"/>
                  <a:pt x="104" y="168"/>
                  <a:pt x="104" y="168"/>
                </a:cubicBezTo>
                <a:cubicBezTo>
                  <a:pt x="103" y="168"/>
                  <a:pt x="103" y="164"/>
                  <a:pt x="103" y="164"/>
                </a:cubicBezTo>
                <a:cubicBezTo>
                  <a:pt x="103" y="163"/>
                  <a:pt x="103" y="163"/>
                  <a:pt x="101" y="162"/>
                </a:cubicBezTo>
                <a:cubicBezTo>
                  <a:pt x="101" y="162"/>
                  <a:pt x="101" y="162"/>
                  <a:pt x="101" y="161"/>
                </a:cubicBezTo>
                <a:cubicBezTo>
                  <a:pt x="104" y="158"/>
                  <a:pt x="104" y="158"/>
                  <a:pt x="104" y="158"/>
                </a:cubicBezTo>
                <a:cubicBezTo>
                  <a:pt x="105" y="157"/>
                  <a:pt x="106" y="157"/>
                  <a:pt x="106" y="157"/>
                </a:cubicBezTo>
                <a:cubicBezTo>
                  <a:pt x="108" y="155"/>
                  <a:pt x="108" y="154"/>
                  <a:pt x="108" y="153"/>
                </a:cubicBezTo>
                <a:cubicBezTo>
                  <a:pt x="108" y="152"/>
                  <a:pt x="108" y="152"/>
                  <a:pt x="108" y="152"/>
                </a:cubicBezTo>
                <a:cubicBezTo>
                  <a:pt x="108" y="152"/>
                  <a:pt x="106" y="153"/>
                  <a:pt x="106" y="153"/>
                </a:cubicBezTo>
                <a:cubicBezTo>
                  <a:pt x="104" y="155"/>
                  <a:pt x="104" y="157"/>
                  <a:pt x="102" y="158"/>
                </a:cubicBezTo>
                <a:cubicBezTo>
                  <a:pt x="99" y="162"/>
                  <a:pt x="95" y="165"/>
                  <a:pt x="92" y="168"/>
                </a:cubicBezTo>
                <a:cubicBezTo>
                  <a:pt x="90" y="170"/>
                  <a:pt x="90" y="170"/>
                  <a:pt x="88" y="174"/>
                </a:cubicBezTo>
                <a:cubicBezTo>
                  <a:pt x="90" y="175"/>
                  <a:pt x="92" y="175"/>
                  <a:pt x="94" y="175"/>
                </a:cubicBezTo>
                <a:cubicBezTo>
                  <a:pt x="95" y="175"/>
                  <a:pt x="95" y="175"/>
                  <a:pt x="95" y="177"/>
                </a:cubicBezTo>
                <a:cubicBezTo>
                  <a:pt x="94" y="180"/>
                  <a:pt x="95" y="181"/>
                  <a:pt x="95" y="182"/>
                </a:cubicBezTo>
                <a:cubicBezTo>
                  <a:pt x="96" y="181"/>
                  <a:pt x="96" y="181"/>
                  <a:pt x="96" y="181"/>
                </a:cubicBezTo>
                <a:cubicBezTo>
                  <a:pt x="97" y="181"/>
                  <a:pt x="97" y="180"/>
                  <a:pt x="99" y="176"/>
                </a:cubicBezTo>
                <a:cubicBezTo>
                  <a:pt x="101" y="173"/>
                  <a:pt x="101" y="173"/>
                  <a:pt x="103" y="171"/>
                </a:cubicBezTo>
                <a:moveTo>
                  <a:pt x="89" y="162"/>
                </a:moveTo>
                <a:cubicBezTo>
                  <a:pt x="89" y="162"/>
                  <a:pt x="89" y="162"/>
                  <a:pt x="89" y="162"/>
                </a:cubicBezTo>
                <a:cubicBezTo>
                  <a:pt x="89" y="162"/>
                  <a:pt x="89" y="161"/>
                  <a:pt x="88" y="161"/>
                </a:cubicBezTo>
                <a:cubicBezTo>
                  <a:pt x="88" y="161"/>
                  <a:pt x="88" y="161"/>
                  <a:pt x="88" y="161"/>
                </a:cubicBezTo>
                <a:cubicBezTo>
                  <a:pt x="88" y="160"/>
                  <a:pt x="88" y="160"/>
                  <a:pt x="88" y="159"/>
                </a:cubicBezTo>
                <a:cubicBezTo>
                  <a:pt x="88" y="158"/>
                  <a:pt x="88" y="158"/>
                  <a:pt x="88" y="158"/>
                </a:cubicBezTo>
                <a:cubicBezTo>
                  <a:pt x="88" y="158"/>
                  <a:pt x="88" y="158"/>
                  <a:pt x="88" y="158"/>
                </a:cubicBezTo>
                <a:cubicBezTo>
                  <a:pt x="87" y="158"/>
                  <a:pt x="87" y="159"/>
                  <a:pt x="86" y="159"/>
                </a:cubicBezTo>
                <a:cubicBezTo>
                  <a:pt x="86" y="159"/>
                  <a:pt x="86" y="160"/>
                  <a:pt x="86" y="160"/>
                </a:cubicBezTo>
                <a:cubicBezTo>
                  <a:pt x="86" y="161"/>
                  <a:pt x="86" y="161"/>
                  <a:pt x="86" y="162"/>
                </a:cubicBezTo>
                <a:cubicBezTo>
                  <a:pt x="85" y="165"/>
                  <a:pt x="85" y="165"/>
                  <a:pt x="85" y="165"/>
                </a:cubicBezTo>
                <a:cubicBezTo>
                  <a:pt x="85" y="166"/>
                  <a:pt x="85" y="166"/>
                  <a:pt x="89" y="162"/>
                </a:cubicBezTo>
                <a:moveTo>
                  <a:pt x="363" y="4"/>
                </a:moveTo>
                <a:cubicBezTo>
                  <a:pt x="363" y="3"/>
                  <a:pt x="363" y="3"/>
                  <a:pt x="363" y="3"/>
                </a:cubicBezTo>
                <a:cubicBezTo>
                  <a:pt x="363" y="3"/>
                  <a:pt x="363" y="3"/>
                  <a:pt x="362" y="3"/>
                </a:cubicBezTo>
                <a:cubicBezTo>
                  <a:pt x="362" y="3"/>
                  <a:pt x="362" y="3"/>
                  <a:pt x="362" y="3"/>
                </a:cubicBezTo>
                <a:cubicBezTo>
                  <a:pt x="362" y="3"/>
                  <a:pt x="362" y="3"/>
                  <a:pt x="362" y="3"/>
                </a:cubicBezTo>
                <a:cubicBezTo>
                  <a:pt x="362" y="3"/>
                  <a:pt x="362" y="3"/>
                  <a:pt x="362" y="3"/>
                </a:cubicBezTo>
                <a:cubicBezTo>
                  <a:pt x="362" y="3"/>
                  <a:pt x="362" y="3"/>
                  <a:pt x="362" y="3"/>
                </a:cubicBezTo>
                <a:cubicBezTo>
                  <a:pt x="362" y="3"/>
                  <a:pt x="362" y="3"/>
                  <a:pt x="362" y="3"/>
                </a:cubicBezTo>
                <a:cubicBezTo>
                  <a:pt x="362" y="3"/>
                  <a:pt x="362" y="3"/>
                  <a:pt x="362" y="3"/>
                </a:cubicBezTo>
                <a:cubicBezTo>
                  <a:pt x="362" y="3"/>
                  <a:pt x="362" y="3"/>
                  <a:pt x="362" y="3"/>
                </a:cubicBezTo>
                <a:cubicBezTo>
                  <a:pt x="362" y="3"/>
                  <a:pt x="362" y="3"/>
                  <a:pt x="362" y="3"/>
                </a:cubicBezTo>
                <a:cubicBezTo>
                  <a:pt x="362" y="3"/>
                  <a:pt x="362" y="3"/>
                  <a:pt x="361" y="3"/>
                </a:cubicBezTo>
                <a:cubicBezTo>
                  <a:pt x="361" y="3"/>
                  <a:pt x="356" y="4"/>
                  <a:pt x="354" y="4"/>
                </a:cubicBezTo>
                <a:cubicBezTo>
                  <a:pt x="354" y="4"/>
                  <a:pt x="354" y="4"/>
                  <a:pt x="354" y="4"/>
                </a:cubicBezTo>
                <a:cubicBezTo>
                  <a:pt x="354" y="4"/>
                  <a:pt x="354" y="4"/>
                  <a:pt x="354" y="4"/>
                </a:cubicBezTo>
                <a:cubicBezTo>
                  <a:pt x="354" y="4"/>
                  <a:pt x="354" y="4"/>
                  <a:pt x="354" y="4"/>
                </a:cubicBezTo>
                <a:cubicBezTo>
                  <a:pt x="354" y="4"/>
                  <a:pt x="354" y="4"/>
                  <a:pt x="354" y="4"/>
                </a:cubicBezTo>
                <a:cubicBezTo>
                  <a:pt x="354" y="4"/>
                  <a:pt x="354" y="4"/>
                  <a:pt x="354" y="4"/>
                </a:cubicBezTo>
                <a:cubicBezTo>
                  <a:pt x="354" y="4"/>
                  <a:pt x="354" y="4"/>
                  <a:pt x="354" y="4"/>
                </a:cubicBezTo>
                <a:cubicBezTo>
                  <a:pt x="354" y="4"/>
                  <a:pt x="354" y="4"/>
                  <a:pt x="354" y="4"/>
                </a:cubicBezTo>
                <a:cubicBezTo>
                  <a:pt x="354" y="4"/>
                  <a:pt x="354" y="4"/>
                  <a:pt x="353" y="4"/>
                </a:cubicBezTo>
                <a:cubicBezTo>
                  <a:pt x="351" y="5"/>
                  <a:pt x="349" y="5"/>
                  <a:pt x="348" y="6"/>
                </a:cubicBezTo>
                <a:cubicBezTo>
                  <a:pt x="350" y="5"/>
                  <a:pt x="352" y="5"/>
                  <a:pt x="354" y="4"/>
                </a:cubicBezTo>
                <a:cubicBezTo>
                  <a:pt x="354" y="4"/>
                  <a:pt x="355" y="4"/>
                  <a:pt x="355" y="4"/>
                </a:cubicBezTo>
                <a:cubicBezTo>
                  <a:pt x="358" y="3"/>
                  <a:pt x="358" y="3"/>
                  <a:pt x="360" y="3"/>
                </a:cubicBezTo>
                <a:cubicBezTo>
                  <a:pt x="359" y="3"/>
                  <a:pt x="359" y="3"/>
                  <a:pt x="359" y="3"/>
                </a:cubicBezTo>
                <a:cubicBezTo>
                  <a:pt x="357" y="3"/>
                  <a:pt x="354" y="3"/>
                  <a:pt x="352" y="4"/>
                </a:cubicBezTo>
                <a:cubicBezTo>
                  <a:pt x="354" y="3"/>
                  <a:pt x="354" y="3"/>
                  <a:pt x="355" y="3"/>
                </a:cubicBezTo>
                <a:cubicBezTo>
                  <a:pt x="355" y="3"/>
                  <a:pt x="355" y="3"/>
                  <a:pt x="356" y="3"/>
                </a:cubicBezTo>
                <a:cubicBezTo>
                  <a:pt x="357" y="3"/>
                  <a:pt x="357" y="3"/>
                  <a:pt x="357" y="3"/>
                </a:cubicBezTo>
                <a:cubicBezTo>
                  <a:pt x="357" y="3"/>
                  <a:pt x="357" y="3"/>
                  <a:pt x="357" y="3"/>
                </a:cubicBezTo>
                <a:cubicBezTo>
                  <a:pt x="357" y="3"/>
                  <a:pt x="356" y="3"/>
                  <a:pt x="356" y="3"/>
                </a:cubicBezTo>
                <a:cubicBezTo>
                  <a:pt x="355" y="3"/>
                  <a:pt x="355" y="3"/>
                  <a:pt x="354" y="3"/>
                </a:cubicBezTo>
                <a:cubicBezTo>
                  <a:pt x="354" y="3"/>
                  <a:pt x="353" y="3"/>
                  <a:pt x="352" y="3"/>
                </a:cubicBezTo>
                <a:cubicBezTo>
                  <a:pt x="352" y="3"/>
                  <a:pt x="352" y="3"/>
                  <a:pt x="352" y="3"/>
                </a:cubicBezTo>
                <a:cubicBezTo>
                  <a:pt x="352" y="3"/>
                  <a:pt x="352" y="3"/>
                  <a:pt x="352" y="3"/>
                </a:cubicBezTo>
                <a:cubicBezTo>
                  <a:pt x="352" y="3"/>
                  <a:pt x="352" y="3"/>
                  <a:pt x="352" y="3"/>
                </a:cubicBezTo>
                <a:cubicBezTo>
                  <a:pt x="352" y="3"/>
                  <a:pt x="352" y="3"/>
                  <a:pt x="352" y="3"/>
                </a:cubicBezTo>
                <a:cubicBezTo>
                  <a:pt x="352" y="3"/>
                  <a:pt x="352" y="3"/>
                  <a:pt x="352" y="3"/>
                </a:cubicBezTo>
                <a:cubicBezTo>
                  <a:pt x="352" y="3"/>
                  <a:pt x="352" y="3"/>
                  <a:pt x="352" y="3"/>
                </a:cubicBezTo>
                <a:cubicBezTo>
                  <a:pt x="352" y="3"/>
                  <a:pt x="352" y="3"/>
                  <a:pt x="352" y="3"/>
                </a:cubicBezTo>
                <a:cubicBezTo>
                  <a:pt x="352" y="3"/>
                  <a:pt x="352" y="3"/>
                  <a:pt x="351" y="3"/>
                </a:cubicBezTo>
                <a:cubicBezTo>
                  <a:pt x="351" y="3"/>
                  <a:pt x="351" y="3"/>
                  <a:pt x="351" y="3"/>
                </a:cubicBezTo>
                <a:cubicBezTo>
                  <a:pt x="351" y="3"/>
                  <a:pt x="351" y="3"/>
                  <a:pt x="351" y="3"/>
                </a:cubicBezTo>
                <a:cubicBezTo>
                  <a:pt x="351" y="3"/>
                  <a:pt x="351" y="3"/>
                  <a:pt x="351" y="3"/>
                </a:cubicBezTo>
                <a:cubicBezTo>
                  <a:pt x="351" y="3"/>
                  <a:pt x="351" y="3"/>
                  <a:pt x="351" y="3"/>
                </a:cubicBezTo>
                <a:cubicBezTo>
                  <a:pt x="351" y="3"/>
                  <a:pt x="351" y="3"/>
                  <a:pt x="351" y="3"/>
                </a:cubicBezTo>
                <a:cubicBezTo>
                  <a:pt x="351" y="3"/>
                  <a:pt x="351" y="3"/>
                  <a:pt x="351" y="3"/>
                </a:cubicBezTo>
                <a:cubicBezTo>
                  <a:pt x="351" y="3"/>
                  <a:pt x="351" y="3"/>
                  <a:pt x="351" y="3"/>
                </a:cubicBezTo>
                <a:cubicBezTo>
                  <a:pt x="351" y="3"/>
                  <a:pt x="351" y="3"/>
                  <a:pt x="351" y="3"/>
                </a:cubicBezTo>
                <a:cubicBezTo>
                  <a:pt x="351" y="3"/>
                  <a:pt x="350" y="3"/>
                  <a:pt x="350" y="3"/>
                </a:cubicBezTo>
                <a:cubicBezTo>
                  <a:pt x="351" y="3"/>
                  <a:pt x="353" y="2"/>
                  <a:pt x="355" y="2"/>
                </a:cubicBezTo>
                <a:cubicBezTo>
                  <a:pt x="356" y="2"/>
                  <a:pt x="356" y="2"/>
                  <a:pt x="358" y="2"/>
                </a:cubicBezTo>
                <a:cubicBezTo>
                  <a:pt x="359" y="2"/>
                  <a:pt x="359" y="2"/>
                  <a:pt x="359" y="2"/>
                </a:cubicBezTo>
                <a:cubicBezTo>
                  <a:pt x="359" y="2"/>
                  <a:pt x="360" y="2"/>
                  <a:pt x="361" y="2"/>
                </a:cubicBezTo>
                <a:cubicBezTo>
                  <a:pt x="362" y="2"/>
                  <a:pt x="362" y="2"/>
                  <a:pt x="364" y="2"/>
                </a:cubicBezTo>
                <a:cubicBezTo>
                  <a:pt x="364" y="2"/>
                  <a:pt x="365" y="2"/>
                  <a:pt x="365" y="1"/>
                </a:cubicBezTo>
                <a:cubicBezTo>
                  <a:pt x="365" y="1"/>
                  <a:pt x="365" y="1"/>
                  <a:pt x="365" y="1"/>
                </a:cubicBezTo>
                <a:cubicBezTo>
                  <a:pt x="365" y="1"/>
                  <a:pt x="365" y="1"/>
                  <a:pt x="365" y="1"/>
                </a:cubicBezTo>
                <a:cubicBezTo>
                  <a:pt x="366" y="1"/>
                  <a:pt x="366" y="1"/>
                  <a:pt x="366" y="1"/>
                </a:cubicBezTo>
                <a:cubicBezTo>
                  <a:pt x="366" y="1"/>
                  <a:pt x="366" y="1"/>
                  <a:pt x="366" y="1"/>
                </a:cubicBezTo>
                <a:cubicBezTo>
                  <a:pt x="366" y="1"/>
                  <a:pt x="365" y="1"/>
                  <a:pt x="366" y="1"/>
                </a:cubicBezTo>
                <a:cubicBezTo>
                  <a:pt x="366" y="1"/>
                  <a:pt x="366" y="1"/>
                  <a:pt x="366" y="1"/>
                </a:cubicBezTo>
                <a:cubicBezTo>
                  <a:pt x="365" y="1"/>
                  <a:pt x="365" y="1"/>
                  <a:pt x="365" y="1"/>
                </a:cubicBezTo>
                <a:cubicBezTo>
                  <a:pt x="365" y="1"/>
                  <a:pt x="365" y="1"/>
                  <a:pt x="365" y="1"/>
                </a:cubicBezTo>
                <a:cubicBezTo>
                  <a:pt x="365" y="1"/>
                  <a:pt x="365" y="1"/>
                  <a:pt x="365" y="1"/>
                </a:cubicBezTo>
                <a:cubicBezTo>
                  <a:pt x="364" y="1"/>
                  <a:pt x="364" y="1"/>
                  <a:pt x="364" y="1"/>
                </a:cubicBezTo>
                <a:cubicBezTo>
                  <a:pt x="363" y="1"/>
                  <a:pt x="363" y="1"/>
                  <a:pt x="363" y="1"/>
                </a:cubicBezTo>
                <a:cubicBezTo>
                  <a:pt x="364" y="1"/>
                  <a:pt x="364" y="1"/>
                  <a:pt x="364" y="1"/>
                </a:cubicBezTo>
                <a:cubicBezTo>
                  <a:pt x="364" y="1"/>
                  <a:pt x="364" y="1"/>
                  <a:pt x="365" y="1"/>
                </a:cubicBezTo>
                <a:cubicBezTo>
                  <a:pt x="365" y="1"/>
                  <a:pt x="366" y="1"/>
                  <a:pt x="366" y="1"/>
                </a:cubicBezTo>
                <a:cubicBezTo>
                  <a:pt x="367" y="1"/>
                  <a:pt x="367" y="1"/>
                  <a:pt x="368" y="1"/>
                </a:cubicBezTo>
                <a:cubicBezTo>
                  <a:pt x="369" y="1"/>
                  <a:pt x="370" y="0"/>
                  <a:pt x="370" y="0"/>
                </a:cubicBezTo>
                <a:cubicBezTo>
                  <a:pt x="370" y="0"/>
                  <a:pt x="370" y="0"/>
                  <a:pt x="370" y="0"/>
                </a:cubicBezTo>
                <a:cubicBezTo>
                  <a:pt x="370" y="0"/>
                  <a:pt x="370" y="0"/>
                  <a:pt x="370" y="0"/>
                </a:cubicBezTo>
                <a:cubicBezTo>
                  <a:pt x="370" y="0"/>
                  <a:pt x="370" y="0"/>
                  <a:pt x="369" y="0"/>
                </a:cubicBezTo>
                <a:cubicBezTo>
                  <a:pt x="369" y="0"/>
                  <a:pt x="368" y="0"/>
                  <a:pt x="367" y="0"/>
                </a:cubicBezTo>
                <a:cubicBezTo>
                  <a:pt x="367" y="0"/>
                  <a:pt x="367" y="0"/>
                  <a:pt x="367" y="0"/>
                </a:cubicBezTo>
                <a:cubicBezTo>
                  <a:pt x="367" y="0"/>
                  <a:pt x="367" y="0"/>
                  <a:pt x="367" y="0"/>
                </a:cubicBezTo>
                <a:cubicBezTo>
                  <a:pt x="365" y="0"/>
                  <a:pt x="363" y="1"/>
                  <a:pt x="362" y="1"/>
                </a:cubicBezTo>
                <a:cubicBezTo>
                  <a:pt x="361" y="1"/>
                  <a:pt x="361" y="1"/>
                  <a:pt x="362" y="0"/>
                </a:cubicBezTo>
                <a:cubicBezTo>
                  <a:pt x="362" y="0"/>
                  <a:pt x="363" y="0"/>
                  <a:pt x="363" y="0"/>
                </a:cubicBezTo>
                <a:cubicBezTo>
                  <a:pt x="363" y="0"/>
                  <a:pt x="362" y="0"/>
                  <a:pt x="361" y="0"/>
                </a:cubicBezTo>
                <a:cubicBezTo>
                  <a:pt x="361" y="0"/>
                  <a:pt x="361" y="0"/>
                  <a:pt x="361" y="0"/>
                </a:cubicBezTo>
                <a:cubicBezTo>
                  <a:pt x="360" y="0"/>
                  <a:pt x="360" y="0"/>
                  <a:pt x="360" y="0"/>
                </a:cubicBezTo>
                <a:cubicBezTo>
                  <a:pt x="360" y="0"/>
                  <a:pt x="360" y="0"/>
                  <a:pt x="360" y="0"/>
                </a:cubicBezTo>
                <a:cubicBezTo>
                  <a:pt x="359" y="0"/>
                  <a:pt x="359" y="1"/>
                  <a:pt x="358" y="1"/>
                </a:cubicBezTo>
                <a:cubicBezTo>
                  <a:pt x="357" y="1"/>
                  <a:pt x="357" y="1"/>
                  <a:pt x="357" y="1"/>
                </a:cubicBezTo>
                <a:cubicBezTo>
                  <a:pt x="357" y="1"/>
                  <a:pt x="357" y="1"/>
                  <a:pt x="357" y="1"/>
                </a:cubicBezTo>
                <a:cubicBezTo>
                  <a:pt x="357" y="1"/>
                  <a:pt x="357" y="1"/>
                  <a:pt x="357" y="1"/>
                </a:cubicBezTo>
                <a:cubicBezTo>
                  <a:pt x="356" y="1"/>
                  <a:pt x="356" y="1"/>
                  <a:pt x="356" y="1"/>
                </a:cubicBezTo>
                <a:cubicBezTo>
                  <a:pt x="356" y="1"/>
                  <a:pt x="356" y="1"/>
                  <a:pt x="356" y="1"/>
                </a:cubicBezTo>
                <a:cubicBezTo>
                  <a:pt x="355" y="1"/>
                  <a:pt x="354" y="1"/>
                  <a:pt x="353" y="1"/>
                </a:cubicBezTo>
                <a:cubicBezTo>
                  <a:pt x="353" y="1"/>
                  <a:pt x="353" y="1"/>
                  <a:pt x="353" y="1"/>
                </a:cubicBezTo>
                <a:cubicBezTo>
                  <a:pt x="354" y="1"/>
                  <a:pt x="354" y="1"/>
                  <a:pt x="354" y="1"/>
                </a:cubicBezTo>
                <a:cubicBezTo>
                  <a:pt x="354" y="1"/>
                  <a:pt x="354" y="1"/>
                  <a:pt x="354" y="1"/>
                </a:cubicBezTo>
                <a:cubicBezTo>
                  <a:pt x="354" y="1"/>
                  <a:pt x="354" y="1"/>
                  <a:pt x="354" y="1"/>
                </a:cubicBezTo>
                <a:cubicBezTo>
                  <a:pt x="354" y="1"/>
                  <a:pt x="354" y="1"/>
                  <a:pt x="354" y="1"/>
                </a:cubicBezTo>
                <a:cubicBezTo>
                  <a:pt x="354" y="1"/>
                  <a:pt x="354" y="1"/>
                  <a:pt x="354" y="1"/>
                </a:cubicBezTo>
                <a:cubicBezTo>
                  <a:pt x="355" y="1"/>
                  <a:pt x="355" y="1"/>
                  <a:pt x="355" y="1"/>
                </a:cubicBezTo>
                <a:cubicBezTo>
                  <a:pt x="355" y="1"/>
                  <a:pt x="355" y="1"/>
                  <a:pt x="355" y="1"/>
                </a:cubicBezTo>
                <a:cubicBezTo>
                  <a:pt x="355" y="1"/>
                  <a:pt x="355" y="1"/>
                  <a:pt x="355" y="1"/>
                </a:cubicBezTo>
                <a:cubicBezTo>
                  <a:pt x="355" y="1"/>
                  <a:pt x="355" y="1"/>
                  <a:pt x="355" y="1"/>
                </a:cubicBezTo>
                <a:cubicBezTo>
                  <a:pt x="355" y="1"/>
                  <a:pt x="355" y="1"/>
                  <a:pt x="355" y="1"/>
                </a:cubicBezTo>
                <a:cubicBezTo>
                  <a:pt x="355" y="1"/>
                  <a:pt x="355" y="1"/>
                  <a:pt x="355" y="1"/>
                </a:cubicBezTo>
                <a:cubicBezTo>
                  <a:pt x="355" y="1"/>
                  <a:pt x="355" y="1"/>
                  <a:pt x="355" y="1"/>
                </a:cubicBezTo>
                <a:cubicBezTo>
                  <a:pt x="354" y="1"/>
                  <a:pt x="354" y="1"/>
                  <a:pt x="354" y="1"/>
                </a:cubicBezTo>
                <a:cubicBezTo>
                  <a:pt x="352" y="1"/>
                  <a:pt x="352" y="1"/>
                  <a:pt x="352" y="1"/>
                </a:cubicBezTo>
                <a:cubicBezTo>
                  <a:pt x="352" y="1"/>
                  <a:pt x="352" y="1"/>
                  <a:pt x="352" y="1"/>
                </a:cubicBezTo>
                <a:cubicBezTo>
                  <a:pt x="351" y="1"/>
                  <a:pt x="351" y="1"/>
                  <a:pt x="351" y="1"/>
                </a:cubicBezTo>
                <a:cubicBezTo>
                  <a:pt x="351" y="1"/>
                  <a:pt x="351" y="1"/>
                  <a:pt x="351" y="1"/>
                </a:cubicBezTo>
                <a:cubicBezTo>
                  <a:pt x="350" y="1"/>
                  <a:pt x="350" y="1"/>
                  <a:pt x="350" y="1"/>
                </a:cubicBezTo>
                <a:cubicBezTo>
                  <a:pt x="350" y="2"/>
                  <a:pt x="350" y="2"/>
                  <a:pt x="350" y="2"/>
                </a:cubicBezTo>
                <a:cubicBezTo>
                  <a:pt x="350" y="2"/>
                  <a:pt x="350" y="2"/>
                  <a:pt x="350" y="2"/>
                </a:cubicBezTo>
                <a:cubicBezTo>
                  <a:pt x="350" y="2"/>
                  <a:pt x="350" y="2"/>
                  <a:pt x="350" y="2"/>
                </a:cubicBezTo>
                <a:cubicBezTo>
                  <a:pt x="350" y="2"/>
                  <a:pt x="350" y="2"/>
                  <a:pt x="350" y="2"/>
                </a:cubicBezTo>
                <a:cubicBezTo>
                  <a:pt x="349" y="2"/>
                  <a:pt x="349" y="2"/>
                  <a:pt x="349" y="2"/>
                </a:cubicBezTo>
                <a:cubicBezTo>
                  <a:pt x="348" y="2"/>
                  <a:pt x="348" y="2"/>
                  <a:pt x="348" y="2"/>
                </a:cubicBezTo>
                <a:cubicBezTo>
                  <a:pt x="347" y="2"/>
                  <a:pt x="347" y="2"/>
                  <a:pt x="347" y="2"/>
                </a:cubicBezTo>
                <a:cubicBezTo>
                  <a:pt x="347" y="2"/>
                  <a:pt x="347" y="2"/>
                  <a:pt x="347" y="2"/>
                </a:cubicBezTo>
                <a:cubicBezTo>
                  <a:pt x="346" y="2"/>
                  <a:pt x="346" y="2"/>
                  <a:pt x="346" y="2"/>
                </a:cubicBezTo>
                <a:cubicBezTo>
                  <a:pt x="344" y="2"/>
                  <a:pt x="344" y="2"/>
                  <a:pt x="344" y="2"/>
                </a:cubicBezTo>
                <a:cubicBezTo>
                  <a:pt x="345" y="2"/>
                  <a:pt x="345" y="2"/>
                  <a:pt x="345" y="2"/>
                </a:cubicBezTo>
                <a:cubicBezTo>
                  <a:pt x="345" y="2"/>
                  <a:pt x="345" y="2"/>
                  <a:pt x="345" y="2"/>
                </a:cubicBezTo>
                <a:cubicBezTo>
                  <a:pt x="345" y="2"/>
                  <a:pt x="345" y="2"/>
                  <a:pt x="345" y="2"/>
                </a:cubicBezTo>
                <a:cubicBezTo>
                  <a:pt x="346" y="2"/>
                  <a:pt x="346" y="2"/>
                  <a:pt x="346" y="2"/>
                </a:cubicBezTo>
                <a:cubicBezTo>
                  <a:pt x="346" y="2"/>
                  <a:pt x="346" y="2"/>
                  <a:pt x="346" y="2"/>
                </a:cubicBezTo>
                <a:cubicBezTo>
                  <a:pt x="346" y="2"/>
                  <a:pt x="346" y="2"/>
                  <a:pt x="346" y="2"/>
                </a:cubicBezTo>
                <a:cubicBezTo>
                  <a:pt x="346" y="2"/>
                  <a:pt x="347" y="2"/>
                  <a:pt x="347" y="2"/>
                </a:cubicBezTo>
                <a:cubicBezTo>
                  <a:pt x="347" y="2"/>
                  <a:pt x="347" y="2"/>
                  <a:pt x="347" y="2"/>
                </a:cubicBezTo>
                <a:cubicBezTo>
                  <a:pt x="348" y="2"/>
                  <a:pt x="348" y="2"/>
                  <a:pt x="348" y="2"/>
                </a:cubicBezTo>
                <a:cubicBezTo>
                  <a:pt x="348" y="2"/>
                  <a:pt x="348" y="2"/>
                  <a:pt x="348" y="2"/>
                </a:cubicBezTo>
                <a:cubicBezTo>
                  <a:pt x="349" y="2"/>
                  <a:pt x="349" y="2"/>
                  <a:pt x="349" y="2"/>
                </a:cubicBezTo>
                <a:cubicBezTo>
                  <a:pt x="349" y="2"/>
                  <a:pt x="349" y="2"/>
                  <a:pt x="349" y="2"/>
                </a:cubicBezTo>
                <a:cubicBezTo>
                  <a:pt x="350" y="1"/>
                  <a:pt x="350" y="1"/>
                  <a:pt x="350" y="1"/>
                </a:cubicBezTo>
                <a:cubicBezTo>
                  <a:pt x="350" y="1"/>
                  <a:pt x="350" y="1"/>
                  <a:pt x="350" y="1"/>
                </a:cubicBezTo>
                <a:cubicBezTo>
                  <a:pt x="350" y="1"/>
                  <a:pt x="350" y="1"/>
                  <a:pt x="350" y="1"/>
                </a:cubicBezTo>
                <a:cubicBezTo>
                  <a:pt x="350" y="1"/>
                  <a:pt x="350" y="1"/>
                  <a:pt x="350" y="1"/>
                </a:cubicBezTo>
                <a:cubicBezTo>
                  <a:pt x="350" y="1"/>
                  <a:pt x="350" y="1"/>
                  <a:pt x="350" y="1"/>
                </a:cubicBezTo>
                <a:cubicBezTo>
                  <a:pt x="350" y="1"/>
                  <a:pt x="350" y="1"/>
                  <a:pt x="350" y="1"/>
                </a:cubicBezTo>
                <a:cubicBezTo>
                  <a:pt x="351" y="1"/>
                  <a:pt x="351" y="1"/>
                  <a:pt x="351" y="1"/>
                </a:cubicBezTo>
                <a:cubicBezTo>
                  <a:pt x="351" y="1"/>
                  <a:pt x="350" y="1"/>
                  <a:pt x="350" y="1"/>
                </a:cubicBezTo>
                <a:cubicBezTo>
                  <a:pt x="349" y="1"/>
                  <a:pt x="348" y="1"/>
                  <a:pt x="348" y="2"/>
                </a:cubicBezTo>
                <a:cubicBezTo>
                  <a:pt x="348" y="2"/>
                  <a:pt x="348" y="2"/>
                  <a:pt x="348" y="2"/>
                </a:cubicBezTo>
                <a:cubicBezTo>
                  <a:pt x="347" y="2"/>
                  <a:pt x="347" y="2"/>
                  <a:pt x="347" y="2"/>
                </a:cubicBezTo>
                <a:cubicBezTo>
                  <a:pt x="346" y="2"/>
                  <a:pt x="346" y="2"/>
                  <a:pt x="346" y="2"/>
                </a:cubicBezTo>
                <a:cubicBezTo>
                  <a:pt x="346" y="2"/>
                  <a:pt x="346" y="2"/>
                  <a:pt x="346" y="2"/>
                </a:cubicBezTo>
                <a:cubicBezTo>
                  <a:pt x="345" y="2"/>
                  <a:pt x="345" y="2"/>
                  <a:pt x="345" y="2"/>
                </a:cubicBezTo>
                <a:cubicBezTo>
                  <a:pt x="345" y="2"/>
                  <a:pt x="344" y="2"/>
                  <a:pt x="344" y="2"/>
                </a:cubicBezTo>
                <a:cubicBezTo>
                  <a:pt x="343" y="2"/>
                  <a:pt x="343" y="2"/>
                  <a:pt x="343" y="2"/>
                </a:cubicBezTo>
                <a:cubicBezTo>
                  <a:pt x="343" y="2"/>
                  <a:pt x="342" y="2"/>
                  <a:pt x="341" y="2"/>
                </a:cubicBezTo>
                <a:cubicBezTo>
                  <a:pt x="341" y="3"/>
                  <a:pt x="341" y="3"/>
                  <a:pt x="341" y="3"/>
                </a:cubicBezTo>
                <a:cubicBezTo>
                  <a:pt x="341" y="3"/>
                  <a:pt x="341" y="3"/>
                  <a:pt x="341" y="3"/>
                </a:cubicBezTo>
                <a:cubicBezTo>
                  <a:pt x="341" y="3"/>
                  <a:pt x="341" y="3"/>
                  <a:pt x="341" y="3"/>
                </a:cubicBezTo>
                <a:cubicBezTo>
                  <a:pt x="341" y="3"/>
                  <a:pt x="341" y="3"/>
                  <a:pt x="341" y="3"/>
                </a:cubicBezTo>
                <a:cubicBezTo>
                  <a:pt x="341" y="2"/>
                  <a:pt x="341" y="2"/>
                  <a:pt x="341" y="2"/>
                </a:cubicBezTo>
                <a:cubicBezTo>
                  <a:pt x="341" y="2"/>
                  <a:pt x="341" y="2"/>
                  <a:pt x="341" y="2"/>
                </a:cubicBezTo>
                <a:cubicBezTo>
                  <a:pt x="342" y="2"/>
                  <a:pt x="342" y="2"/>
                  <a:pt x="342" y="2"/>
                </a:cubicBezTo>
                <a:cubicBezTo>
                  <a:pt x="342" y="2"/>
                  <a:pt x="342" y="2"/>
                  <a:pt x="342" y="2"/>
                </a:cubicBezTo>
                <a:cubicBezTo>
                  <a:pt x="343" y="2"/>
                  <a:pt x="343" y="2"/>
                  <a:pt x="343" y="2"/>
                </a:cubicBezTo>
                <a:cubicBezTo>
                  <a:pt x="343" y="2"/>
                  <a:pt x="343" y="2"/>
                  <a:pt x="343" y="2"/>
                </a:cubicBezTo>
                <a:cubicBezTo>
                  <a:pt x="344" y="2"/>
                  <a:pt x="344" y="2"/>
                  <a:pt x="344" y="2"/>
                </a:cubicBezTo>
                <a:cubicBezTo>
                  <a:pt x="345" y="2"/>
                  <a:pt x="345" y="2"/>
                  <a:pt x="345" y="2"/>
                </a:cubicBezTo>
                <a:cubicBezTo>
                  <a:pt x="345" y="2"/>
                  <a:pt x="345" y="2"/>
                  <a:pt x="345" y="2"/>
                </a:cubicBezTo>
                <a:cubicBezTo>
                  <a:pt x="346" y="2"/>
                  <a:pt x="346" y="2"/>
                  <a:pt x="346" y="2"/>
                </a:cubicBezTo>
                <a:cubicBezTo>
                  <a:pt x="346" y="2"/>
                  <a:pt x="346" y="2"/>
                  <a:pt x="346" y="2"/>
                </a:cubicBezTo>
                <a:cubicBezTo>
                  <a:pt x="346" y="2"/>
                  <a:pt x="346" y="2"/>
                  <a:pt x="346" y="2"/>
                </a:cubicBezTo>
                <a:cubicBezTo>
                  <a:pt x="347" y="1"/>
                  <a:pt x="347" y="1"/>
                  <a:pt x="347" y="1"/>
                </a:cubicBezTo>
                <a:cubicBezTo>
                  <a:pt x="348" y="1"/>
                  <a:pt x="348" y="1"/>
                  <a:pt x="348" y="1"/>
                </a:cubicBezTo>
                <a:cubicBezTo>
                  <a:pt x="348" y="1"/>
                  <a:pt x="348" y="1"/>
                  <a:pt x="348" y="1"/>
                </a:cubicBezTo>
                <a:cubicBezTo>
                  <a:pt x="349" y="1"/>
                  <a:pt x="349" y="1"/>
                  <a:pt x="349" y="1"/>
                </a:cubicBezTo>
                <a:cubicBezTo>
                  <a:pt x="349" y="1"/>
                  <a:pt x="349" y="1"/>
                  <a:pt x="349" y="1"/>
                </a:cubicBezTo>
                <a:cubicBezTo>
                  <a:pt x="348" y="1"/>
                  <a:pt x="348" y="1"/>
                  <a:pt x="348" y="1"/>
                </a:cubicBezTo>
                <a:cubicBezTo>
                  <a:pt x="348" y="1"/>
                  <a:pt x="348" y="1"/>
                  <a:pt x="346" y="1"/>
                </a:cubicBezTo>
                <a:cubicBezTo>
                  <a:pt x="345" y="2"/>
                  <a:pt x="344" y="2"/>
                  <a:pt x="343" y="2"/>
                </a:cubicBezTo>
                <a:cubicBezTo>
                  <a:pt x="342" y="2"/>
                  <a:pt x="342" y="2"/>
                  <a:pt x="342" y="2"/>
                </a:cubicBezTo>
                <a:cubicBezTo>
                  <a:pt x="342" y="2"/>
                  <a:pt x="342" y="2"/>
                  <a:pt x="342" y="2"/>
                </a:cubicBezTo>
                <a:cubicBezTo>
                  <a:pt x="341" y="2"/>
                  <a:pt x="341" y="2"/>
                  <a:pt x="341" y="2"/>
                </a:cubicBezTo>
                <a:cubicBezTo>
                  <a:pt x="340" y="2"/>
                  <a:pt x="339" y="2"/>
                  <a:pt x="338" y="3"/>
                </a:cubicBezTo>
                <a:cubicBezTo>
                  <a:pt x="338" y="3"/>
                  <a:pt x="338" y="3"/>
                  <a:pt x="338" y="3"/>
                </a:cubicBezTo>
                <a:cubicBezTo>
                  <a:pt x="337" y="3"/>
                  <a:pt x="337" y="3"/>
                  <a:pt x="337" y="3"/>
                </a:cubicBezTo>
                <a:cubicBezTo>
                  <a:pt x="338" y="2"/>
                  <a:pt x="338" y="2"/>
                  <a:pt x="338" y="2"/>
                </a:cubicBezTo>
                <a:cubicBezTo>
                  <a:pt x="339" y="2"/>
                  <a:pt x="339" y="2"/>
                  <a:pt x="339" y="2"/>
                </a:cubicBezTo>
                <a:cubicBezTo>
                  <a:pt x="339" y="2"/>
                  <a:pt x="340" y="2"/>
                  <a:pt x="340" y="2"/>
                </a:cubicBezTo>
                <a:cubicBezTo>
                  <a:pt x="341" y="2"/>
                  <a:pt x="341" y="2"/>
                  <a:pt x="342" y="2"/>
                </a:cubicBezTo>
                <a:cubicBezTo>
                  <a:pt x="343" y="2"/>
                  <a:pt x="343" y="2"/>
                  <a:pt x="343" y="2"/>
                </a:cubicBezTo>
                <a:cubicBezTo>
                  <a:pt x="343" y="2"/>
                  <a:pt x="343" y="2"/>
                  <a:pt x="343" y="2"/>
                </a:cubicBezTo>
                <a:cubicBezTo>
                  <a:pt x="344" y="2"/>
                  <a:pt x="344" y="2"/>
                  <a:pt x="344" y="2"/>
                </a:cubicBezTo>
                <a:cubicBezTo>
                  <a:pt x="344" y="2"/>
                  <a:pt x="344" y="2"/>
                  <a:pt x="344" y="2"/>
                </a:cubicBezTo>
                <a:cubicBezTo>
                  <a:pt x="345" y="2"/>
                  <a:pt x="345" y="2"/>
                  <a:pt x="345" y="2"/>
                </a:cubicBezTo>
                <a:cubicBezTo>
                  <a:pt x="346" y="2"/>
                  <a:pt x="346" y="2"/>
                  <a:pt x="346" y="2"/>
                </a:cubicBezTo>
                <a:cubicBezTo>
                  <a:pt x="346" y="1"/>
                  <a:pt x="346" y="1"/>
                  <a:pt x="346" y="1"/>
                </a:cubicBezTo>
                <a:cubicBezTo>
                  <a:pt x="347" y="1"/>
                  <a:pt x="347" y="1"/>
                  <a:pt x="348" y="1"/>
                </a:cubicBezTo>
                <a:cubicBezTo>
                  <a:pt x="348" y="1"/>
                  <a:pt x="348" y="1"/>
                  <a:pt x="348" y="1"/>
                </a:cubicBezTo>
                <a:cubicBezTo>
                  <a:pt x="349" y="1"/>
                  <a:pt x="349" y="1"/>
                  <a:pt x="349" y="1"/>
                </a:cubicBezTo>
                <a:cubicBezTo>
                  <a:pt x="349" y="1"/>
                  <a:pt x="349" y="1"/>
                  <a:pt x="349" y="1"/>
                </a:cubicBezTo>
                <a:cubicBezTo>
                  <a:pt x="349" y="1"/>
                  <a:pt x="349" y="1"/>
                  <a:pt x="349" y="1"/>
                </a:cubicBezTo>
                <a:cubicBezTo>
                  <a:pt x="349" y="1"/>
                  <a:pt x="349" y="1"/>
                  <a:pt x="349" y="1"/>
                </a:cubicBezTo>
                <a:cubicBezTo>
                  <a:pt x="348" y="1"/>
                  <a:pt x="348" y="1"/>
                  <a:pt x="348" y="1"/>
                </a:cubicBezTo>
                <a:cubicBezTo>
                  <a:pt x="347" y="1"/>
                  <a:pt x="347" y="1"/>
                  <a:pt x="347" y="1"/>
                </a:cubicBezTo>
                <a:cubicBezTo>
                  <a:pt x="347" y="1"/>
                  <a:pt x="347" y="1"/>
                  <a:pt x="347" y="1"/>
                </a:cubicBezTo>
                <a:cubicBezTo>
                  <a:pt x="346" y="1"/>
                  <a:pt x="346" y="1"/>
                  <a:pt x="346" y="1"/>
                </a:cubicBezTo>
                <a:cubicBezTo>
                  <a:pt x="346" y="1"/>
                  <a:pt x="346" y="1"/>
                  <a:pt x="346" y="1"/>
                </a:cubicBezTo>
                <a:cubicBezTo>
                  <a:pt x="346" y="1"/>
                  <a:pt x="346" y="1"/>
                  <a:pt x="346" y="1"/>
                </a:cubicBezTo>
                <a:cubicBezTo>
                  <a:pt x="346" y="1"/>
                  <a:pt x="346" y="1"/>
                  <a:pt x="346" y="1"/>
                </a:cubicBezTo>
                <a:cubicBezTo>
                  <a:pt x="345" y="1"/>
                  <a:pt x="345" y="1"/>
                  <a:pt x="345" y="1"/>
                </a:cubicBezTo>
                <a:cubicBezTo>
                  <a:pt x="345" y="1"/>
                  <a:pt x="345" y="1"/>
                  <a:pt x="345" y="1"/>
                </a:cubicBezTo>
                <a:cubicBezTo>
                  <a:pt x="345" y="1"/>
                  <a:pt x="345" y="1"/>
                  <a:pt x="345" y="1"/>
                </a:cubicBezTo>
                <a:cubicBezTo>
                  <a:pt x="345" y="1"/>
                  <a:pt x="345" y="1"/>
                  <a:pt x="345" y="1"/>
                </a:cubicBezTo>
                <a:cubicBezTo>
                  <a:pt x="345" y="1"/>
                  <a:pt x="345" y="1"/>
                  <a:pt x="345" y="1"/>
                </a:cubicBezTo>
                <a:cubicBezTo>
                  <a:pt x="344" y="1"/>
                  <a:pt x="344" y="1"/>
                  <a:pt x="344" y="1"/>
                </a:cubicBezTo>
                <a:cubicBezTo>
                  <a:pt x="344" y="1"/>
                  <a:pt x="344" y="1"/>
                  <a:pt x="344" y="1"/>
                </a:cubicBezTo>
                <a:cubicBezTo>
                  <a:pt x="343" y="1"/>
                  <a:pt x="343" y="1"/>
                  <a:pt x="343" y="1"/>
                </a:cubicBezTo>
                <a:cubicBezTo>
                  <a:pt x="343" y="1"/>
                  <a:pt x="343" y="1"/>
                  <a:pt x="343" y="1"/>
                </a:cubicBezTo>
                <a:cubicBezTo>
                  <a:pt x="343" y="2"/>
                  <a:pt x="343" y="2"/>
                  <a:pt x="343" y="2"/>
                </a:cubicBezTo>
                <a:cubicBezTo>
                  <a:pt x="342" y="2"/>
                  <a:pt x="342" y="2"/>
                  <a:pt x="342" y="2"/>
                </a:cubicBezTo>
                <a:cubicBezTo>
                  <a:pt x="341" y="2"/>
                  <a:pt x="341" y="2"/>
                  <a:pt x="341" y="2"/>
                </a:cubicBezTo>
                <a:cubicBezTo>
                  <a:pt x="341" y="2"/>
                  <a:pt x="341" y="2"/>
                  <a:pt x="341" y="2"/>
                </a:cubicBezTo>
                <a:cubicBezTo>
                  <a:pt x="341" y="2"/>
                  <a:pt x="341" y="2"/>
                  <a:pt x="341" y="2"/>
                </a:cubicBezTo>
                <a:cubicBezTo>
                  <a:pt x="341" y="2"/>
                  <a:pt x="341" y="2"/>
                  <a:pt x="341" y="2"/>
                </a:cubicBezTo>
                <a:cubicBezTo>
                  <a:pt x="341" y="2"/>
                  <a:pt x="341" y="2"/>
                  <a:pt x="341" y="2"/>
                </a:cubicBezTo>
                <a:cubicBezTo>
                  <a:pt x="341" y="2"/>
                  <a:pt x="341" y="2"/>
                  <a:pt x="341" y="2"/>
                </a:cubicBezTo>
                <a:cubicBezTo>
                  <a:pt x="341" y="2"/>
                  <a:pt x="341" y="2"/>
                  <a:pt x="341" y="2"/>
                </a:cubicBezTo>
                <a:cubicBezTo>
                  <a:pt x="341" y="2"/>
                  <a:pt x="341" y="2"/>
                  <a:pt x="341" y="2"/>
                </a:cubicBezTo>
                <a:cubicBezTo>
                  <a:pt x="341" y="2"/>
                  <a:pt x="341" y="2"/>
                  <a:pt x="341" y="2"/>
                </a:cubicBezTo>
                <a:cubicBezTo>
                  <a:pt x="341" y="2"/>
                  <a:pt x="341" y="2"/>
                  <a:pt x="341" y="2"/>
                </a:cubicBezTo>
                <a:cubicBezTo>
                  <a:pt x="341" y="2"/>
                  <a:pt x="341" y="2"/>
                  <a:pt x="341" y="2"/>
                </a:cubicBezTo>
                <a:cubicBezTo>
                  <a:pt x="341" y="2"/>
                  <a:pt x="341" y="2"/>
                  <a:pt x="341" y="2"/>
                </a:cubicBezTo>
                <a:cubicBezTo>
                  <a:pt x="340" y="2"/>
                  <a:pt x="340" y="2"/>
                  <a:pt x="340" y="2"/>
                </a:cubicBezTo>
                <a:cubicBezTo>
                  <a:pt x="340" y="2"/>
                  <a:pt x="340" y="2"/>
                  <a:pt x="340" y="2"/>
                </a:cubicBezTo>
                <a:cubicBezTo>
                  <a:pt x="339" y="2"/>
                  <a:pt x="339" y="2"/>
                  <a:pt x="339" y="2"/>
                </a:cubicBezTo>
                <a:cubicBezTo>
                  <a:pt x="338" y="2"/>
                  <a:pt x="338" y="2"/>
                  <a:pt x="338" y="2"/>
                </a:cubicBezTo>
                <a:cubicBezTo>
                  <a:pt x="338" y="2"/>
                  <a:pt x="338" y="2"/>
                  <a:pt x="338" y="2"/>
                </a:cubicBezTo>
                <a:cubicBezTo>
                  <a:pt x="338" y="2"/>
                  <a:pt x="338" y="2"/>
                  <a:pt x="338" y="2"/>
                </a:cubicBezTo>
                <a:cubicBezTo>
                  <a:pt x="338" y="2"/>
                  <a:pt x="338" y="2"/>
                  <a:pt x="338" y="2"/>
                </a:cubicBezTo>
                <a:cubicBezTo>
                  <a:pt x="338" y="2"/>
                  <a:pt x="338" y="2"/>
                  <a:pt x="338" y="2"/>
                </a:cubicBezTo>
                <a:cubicBezTo>
                  <a:pt x="338" y="2"/>
                  <a:pt x="338" y="2"/>
                  <a:pt x="338" y="2"/>
                </a:cubicBezTo>
                <a:cubicBezTo>
                  <a:pt x="338" y="2"/>
                  <a:pt x="338" y="2"/>
                  <a:pt x="338" y="2"/>
                </a:cubicBezTo>
                <a:cubicBezTo>
                  <a:pt x="338" y="2"/>
                  <a:pt x="338" y="2"/>
                  <a:pt x="338" y="2"/>
                </a:cubicBezTo>
                <a:cubicBezTo>
                  <a:pt x="338" y="2"/>
                  <a:pt x="338" y="2"/>
                  <a:pt x="338" y="2"/>
                </a:cubicBezTo>
                <a:cubicBezTo>
                  <a:pt x="338" y="2"/>
                  <a:pt x="338" y="2"/>
                  <a:pt x="338" y="2"/>
                </a:cubicBezTo>
                <a:cubicBezTo>
                  <a:pt x="338" y="2"/>
                  <a:pt x="338" y="2"/>
                  <a:pt x="338" y="2"/>
                </a:cubicBezTo>
                <a:cubicBezTo>
                  <a:pt x="338" y="2"/>
                  <a:pt x="338" y="2"/>
                  <a:pt x="338" y="2"/>
                </a:cubicBezTo>
                <a:cubicBezTo>
                  <a:pt x="337" y="2"/>
                  <a:pt x="337" y="2"/>
                  <a:pt x="337" y="2"/>
                </a:cubicBezTo>
                <a:cubicBezTo>
                  <a:pt x="336" y="2"/>
                  <a:pt x="336" y="2"/>
                  <a:pt x="336" y="2"/>
                </a:cubicBezTo>
                <a:cubicBezTo>
                  <a:pt x="335" y="3"/>
                  <a:pt x="335" y="3"/>
                  <a:pt x="335" y="3"/>
                </a:cubicBezTo>
                <a:cubicBezTo>
                  <a:pt x="335" y="3"/>
                  <a:pt x="335" y="3"/>
                  <a:pt x="335" y="3"/>
                </a:cubicBezTo>
                <a:cubicBezTo>
                  <a:pt x="335" y="3"/>
                  <a:pt x="335" y="3"/>
                  <a:pt x="335" y="3"/>
                </a:cubicBezTo>
                <a:cubicBezTo>
                  <a:pt x="335" y="3"/>
                  <a:pt x="335" y="3"/>
                  <a:pt x="335" y="3"/>
                </a:cubicBezTo>
                <a:cubicBezTo>
                  <a:pt x="335" y="3"/>
                  <a:pt x="335" y="3"/>
                  <a:pt x="335" y="3"/>
                </a:cubicBezTo>
                <a:cubicBezTo>
                  <a:pt x="336" y="3"/>
                  <a:pt x="336" y="3"/>
                  <a:pt x="336" y="3"/>
                </a:cubicBezTo>
                <a:cubicBezTo>
                  <a:pt x="336" y="2"/>
                  <a:pt x="336" y="2"/>
                  <a:pt x="336" y="2"/>
                </a:cubicBezTo>
                <a:cubicBezTo>
                  <a:pt x="336" y="2"/>
                  <a:pt x="336" y="2"/>
                  <a:pt x="336" y="2"/>
                </a:cubicBezTo>
                <a:cubicBezTo>
                  <a:pt x="337" y="2"/>
                  <a:pt x="337" y="2"/>
                  <a:pt x="337" y="2"/>
                </a:cubicBezTo>
                <a:cubicBezTo>
                  <a:pt x="337" y="2"/>
                  <a:pt x="337" y="2"/>
                  <a:pt x="337" y="2"/>
                </a:cubicBezTo>
                <a:cubicBezTo>
                  <a:pt x="337" y="2"/>
                  <a:pt x="337" y="2"/>
                  <a:pt x="337" y="2"/>
                </a:cubicBezTo>
                <a:cubicBezTo>
                  <a:pt x="337" y="2"/>
                  <a:pt x="337" y="2"/>
                  <a:pt x="337" y="2"/>
                </a:cubicBezTo>
                <a:cubicBezTo>
                  <a:pt x="338" y="2"/>
                  <a:pt x="338" y="2"/>
                  <a:pt x="338" y="2"/>
                </a:cubicBezTo>
                <a:cubicBezTo>
                  <a:pt x="339" y="2"/>
                  <a:pt x="339" y="2"/>
                  <a:pt x="339" y="2"/>
                </a:cubicBezTo>
                <a:cubicBezTo>
                  <a:pt x="340" y="2"/>
                  <a:pt x="340" y="2"/>
                  <a:pt x="340" y="2"/>
                </a:cubicBezTo>
                <a:cubicBezTo>
                  <a:pt x="340" y="2"/>
                  <a:pt x="340" y="2"/>
                  <a:pt x="340" y="2"/>
                </a:cubicBezTo>
                <a:cubicBezTo>
                  <a:pt x="341" y="2"/>
                  <a:pt x="341" y="2"/>
                  <a:pt x="341" y="2"/>
                </a:cubicBezTo>
                <a:cubicBezTo>
                  <a:pt x="341" y="2"/>
                  <a:pt x="341" y="2"/>
                  <a:pt x="341" y="2"/>
                </a:cubicBezTo>
                <a:cubicBezTo>
                  <a:pt x="341" y="2"/>
                  <a:pt x="341" y="2"/>
                  <a:pt x="341" y="2"/>
                </a:cubicBezTo>
                <a:cubicBezTo>
                  <a:pt x="340" y="2"/>
                  <a:pt x="340" y="2"/>
                  <a:pt x="340" y="2"/>
                </a:cubicBezTo>
                <a:cubicBezTo>
                  <a:pt x="340" y="2"/>
                  <a:pt x="340" y="2"/>
                  <a:pt x="340" y="2"/>
                </a:cubicBezTo>
                <a:cubicBezTo>
                  <a:pt x="339" y="2"/>
                  <a:pt x="339" y="2"/>
                  <a:pt x="339" y="2"/>
                </a:cubicBezTo>
                <a:cubicBezTo>
                  <a:pt x="339" y="2"/>
                  <a:pt x="339" y="2"/>
                  <a:pt x="339" y="2"/>
                </a:cubicBezTo>
                <a:cubicBezTo>
                  <a:pt x="338" y="2"/>
                  <a:pt x="338" y="2"/>
                  <a:pt x="338" y="2"/>
                </a:cubicBezTo>
                <a:cubicBezTo>
                  <a:pt x="337" y="2"/>
                  <a:pt x="336" y="2"/>
                  <a:pt x="336" y="2"/>
                </a:cubicBezTo>
                <a:cubicBezTo>
                  <a:pt x="335" y="2"/>
                  <a:pt x="335" y="2"/>
                  <a:pt x="335" y="2"/>
                </a:cubicBezTo>
                <a:cubicBezTo>
                  <a:pt x="335" y="2"/>
                  <a:pt x="335" y="2"/>
                  <a:pt x="335" y="2"/>
                </a:cubicBezTo>
                <a:cubicBezTo>
                  <a:pt x="334" y="2"/>
                  <a:pt x="334" y="2"/>
                  <a:pt x="334" y="2"/>
                </a:cubicBezTo>
                <a:cubicBezTo>
                  <a:pt x="332" y="3"/>
                  <a:pt x="331" y="3"/>
                  <a:pt x="329" y="3"/>
                </a:cubicBezTo>
                <a:cubicBezTo>
                  <a:pt x="329" y="3"/>
                  <a:pt x="329" y="3"/>
                  <a:pt x="329" y="3"/>
                </a:cubicBezTo>
                <a:cubicBezTo>
                  <a:pt x="330" y="3"/>
                  <a:pt x="330" y="3"/>
                  <a:pt x="330" y="3"/>
                </a:cubicBezTo>
                <a:cubicBezTo>
                  <a:pt x="330" y="3"/>
                  <a:pt x="330" y="3"/>
                  <a:pt x="330" y="3"/>
                </a:cubicBezTo>
                <a:cubicBezTo>
                  <a:pt x="330" y="3"/>
                  <a:pt x="330" y="3"/>
                  <a:pt x="330" y="3"/>
                </a:cubicBezTo>
                <a:cubicBezTo>
                  <a:pt x="330" y="3"/>
                  <a:pt x="329" y="3"/>
                  <a:pt x="328" y="3"/>
                </a:cubicBezTo>
                <a:cubicBezTo>
                  <a:pt x="327" y="3"/>
                  <a:pt x="326" y="3"/>
                  <a:pt x="325" y="3"/>
                </a:cubicBezTo>
                <a:cubicBezTo>
                  <a:pt x="325" y="3"/>
                  <a:pt x="324" y="4"/>
                  <a:pt x="323" y="4"/>
                </a:cubicBezTo>
                <a:cubicBezTo>
                  <a:pt x="323" y="4"/>
                  <a:pt x="323" y="4"/>
                  <a:pt x="323" y="4"/>
                </a:cubicBezTo>
                <a:cubicBezTo>
                  <a:pt x="323" y="4"/>
                  <a:pt x="323" y="4"/>
                  <a:pt x="323" y="4"/>
                </a:cubicBezTo>
                <a:cubicBezTo>
                  <a:pt x="323" y="4"/>
                  <a:pt x="323" y="4"/>
                  <a:pt x="323" y="4"/>
                </a:cubicBezTo>
                <a:cubicBezTo>
                  <a:pt x="322" y="4"/>
                  <a:pt x="322" y="4"/>
                  <a:pt x="322" y="4"/>
                </a:cubicBezTo>
                <a:cubicBezTo>
                  <a:pt x="322" y="4"/>
                  <a:pt x="322" y="4"/>
                  <a:pt x="322" y="4"/>
                </a:cubicBezTo>
                <a:cubicBezTo>
                  <a:pt x="322" y="4"/>
                  <a:pt x="322" y="4"/>
                  <a:pt x="322" y="4"/>
                </a:cubicBezTo>
                <a:cubicBezTo>
                  <a:pt x="321" y="4"/>
                  <a:pt x="321" y="4"/>
                  <a:pt x="321" y="4"/>
                </a:cubicBezTo>
                <a:cubicBezTo>
                  <a:pt x="321" y="4"/>
                  <a:pt x="321" y="4"/>
                  <a:pt x="321" y="4"/>
                </a:cubicBezTo>
                <a:cubicBezTo>
                  <a:pt x="320" y="4"/>
                  <a:pt x="320" y="4"/>
                  <a:pt x="320" y="4"/>
                </a:cubicBezTo>
                <a:cubicBezTo>
                  <a:pt x="320" y="4"/>
                  <a:pt x="320" y="4"/>
                  <a:pt x="320" y="4"/>
                </a:cubicBezTo>
                <a:cubicBezTo>
                  <a:pt x="320" y="4"/>
                  <a:pt x="320" y="4"/>
                  <a:pt x="320" y="4"/>
                </a:cubicBezTo>
                <a:cubicBezTo>
                  <a:pt x="319" y="4"/>
                  <a:pt x="319" y="4"/>
                  <a:pt x="319" y="4"/>
                </a:cubicBezTo>
                <a:cubicBezTo>
                  <a:pt x="319" y="4"/>
                  <a:pt x="318" y="4"/>
                  <a:pt x="317" y="5"/>
                </a:cubicBezTo>
                <a:cubicBezTo>
                  <a:pt x="317" y="5"/>
                  <a:pt x="317" y="5"/>
                  <a:pt x="317" y="5"/>
                </a:cubicBezTo>
                <a:cubicBezTo>
                  <a:pt x="316" y="5"/>
                  <a:pt x="315" y="5"/>
                  <a:pt x="315" y="5"/>
                </a:cubicBezTo>
                <a:cubicBezTo>
                  <a:pt x="315" y="5"/>
                  <a:pt x="315" y="5"/>
                  <a:pt x="314" y="5"/>
                </a:cubicBezTo>
                <a:cubicBezTo>
                  <a:pt x="314" y="5"/>
                  <a:pt x="314" y="5"/>
                  <a:pt x="314" y="5"/>
                </a:cubicBezTo>
                <a:cubicBezTo>
                  <a:pt x="313" y="5"/>
                  <a:pt x="313" y="5"/>
                  <a:pt x="313" y="5"/>
                </a:cubicBezTo>
                <a:cubicBezTo>
                  <a:pt x="313" y="5"/>
                  <a:pt x="313" y="5"/>
                  <a:pt x="314" y="5"/>
                </a:cubicBezTo>
                <a:cubicBezTo>
                  <a:pt x="314" y="5"/>
                  <a:pt x="314" y="5"/>
                  <a:pt x="314" y="5"/>
                </a:cubicBezTo>
                <a:cubicBezTo>
                  <a:pt x="315" y="5"/>
                  <a:pt x="315" y="5"/>
                  <a:pt x="315" y="5"/>
                </a:cubicBezTo>
                <a:cubicBezTo>
                  <a:pt x="314" y="5"/>
                  <a:pt x="313" y="6"/>
                  <a:pt x="312" y="6"/>
                </a:cubicBezTo>
                <a:cubicBezTo>
                  <a:pt x="311" y="6"/>
                  <a:pt x="311" y="6"/>
                  <a:pt x="311" y="6"/>
                </a:cubicBezTo>
                <a:cubicBezTo>
                  <a:pt x="311" y="6"/>
                  <a:pt x="311" y="6"/>
                  <a:pt x="311" y="6"/>
                </a:cubicBezTo>
                <a:cubicBezTo>
                  <a:pt x="310" y="6"/>
                  <a:pt x="310" y="6"/>
                  <a:pt x="310" y="6"/>
                </a:cubicBezTo>
                <a:cubicBezTo>
                  <a:pt x="309" y="6"/>
                  <a:pt x="308" y="6"/>
                  <a:pt x="307" y="7"/>
                </a:cubicBezTo>
                <a:cubicBezTo>
                  <a:pt x="306" y="7"/>
                  <a:pt x="305" y="7"/>
                  <a:pt x="305" y="7"/>
                </a:cubicBezTo>
                <a:cubicBezTo>
                  <a:pt x="304" y="7"/>
                  <a:pt x="304" y="7"/>
                  <a:pt x="304" y="7"/>
                </a:cubicBezTo>
                <a:cubicBezTo>
                  <a:pt x="303" y="7"/>
                  <a:pt x="303" y="7"/>
                  <a:pt x="303" y="7"/>
                </a:cubicBezTo>
                <a:cubicBezTo>
                  <a:pt x="303" y="7"/>
                  <a:pt x="303" y="7"/>
                  <a:pt x="303" y="7"/>
                </a:cubicBezTo>
                <a:cubicBezTo>
                  <a:pt x="303" y="7"/>
                  <a:pt x="303" y="7"/>
                  <a:pt x="303" y="7"/>
                </a:cubicBezTo>
                <a:cubicBezTo>
                  <a:pt x="302" y="8"/>
                  <a:pt x="302" y="8"/>
                  <a:pt x="302" y="8"/>
                </a:cubicBezTo>
                <a:cubicBezTo>
                  <a:pt x="302" y="8"/>
                  <a:pt x="302" y="8"/>
                  <a:pt x="302" y="8"/>
                </a:cubicBezTo>
                <a:cubicBezTo>
                  <a:pt x="302" y="7"/>
                  <a:pt x="302" y="7"/>
                  <a:pt x="302" y="7"/>
                </a:cubicBezTo>
                <a:cubicBezTo>
                  <a:pt x="302" y="7"/>
                  <a:pt x="302" y="7"/>
                  <a:pt x="302" y="7"/>
                </a:cubicBezTo>
                <a:cubicBezTo>
                  <a:pt x="301" y="8"/>
                  <a:pt x="301" y="8"/>
                  <a:pt x="301" y="8"/>
                </a:cubicBezTo>
                <a:cubicBezTo>
                  <a:pt x="300" y="8"/>
                  <a:pt x="300" y="8"/>
                  <a:pt x="300" y="8"/>
                </a:cubicBezTo>
                <a:cubicBezTo>
                  <a:pt x="300" y="8"/>
                  <a:pt x="300" y="8"/>
                  <a:pt x="299" y="8"/>
                </a:cubicBezTo>
                <a:cubicBezTo>
                  <a:pt x="299" y="8"/>
                  <a:pt x="298" y="8"/>
                  <a:pt x="298" y="8"/>
                </a:cubicBezTo>
                <a:cubicBezTo>
                  <a:pt x="298" y="8"/>
                  <a:pt x="298" y="8"/>
                  <a:pt x="298" y="8"/>
                </a:cubicBezTo>
                <a:cubicBezTo>
                  <a:pt x="298" y="8"/>
                  <a:pt x="298" y="8"/>
                  <a:pt x="297" y="8"/>
                </a:cubicBezTo>
                <a:cubicBezTo>
                  <a:pt x="296" y="8"/>
                  <a:pt x="296" y="8"/>
                  <a:pt x="296" y="8"/>
                </a:cubicBezTo>
                <a:cubicBezTo>
                  <a:pt x="295" y="8"/>
                  <a:pt x="295" y="8"/>
                  <a:pt x="295" y="8"/>
                </a:cubicBezTo>
                <a:cubicBezTo>
                  <a:pt x="295" y="8"/>
                  <a:pt x="295" y="8"/>
                  <a:pt x="295" y="8"/>
                </a:cubicBezTo>
                <a:cubicBezTo>
                  <a:pt x="295" y="9"/>
                  <a:pt x="295" y="9"/>
                  <a:pt x="295" y="9"/>
                </a:cubicBezTo>
                <a:cubicBezTo>
                  <a:pt x="294" y="9"/>
                  <a:pt x="294" y="9"/>
                  <a:pt x="294" y="9"/>
                </a:cubicBezTo>
                <a:cubicBezTo>
                  <a:pt x="294" y="9"/>
                  <a:pt x="294" y="9"/>
                  <a:pt x="294" y="9"/>
                </a:cubicBezTo>
                <a:cubicBezTo>
                  <a:pt x="293" y="9"/>
                  <a:pt x="293" y="9"/>
                  <a:pt x="293" y="9"/>
                </a:cubicBezTo>
                <a:cubicBezTo>
                  <a:pt x="292" y="9"/>
                  <a:pt x="292" y="9"/>
                  <a:pt x="292" y="9"/>
                </a:cubicBezTo>
                <a:cubicBezTo>
                  <a:pt x="292" y="9"/>
                  <a:pt x="292" y="9"/>
                  <a:pt x="292" y="9"/>
                </a:cubicBezTo>
                <a:cubicBezTo>
                  <a:pt x="292" y="9"/>
                  <a:pt x="292" y="9"/>
                  <a:pt x="292" y="9"/>
                </a:cubicBezTo>
                <a:cubicBezTo>
                  <a:pt x="289" y="10"/>
                  <a:pt x="287" y="11"/>
                  <a:pt x="284" y="11"/>
                </a:cubicBezTo>
                <a:cubicBezTo>
                  <a:pt x="284" y="11"/>
                  <a:pt x="284" y="11"/>
                  <a:pt x="284" y="11"/>
                </a:cubicBezTo>
                <a:cubicBezTo>
                  <a:pt x="283" y="12"/>
                  <a:pt x="283" y="12"/>
                  <a:pt x="283" y="12"/>
                </a:cubicBezTo>
                <a:cubicBezTo>
                  <a:pt x="283" y="12"/>
                  <a:pt x="283" y="12"/>
                  <a:pt x="283" y="12"/>
                </a:cubicBezTo>
                <a:cubicBezTo>
                  <a:pt x="282" y="12"/>
                  <a:pt x="282" y="12"/>
                  <a:pt x="282" y="12"/>
                </a:cubicBezTo>
                <a:cubicBezTo>
                  <a:pt x="282" y="12"/>
                  <a:pt x="282" y="12"/>
                  <a:pt x="282" y="12"/>
                </a:cubicBezTo>
                <a:cubicBezTo>
                  <a:pt x="283" y="12"/>
                  <a:pt x="283" y="12"/>
                  <a:pt x="283" y="12"/>
                </a:cubicBezTo>
                <a:cubicBezTo>
                  <a:pt x="284" y="12"/>
                  <a:pt x="284" y="12"/>
                  <a:pt x="284" y="12"/>
                </a:cubicBezTo>
                <a:cubicBezTo>
                  <a:pt x="284" y="12"/>
                  <a:pt x="284" y="12"/>
                  <a:pt x="285" y="12"/>
                </a:cubicBezTo>
                <a:cubicBezTo>
                  <a:pt x="285" y="12"/>
                  <a:pt x="285" y="12"/>
                  <a:pt x="285" y="12"/>
                </a:cubicBezTo>
                <a:cubicBezTo>
                  <a:pt x="285" y="12"/>
                  <a:pt x="285" y="12"/>
                  <a:pt x="285" y="12"/>
                </a:cubicBezTo>
                <a:cubicBezTo>
                  <a:pt x="284" y="12"/>
                  <a:pt x="283" y="12"/>
                  <a:pt x="282" y="13"/>
                </a:cubicBezTo>
                <a:cubicBezTo>
                  <a:pt x="282" y="13"/>
                  <a:pt x="282" y="13"/>
                  <a:pt x="281" y="13"/>
                </a:cubicBezTo>
                <a:cubicBezTo>
                  <a:pt x="281" y="13"/>
                  <a:pt x="281" y="13"/>
                  <a:pt x="281" y="13"/>
                </a:cubicBezTo>
                <a:cubicBezTo>
                  <a:pt x="280" y="13"/>
                  <a:pt x="280" y="13"/>
                  <a:pt x="279" y="13"/>
                </a:cubicBezTo>
                <a:cubicBezTo>
                  <a:pt x="279" y="13"/>
                  <a:pt x="279" y="13"/>
                  <a:pt x="279" y="13"/>
                </a:cubicBezTo>
                <a:cubicBezTo>
                  <a:pt x="279" y="13"/>
                  <a:pt x="279" y="13"/>
                  <a:pt x="279" y="13"/>
                </a:cubicBezTo>
                <a:cubicBezTo>
                  <a:pt x="279" y="13"/>
                  <a:pt x="279" y="13"/>
                  <a:pt x="279" y="13"/>
                </a:cubicBezTo>
                <a:cubicBezTo>
                  <a:pt x="279" y="13"/>
                  <a:pt x="279" y="13"/>
                  <a:pt x="279" y="13"/>
                </a:cubicBezTo>
                <a:cubicBezTo>
                  <a:pt x="280" y="13"/>
                  <a:pt x="280" y="13"/>
                  <a:pt x="280" y="13"/>
                </a:cubicBezTo>
                <a:cubicBezTo>
                  <a:pt x="280" y="13"/>
                  <a:pt x="280" y="13"/>
                  <a:pt x="280" y="13"/>
                </a:cubicBezTo>
                <a:cubicBezTo>
                  <a:pt x="280" y="13"/>
                  <a:pt x="280" y="13"/>
                  <a:pt x="280" y="13"/>
                </a:cubicBezTo>
                <a:cubicBezTo>
                  <a:pt x="280" y="13"/>
                  <a:pt x="280" y="13"/>
                  <a:pt x="280" y="13"/>
                </a:cubicBezTo>
                <a:cubicBezTo>
                  <a:pt x="280" y="13"/>
                  <a:pt x="280" y="13"/>
                  <a:pt x="280" y="13"/>
                </a:cubicBezTo>
                <a:cubicBezTo>
                  <a:pt x="280" y="13"/>
                  <a:pt x="280" y="13"/>
                  <a:pt x="280" y="13"/>
                </a:cubicBezTo>
                <a:cubicBezTo>
                  <a:pt x="280" y="13"/>
                  <a:pt x="280" y="13"/>
                  <a:pt x="280" y="13"/>
                </a:cubicBezTo>
                <a:cubicBezTo>
                  <a:pt x="280" y="13"/>
                  <a:pt x="280" y="13"/>
                  <a:pt x="280" y="13"/>
                </a:cubicBezTo>
                <a:cubicBezTo>
                  <a:pt x="280" y="13"/>
                  <a:pt x="280" y="13"/>
                  <a:pt x="280" y="13"/>
                </a:cubicBezTo>
                <a:cubicBezTo>
                  <a:pt x="280" y="13"/>
                  <a:pt x="280" y="13"/>
                  <a:pt x="280" y="13"/>
                </a:cubicBezTo>
                <a:cubicBezTo>
                  <a:pt x="279" y="13"/>
                  <a:pt x="279" y="13"/>
                  <a:pt x="279" y="13"/>
                </a:cubicBezTo>
                <a:cubicBezTo>
                  <a:pt x="278" y="13"/>
                  <a:pt x="278" y="13"/>
                  <a:pt x="278" y="13"/>
                </a:cubicBezTo>
                <a:cubicBezTo>
                  <a:pt x="278" y="13"/>
                  <a:pt x="278" y="13"/>
                  <a:pt x="278" y="13"/>
                </a:cubicBezTo>
                <a:cubicBezTo>
                  <a:pt x="279" y="13"/>
                  <a:pt x="279" y="13"/>
                  <a:pt x="279" y="13"/>
                </a:cubicBezTo>
                <a:cubicBezTo>
                  <a:pt x="279" y="13"/>
                  <a:pt x="279" y="13"/>
                  <a:pt x="279" y="13"/>
                </a:cubicBezTo>
                <a:cubicBezTo>
                  <a:pt x="278" y="13"/>
                  <a:pt x="278" y="13"/>
                  <a:pt x="277" y="13"/>
                </a:cubicBezTo>
                <a:cubicBezTo>
                  <a:pt x="277" y="13"/>
                  <a:pt x="277" y="13"/>
                  <a:pt x="277" y="13"/>
                </a:cubicBezTo>
                <a:cubicBezTo>
                  <a:pt x="276" y="14"/>
                  <a:pt x="275" y="14"/>
                  <a:pt x="274" y="14"/>
                </a:cubicBezTo>
                <a:cubicBezTo>
                  <a:pt x="274" y="14"/>
                  <a:pt x="274" y="14"/>
                  <a:pt x="274" y="14"/>
                </a:cubicBezTo>
                <a:cubicBezTo>
                  <a:pt x="273" y="15"/>
                  <a:pt x="273" y="15"/>
                  <a:pt x="271" y="15"/>
                </a:cubicBezTo>
                <a:cubicBezTo>
                  <a:pt x="271" y="16"/>
                  <a:pt x="271" y="16"/>
                  <a:pt x="271" y="16"/>
                </a:cubicBezTo>
                <a:cubicBezTo>
                  <a:pt x="270" y="16"/>
                  <a:pt x="270" y="16"/>
                  <a:pt x="270" y="16"/>
                </a:cubicBezTo>
                <a:cubicBezTo>
                  <a:pt x="270" y="16"/>
                  <a:pt x="270" y="16"/>
                  <a:pt x="270" y="16"/>
                </a:cubicBezTo>
                <a:cubicBezTo>
                  <a:pt x="269" y="16"/>
                  <a:pt x="269" y="16"/>
                  <a:pt x="269" y="16"/>
                </a:cubicBezTo>
                <a:cubicBezTo>
                  <a:pt x="269" y="16"/>
                  <a:pt x="269" y="16"/>
                  <a:pt x="269" y="16"/>
                </a:cubicBezTo>
                <a:cubicBezTo>
                  <a:pt x="268" y="16"/>
                  <a:pt x="268" y="16"/>
                  <a:pt x="268" y="16"/>
                </a:cubicBezTo>
                <a:cubicBezTo>
                  <a:pt x="268" y="17"/>
                  <a:pt x="268" y="17"/>
                  <a:pt x="268" y="17"/>
                </a:cubicBezTo>
                <a:cubicBezTo>
                  <a:pt x="267" y="17"/>
                  <a:pt x="267" y="17"/>
                  <a:pt x="267" y="17"/>
                </a:cubicBezTo>
                <a:cubicBezTo>
                  <a:pt x="267" y="17"/>
                  <a:pt x="267" y="17"/>
                  <a:pt x="267" y="17"/>
                </a:cubicBezTo>
                <a:cubicBezTo>
                  <a:pt x="267" y="17"/>
                  <a:pt x="267" y="17"/>
                  <a:pt x="267" y="17"/>
                </a:cubicBezTo>
                <a:cubicBezTo>
                  <a:pt x="266" y="17"/>
                  <a:pt x="266" y="17"/>
                  <a:pt x="266" y="17"/>
                </a:cubicBezTo>
                <a:cubicBezTo>
                  <a:pt x="266" y="17"/>
                  <a:pt x="266" y="17"/>
                  <a:pt x="266" y="17"/>
                </a:cubicBezTo>
                <a:cubicBezTo>
                  <a:pt x="266" y="17"/>
                  <a:pt x="266" y="17"/>
                  <a:pt x="266" y="17"/>
                </a:cubicBezTo>
                <a:cubicBezTo>
                  <a:pt x="265" y="18"/>
                  <a:pt x="265" y="18"/>
                  <a:pt x="265" y="18"/>
                </a:cubicBezTo>
                <a:cubicBezTo>
                  <a:pt x="265" y="18"/>
                  <a:pt x="265" y="18"/>
                  <a:pt x="265" y="18"/>
                </a:cubicBezTo>
                <a:cubicBezTo>
                  <a:pt x="265" y="18"/>
                  <a:pt x="265" y="18"/>
                  <a:pt x="265" y="18"/>
                </a:cubicBezTo>
                <a:cubicBezTo>
                  <a:pt x="265" y="18"/>
                  <a:pt x="265" y="18"/>
                  <a:pt x="265" y="18"/>
                </a:cubicBezTo>
                <a:cubicBezTo>
                  <a:pt x="265" y="18"/>
                  <a:pt x="265" y="18"/>
                  <a:pt x="265" y="18"/>
                </a:cubicBezTo>
                <a:cubicBezTo>
                  <a:pt x="266" y="18"/>
                  <a:pt x="266" y="18"/>
                  <a:pt x="266" y="18"/>
                </a:cubicBezTo>
                <a:cubicBezTo>
                  <a:pt x="266" y="17"/>
                  <a:pt x="267" y="17"/>
                  <a:pt x="268" y="17"/>
                </a:cubicBezTo>
                <a:cubicBezTo>
                  <a:pt x="268" y="17"/>
                  <a:pt x="268" y="17"/>
                  <a:pt x="268" y="17"/>
                </a:cubicBezTo>
                <a:cubicBezTo>
                  <a:pt x="268" y="17"/>
                  <a:pt x="268" y="17"/>
                  <a:pt x="268" y="17"/>
                </a:cubicBezTo>
                <a:cubicBezTo>
                  <a:pt x="268" y="17"/>
                  <a:pt x="268" y="17"/>
                  <a:pt x="268" y="17"/>
                </a:cubicBezTo>
                <a:cubicBezTo>
                  <a:pt x="268" y="17"/>
                  <a:pt x="268" y="17"/>
                  <a:pt x="268" y="17"/>
                </a:cubicBezTo>
                <a:cubicBezTo>
                  <a:pt x="268" y="17"/>
                  <a:pt x="268" y="17"/>
                  <a:pt x="268" y="17"/>
                </a:cubicBezTo>
                <a:cubicBezTo>
                  <a:pt x="268" y="17"/>
                  <a:pt x="268" y="17"/>
                  <a:pt x="269" y="17"/>
                </a:cubicBezTo>
                <a:cubicBezTo>
                  <a:pt x="269" y="17"/>
                  <a:pt x="269" y="17"/>
                  <a:pt x="269" y="17"/>
                </a:cubicBezTo>
                <a:cubicBezTo>
                  <a:pt x="269" y="17"/>
                  <a:pt x="269" y="17"/>
                  <a:pt x="269" y="17"/>
                </a:cubicBezTo>
                <a:cubicBezTo>
                  <a:pt x="269" y="17"/>
                  <a:pt x="269" y="17"/>
                  <a:pt x="269" y="17"/>
                </a:cubicBezTo>
                <a:cubicBezTo>
                  <a:pt x="269" y="17"/>
                  <a:pt x="269" y="17"/>
                  <a:pt x="269"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0" y="17"/>
                  <a:pt x="270" y="17"/>
                  <a:pt x="270" y="17"/>
                </a:cubicBezTo>
                <a:cubicBezTo>
                  <a:pt x="271" y="17"/>
                  <a:pt x="271" y="17"/>
                  <a:pt x="271" y="17"/>
                </a:cubicBezTo>
                <a:cubicBezTo>
                  <a:pt x="271" y="17"/>
                  <a:pt x="271" y="17"/>
                  <a:pt x="271" y="17"/>
                </a:cubicBezTo>
                <a:cubicBezTo>
                  <a:pt x="272" y="16"/>
                  <a:pt x="272" y="16"/>
                  <a:pt x="272" y="16"/>
                </a:cubicBezTo>
                <a:cubicBezTo>
                  <a:pt x="271" y="17"/>
                  <a:pt x="271" y="17"/>
                  <a:pt x="271" y="17"/>
                </a:cubicBezTo>
                <a:cubicBezTo>
                  <a:pt x="271" y="17"/>
                  <a:pt x="271" y="17"/>
                  <a:pt x="271" y="17"/>
                </a:cubicBezTo>
                <a:cubicBezTo>
                  <a:pt x="271" y="17"/>
                  <a:pt x="271" y="17"/>
                  <a:pt x="271" y="17"/>
                </a:cubicBezTo>
                <a:cubicBezTo>
                  <a:pt x="271" y="17"/>
                  <a:pt x="271" y="17"/>
                  <a:pt x="271" y="17"/>
                </a:cubicBezTo>
                <a:cubicBezTo>
                  <a:pt x="271" y="18"/>
                  <a:pt x="271" y="18"/>
                  <a:pt x="271" y="18"/>
                </a:cubicBezTo>
                <a:cubicBezTo>
                  <a:pt x="270" y="18"/>
                  <a:pt x="270" y="18"/>
                  <a:pt x="270" y="18"/>
                </a:cubicBezTo>
                <a:cubicBezTo>
                  <a:pt x="270" y="18"/>
                  <a:pt x="270" y="18"/>
                  <a:pt x="270" y="18"/>
                </a:cubicBezTo>
                <a:cubicBezTo>
                  <a:pt x="270" y="18"/>
                  <a:pt x="270" y="18"/>
                  <a:pt x="270" y="18"/>
                </a:cubicBezTo>
                <a:cubicBezTo>
                  <a:pt x="270" y="18"/>
                  <a:pt x="270" y="18"/>
                  <a:pt x="270" y="18"/>
                </a:cubicBezTo>
                <a:cubicBezTo>
                  <a:pt x="270" y="18"/>
                  <a:pt x="270" y="18"/>
                  <a:pt x="270" y="18"/>
                </a:cubicBezTo>
                <a:cubicBezTo>
                  <a:pt x="270" y="18"/>
                  <a:pt x="270" y="18"/>
                  <a:pt x="270" y="18"/>
                </a:cubicBezTo>
                <a:cubicBezTo>
                  <a:pt x="269" y="19"/>
                  <a:pt x="269" y="19"/>
                  <a:pt x="269" y="19"/>
                </a:cubicBezTo>
                <a:cubicBezTo>
                  <a:pt x="270" y="19"/>
                  <a:pt x="270" y="19"/>
                  <a:pt x="270" y="19"/>
                </a:cubicBezTo>
                <a:cubicBezTo>
                  <a:pt x="270" y="19"/>
                  <a:pt x="270" y="19"/>
                  <a:pt x="270" y="19"/>
                </a:cubicBezTo>
                <a:cubicBezTo>
                  <a:pt x="268" y="19"/>
                  <a:pt x="268" y="19"/>
                  <a:pt x="268" y="19"/>
                </a:cubicBezTo>
                <a:cubicBezTo>
                  <a:pt x="268" y="19"/>
                  <a:pt x="268" y="19"/>
                  <a:pt x="268" y="19"/>
                </a:cubicBezTo>
                <a:cubicBezTo>
                  <a:pt x="268" y="20"/>
                  <a:pt x="268" y="20"/>
                  <a:pt x="268" y="20"/>
                </a:cubicBezTo>
                <a:cubicBezTo>
                  <a:pt x="267" y="20"/>
                  <a:pt x="267" y="20"/>
                  <a:pt x="267" y="20"/>
                </a:cubicBezTo>
                <a:cubicBezTo>
                  <a:pt x="266" y="21"/>
                  <a:pt x="264" y="21"/>
                  <a:pt x="263" y="22"/>
                </a:cubicBezTo>
                <a:cubicBezTo>
                  <a:pt x="262" y="22"/>
                  <a:pt x="262" y="22"/>
                  <a:pt x="262" y="22"/>
                </a:cubicBezTo>
                <a:cubicBezTo>
                  <a:pt x="262" y="22"/>
                  <a:pt x="262" y="22"/>
                  <a:pt x="262" y="22"/>
                </a:cubicBezTo>
                <a:cubicBezTo>
                  <a:pt x="261" y="22"/>
                  <a:pt x="261" y="22"/>
                  <a:pt x="261" y="22"/>
                </a:cubicBezTo>
                <a:cubicBezTo>
                  <a:pt x="261" y="22"/>
                  <a:pt x="261" y="22"/>
                  <a:pt x="261" y="22"/>
                </a:cubicBezTo>
                <a:cubicBezTo>
                  <a:pt x="261" y="22"/>
                  <a:pt x="261" y="22"/>
                  <a:pt x="261" y="22"/>
                </a:cubicBezTo>
                <a:cubicBezTo>
                  <a:pt x="261" y="23"/>
                  <a:pt x="261" y="23"/>
                  <a:pt x="261" y="23"/>
                </a:cubicBezTo>
                <a:cubicBezTo>
                  <a:pt x="261" y="23"/>
                  <a:pt x="261" y="23"/>
                  <a:pt x="261" y="23"/>
                </a:cubicBezTo>
                <a:cubicBezTo>
                  <a:pt x="261" y="23"/>
                  <a:pt x="261" y="23"/>
                  <a:pt x="261" y="23"/>
                </a:cubicBezTo>
                <a:cubicBezTo>
                  <a:pt x="260" y="23"/>
                  <a:pt x="260" y="23"/>
                  <a:pt x="259" y="24"/>
                </a:cubicBezTo>
                <a:cubicBezTo>
                  <a:pt x="259" y="24"/>
                  <a:pt x="259" y="24"/>
                  <a:pt x="259" y="24"/>
                </a:cubicBezTo>
                <a:cubicBezTo>
                  <a:pt x="259" y="24"/>
                  <a:pt x="258" y="24"/>
                  <a:pt x="258" y="24"/>
                </a:cubicBezTo>
                <a:cubicBezTo>
                  <a:pt x="257" y="25"/>
                  <a:pt x="257" y="25"/>
                  <a:pt x="257" y="25"/>
                </a:cubicBezTo>
                <a:cubicBezTo>
                  <a:pt x="257" y="25"/>
                  <a:pt x="257" y="25"/>
                  <a:pt x="257" y="25"/>
                </a:cubicBezTo>
                <a:cubicBezTo>
                  <a:pt x="256" y="25"/>
                  <a:pt x="256" y="25"/>
                  <a:pt x="256" y="25"/>
                </a:cubicBezTo>
                <a:cubicBezTo>
                  <a:pt x="256" y="26"/>
                  <a:pt x="255" y="26"/>
                  <a:pt x="254" y="26"/>
                </a:cubicBezTo>
                <a:cubicBezTo>
                  <a:pt x="254" y="27"/>
                  <a:pt x="253" y="27"/>
                  <a:pt x="252" y="27"/>
                </a:cubicBezTo>
                <a:cubicBezTo>
                  <a:pt x="252" y="28"/>
                  <a:pt x="252" y="28"/>
                  <a:pt x="252" y="28"/>
                </a:cubicBezTo>
                <a:cubicBezTo>
                  <a:pt x="251" y="28"/>
                  <a:pt x="251" y="28"/>
                  <a:pt x="251" y="28"/>
                </a:cubicBezTo>
                <a:cubicBezTo>
                  <a:pt x="251" y="28"/>
                  <a:pt x="251" y="28"/>
                  <a:pt x="250" y="29"/>
                </a:cubicBezTo>
                <a:cubicBezTo>
                  <a:pt x="249" y="29"/>
                  <a:pt x="249" y="29"/>
                  <a:pt x="247" y="30"/>
                </a:cubicBezTo>
                <a:cubicBezTo>
                  <a:pt x="246" y="31"/>
                  <a:pt x="245" y="31"/>
                  <a:pt x="244" y="32"/>
                </a:cubicBezTo>
                <a:cubicBezTo>
                  <a:pt x="243" y="32"/>
                  <a:pt x="242" y="32"/>
                  <a:pt x="242" y="33"/>
                </a:cubicBezTo>
                <a:cubicBezTo>
                  <a:pt x="242" y="33"/>
                  <a:pt x="242" y="33"/>
                  <a:pt x="242" y="33"/>
                </a:cubicBezTo>
                <a:cubicBezTo>
                  <a:pt x="242" y="33"/>
                  <a:pt x="241" y="33"/>
                  <a:pt x="240" y="34"/>
                </a:cubicBezTo>
                <a:cubicBezTo>
                  <a:pt x="239" y="34"/>
                  <a:pt x="239" y="34"/>
                  <a:pt x="239" y="34"/>
                </a:cubicBezTo>
                <a:cubicBezTo>
                  <a:pt x="238" y="35"/>
                  <a:pt x="237" y="35"/>
                  <a:pt x="235" y="36"/>
                </a:cubicBezTo>
                <a:cubicBezTo>
                  <a:pt x="235" y="36"/>
                  <a:pt x="235" y="36"/>
                  <a:pt x="235" y="36"/>
                </a:cubicBezTo>
                <a:cubicBezTo>
                  <a:pt x="234" y="36"/>
                  <a:pt x="233" y="37"/>
                  <a:pt x="233" y="37"/>
                </a:cubicBezTo>
                <a:cubicBezTo>
                  <a:pt x="232" y="38"/>
                  <a:pt x="232" y="38"/>
                  <a:pt x="232" y="38"/>
                </a:cubicBezTo>
                <a:cubicBezTo>
                  <a:pt x="232" y="38"/>
                  <a:pt x="232" y="38"/>
                  <a:pt x="232" y="38"/>
                </a:cubicBezTo>
                <a:cubicBezTo>
                  <a:pt x="233" y="38"/>
                  <a:pt x="233" y="38"/>
                  <a:pt x="234" y="38"/>
                </a:cubicBezTo>
                <a:cubicBezTo>
                  <a:pt x="235" y="37"/>
                  <a:pt x="235" y="37"/>
                  <a:pt x="237" y="38"/>
                </a:cubicBezTo>
                <a:cubicBezTo>
                  <a:pt x="234" y="39"/>
                  <a:pt x="234" y="39"/>
                  <a:pt x="233" y="40"/>
                </a:cubicBezTo>
                <a:cubicBezTo>
                  <a:pt x="233" y="40"/>
                  <a:pt x="233" y="40"/>
                  <a:pt x="233" y="40"/>
                </a:cubicBezTo>
                <a:cubicBezTo>
                  <a:pt x="233" y="40"/>
                  <a:pt x="233" y="40"/>
                  <a:pt x="233" y="40"/>
                </a:cubicBezTo>
                <a:cubicBezTo>
                  <a:pt x="233" y="40"/>
                  <a:pt x="233" y="40"/>
                  <a:pt x="233" y="40"/>
                </a:cubicBezTo>
                <a:cubicBezTo>
                  <a:pt x="233" y="40"/>
                  <a:pt x="233" y="40"/>
                  <a:pt x="233" y="40"/>
                </a:cubicBezTo>
                <a:cubicBezTo>
                  <a:pt x="233" y="40"/>
                  <a:pt x="233" y="40"/>
                  <a:pt x="233" y="40"/>
                </a:cubicBezTo>
                <a:cubicBezTo>
                  <a:pt x="233" y="40"/>
                  <a:pt x="233" y="40"/>
                  <a:pt x="233" y="40"/>
                </a:cubicBezTo>
                <a:cubicBezTo>
                  <a:pt x="233" y="40"/>
                  <a:pt x="233" y="40"/>
                  <a:pt x="233" y="40"/>
                </a:cubicBezTo>
                <a:cubicBezTo>
                  <a:pt x="233" y="40"/>
                  <a:pt x="233" y="40"/>
                  <a:pt x="233" y="40"/>
                </a:cubicBezTo>
                <a:cubicBezTo>
                  <a:pt x="232" y="42"/>
                  <a:pt x="232" y="42"/>
                  <a:pt x="231" y="43"/>
                </a:cubicBezTo>
                <a:cubicBezTo>
                  <a:pt x="230" y="43"/>
                  <a:pt x="230" y="43"/>
                  <a:pt x="230" y="43"/>
                </a:cubicBezTo>
                <a:cubicBezTo>
                  <a:pt x="230" y="43"/>
                  <a:pt x="230" y="43"/>
                  <a:pt x="229" y="43"/>
                </a:cubicBezTo>
                <a:cubicBezTo>
                  <a:pt x="229" y="43"/>
                  <a:pt x="229" y="43"/>
                  <a:pt x="229" y="43"/>
                </a:cubicBezTo>
                <a:cubicBezTo>
                  <a:pt x="229" y="43"/>
                  <a:pt x="229" y="43"/>
                  <a:pt x="228" y="42"/>
                </a:cubicBezTo>
                <a:cubicBezTo>
                  <a:pt x="229" y="42"/>
                  <a:pt x="229" y="42"/>
                  <a:pt x="229" y="42"/>
                </a:cubicBezTo>
                <a:cubicBezTo>
                  <a:pt x="219" y="46"/>
                  <a:pt x="219" y="46"/>
                  <a:pt x="219" y="46"/>
                </a:cubicBezTo>
                <a:cubicBezTo>
                  <a:pt x="219" y="47"/>
                  <a:pt x="219" y="47"/>
                  <a:pt x="217" y="49"/>
                </a:cubicBezTo>
                <a:cubicBezTo>
                  <a:pt x="220" y="48"/>
                  <a:pt x="220" y="48"/>
                  <a:pt x="221" y="48"/>
                </a:cubicBezTo>
                <a:cubicBezTo>
                  <a:pt x="222" y="47"/>
                  <a:pt x="223" y="46"/>
                  <a:pt x="224" y="46"/>
                </a:cubicBezTo>
                <a:cubicBezTo>
                  <a:pt x="224" y="45"/>
                  <a:pt x="224" y="45"/>
                  <a:pt x="224" y="45"/>
                </a:cubicBezTo>
                <a:cubicBezTo>
                  <a:pt x="225" y="44"/>
                  <a:pt x="225" y="44"/>
                  <a:pt x="225" y="44"/>
                </a:cubicBezTo>
                <a:cubicBezTo>
                  <a:pt x="225" y="44"/>
                  <a:pt x="225" y="44"/>
                  <a:pt x="226" y="44"/>
                </a:cubicBezTo>
                <a:cubicBezTo>
                  <a:pt x="226" y="45"/>
                  <a:pt x="226" y="45"/>
                  <a:pt x="226" y="45"/>
                </a:cubicBezTo>
                <a:cubicBezTo>
                  <a:pt x="226" y="45"/>
                  <a:pt x="226" y="45"/>
                  <a:pt x="227" y="46"/>
                </a:cubicBezTo>
                <a:cubicBezTo>
                  <a:pt x="226" y="46"/>
                  <a:pt x="226" y="46"/>
                  <a:pt x="226" y="46"/>
                </a:cubicBezTo>
                <a:cubicBezTo>
                  <a:pt x="226" y="46"/>
                  <a:pt x="225" y="47"/>
                  <a:pt x="225" y="47"/>
                </a:cubicBezTo>
                <a:cubicBezTo>
                  <a:pt x="224" y="47"/>
                  <a:pt x="223" y="48"/>
                  <a:pt x="222" y="48"/>
                </a:cubicBezTo>
                <a:cubicBezTo>
                  <a:pt x="222" y="48"/>
                  <a:pt x="222" y="48"/>
                  <a:pt x="221" y="49"/>
                </a:cubicBezTo>
                <a:cubicBezTo>
                  <a:pt x="221" y="49"/>
                  <a:pt x="220" y="50"/>
                  <a:pt x="220" y="50"/>
                </a:cubicBezTo>
                <a:cubicBezTo>
                  <a:pt x="219" y="51"/>
                  <a:pt x="218" y="52"/>
                  <a:pt x="217" y="52"/>
                </a:cubicBezTo>
                <a:cubicBezTo>
                  <a:pt x="217" y="52"/>
                  <a:pt x="216" y="52"/>
                  <a:pt x="215" y="52"/>
                </a:cubicBezTo>
                <a:cubicBezTo>
                  <a:pt x="215" y="52"/>
                  <a:pt x="214" y="53"/>
                  <a:pt x="213" y="53"/>
                </a:cubicBezTo>
                <a:cubicBezTo>
                  <a:pt x="213" y="53"/>
                  <a:pt x="213" y="53"/>
                  <a:pt x="213" y="53"/>
                </a:cubicBezTo>
                <a:cubicBezTo>
                  <a:pt x="213" y="53"/>
                  <a:pt x="213" y="53"/>
                  <a:pt x="212" y="53"/>
                </a:cubicBezTo>
                <a:cubicBezTo>
                  <a:pt x="211" y="54"/>
                  <a:pt x="209" y="55"/>
                  <a:pt x="208" y="55"/>
                </a:cubicBezTo>
                <a:cubicBezTo>
                  <a:pt x="206" y="56"/>
                  <a:pt x="204" y="56"/>
                  <a:pt x="203" y="58"/>
                </a:cubicBezTo>
                <a:cubicBezTo>
                  <a:pt x="203" y="58"/>
                  <a:pt x="203" y="58"/>
                  <a:pt x="202" y="59"/>
                </a:cubicBezTo>
                <a:cubicBezTo>
                  <a:pt x="193" y="66"/>
                  <a:pt x="193" y="66"/>
                  <a:pt x="193" y="67"/>
                </a:cubicBezTo>
                <a:cubicBezTo>
                  <a:pt x="194" y="67"/>
                  <a:pt x="194" y="67"/>
                  <a:pt x="195" y="67"/>
                </a:cubicBezTo>
                <a:cubicBezTo>
                  <a:pt x="195" y="67"/>
                  <a:pt x="195" y="67"/>
                  <a:pt x="195" y="67"/>
                </a:cubicBezTo>
                <a:cubicBezTo>
                  <a:pt x="195" y="68"/>
                  <a:pt x="194" y="68"/>
                  <a:pt x="194" y="69"/>
                </a:cubicBezTo>
                <a:cubicBezTo>
                  <a:pt x="193" y="69"/>
                  <a:pt x="193" y="68"/>
                  <a:pt x="193" y="69"/>
                </a:cubicBezTo>
                <a:cubicBezTo>
                  <a:pt x="187" y="73"/>
                  <a:pt x="187" y="73"/>
                  <a:pt x="186" y="74"/>
                </a:cubicBezTo>
                <a:cubicBezTo>
                  <a:pt x="188" y="74"/>
                  <a:pt x="189" y="72"/>
                  <a:pt x="191" y="73"/>
                </a:cubicBezTo>
                <a:cubicBezTo>
                  <a:pt x="190" y="73"/>
                  <a:pt x="189" y="74"/>
                  <a:pt x="187" y="76"/>
                </a:cubicBezTo>
                <a:cubicBezTo>
                  <a:pt x="182" y="79"/>
                  <a:pt x="178" y="81"/>
                  <a:pt x="173" y="94"/>
                </a:cubicBezTo>
                <a:cubicBezTo>
                  <a:pt x="173" y="95"/>
                  <a:pt x="173" y="95"/>
                  <a:pt x="173" y="95"/>
                </a:cubicBezTo>
                <a:cubicBezTo>
                  <a:pt x="173" y="95"/>
                  <a:pt x="173" y="96"/>
                  <a:pt x="173" y="97"/>
                </a:cubicBezTo>
                <a:cubicBezTo>
                  <a:pt x="174" y="97"/>
                  <a:pt x="174" y="97"/>
                  <a:pt x="175" y="96"/>
                </a:cubicBezTo>
                <a:cubicBezTo>
                  <a:pt x="175" y="96"/>
                  <a:pt x="175" y="96"/>
                  <a:pt x="176" y="96"/>
                </a:cubicBezTo>
                <a:cubicBezTo>
                  <a:pt x="176" y="96"/>
                  <a:pt x="176" y="96"/>
                  <a:pt x="177" y="97"/>
                </a:cubicBezTo>
                <a:cubicBezTo>
                  <a:pt x="176" y="97"/>
                  <a:pt x="176" y="98"/>
                  <a:pt x="175" y="99"/>
                </a:cubicBezTo>
                <a:cubicBezTo>
                  <a:pt x="176" y="99"/>
                  <a:pt x="176" y="100"/>
                  <a:pt x="177" y="100"/>
                </a:cubicBezTo>
                <a:cubicBezTo>
                  <a:pt x="176" y="101"/>
                  <a:pt x="176" y="102"/>
                  <a:pt x="176" y="102"/>
                </a:cubicBezTo>
                <a:cubicBezTo>
                  <a:pt x="177" y="102"/>
                  <a:pt x="180" y="102"/>
                  <a:pt x="182" y="100"/>
                </a:cubicBezTo>
                <a:cubicBezTo>
                  <a:pt x="182" y="100"/>
                  <a:pt x="182" y="99"/>
                  <a:pt x="183" y="99"/>
                </a:cubicBezTo>
                <a:cubicBezTo>
                  <a:pt x="194" y="85"/>
                  <a:pt x="196" y="85"/>
                  <a:pt x="197" y="85"/>
                </a:cubicBezTo>
                <a:cubicBezTo>
                  <a:pt x="197" y="85"/>
                  <a:pt x="198" y="85"/>
                  <a:pt x="198" y="85"/>
                </a:cubicBezTo>
                <a:cubicBezTo>
                  <a:pt x="201" y="85"/>
                  <a:pt x="203" y="82"/>
                  <a:pt x="205" y="81"/>
                </a:cubicBezTo>
                <a:cubicBezTo>
                  <a:pt x="206" y="80"/>
                  <a:pt x="208" y="79"/>
                  <a:pt x="209" y="77"/>
                </a:cubicBezTo>
                <a:cubicBezTo>
                  <a:pt x="211" y="76"/>
                  <a:pt x="211" y="76"/>
                  <a:pt x="220" y="70"/>
                </a:cubicBezTo>
                <a:cubicBezTo>
                  <a:pt x="221" y="70"/>
                  <a:pt x="222" y="70"/>
                  <a:pt x="223" y="70"/>
                </a:cubicBezTo>
                <a:cubicBezTo>
                  <a:pt x="224" y="68"/>
                  <a:pt x="224" y="68"/>
                  <a:pt x="225" y="67"/>
                </a:cubicBezTo>
                <a:cubicBezTo>
                  <a:pt x="226" y="67"/>
                  <a:pt x="226" y="67"/>
                  <a:pt x="227" y="68"/>
                </a:cubicBezTo>
                <a:cubicBezTo>
                  <a:pt x="225" y="69"/>
                  <a:pt x="225" y="69"/>
                  <a:pt x="225" y="70"/>
                </a:cubicBezTo>
                <a:cubicBezTo>
                  <a:pt x="228" y="71"/>
                  <a:pt x="229" y="68"/>
                  <a:pt x="232" y="67"/>
                </a:cubicBezTo>
                <a:cubicBezTo>
                  <a:pt x="232" y="67"/>
                  <a:pt x="232" y="67"/>
                  <a:pt x="233" y="67"/>
                </a:cubicBezTo>
                <a:cubicBezTo>
                  <a:pt x="234" y="67"/>
                  <a:pt x="234" y="67"/>
                  <a:pt x="235" y="66"/>
                </a:cubicBezTo>
                <a:cubicBezTo>
                  <a:pt x="237" y="65"/>
                  <a:pt x="239" y="64"/>
                  <a:pt x="241" y="63"/>
                </a:cubicBezTo>
                <a:cubicBezTo>
                  <a:pt x="242" y="63"/>
                  <a:pt x="242" y="63"/>
                  <a:pt x="245" y="61"/>
                </a:cubicBezTo>
                <a:cubicBezTo>
                  <a:pt x="247" y="61"/>
                  <a:pt x="247" y="61"/>
                  <a:pt x="247" y="61"/>
                </a:cubicBezTo>
                <a:cubicBezTo>
                  <a:pt x="247" y="60"/>
                  <a:pt x="247" y="60"/>
                  <a:pt x="248" y="60"/>
                </a:cubicBezTo>
                <a:cubicBezTo>
                  <a:pt x="251" y="58"/>
                  <a:pt x="251" y="58"/>
                  <a:pt x="252" y="57"/>
                </a:cubicBezTo>
                <a:cubicBezTo>
                  <a:pt x="252" y="56"/>
                  <a:pt x="252" y="56"/>
                  <a:pt x="252" y="56"/>
                </a:cubicBezTo>
                <a:cubicBezTo>
                  <a:pt x="252" y="56"/>
                  <a:pt x="252" y="56"/>
                  <a:pt x="253" y="57"/>
                </a:cubicBezTo>
                <a:cubicBezTo>
                  <a:pt x="253" y="57"/>
                  <a:pt x="253" y="57"/>
                  <a:pt x="253" y="57"/>
                </a:cubicBezTo>
                <a:cubicBezTo>
                  <a:pt x="253" y="57"/>
                  <a:pt x="253" y="57"/>
                  <a:pt x="253" y="57"/>
                </a:cubicBezTo>
                <a:cubicBezTo>
                  <a:pt x="253" y="57"/>
                  <a:pt x="253" y="57"/>
                  <a:pt x="253" y="57"/>
                </a:cubicBezTo>
                <a:cubicBezTo>
                  <a:pt x="253" y="57"/>
                  <a:pt x="253" y="57"/>
                  <a:pt x="253" y="57"/>
                </a:cubicBezTo>
                <a:cubicBezTo>
                  <a:pt x="253" y="57"/>
                  <a:pt x="253" y="57"/>
                  <a:pt x="253" y="57"/>
                </a:cubicBezTo>
                <a:cubicBezTo>
                  <a:pt x="253" y="57"/>
                  <a:pt x="253" y="57"/>
                  <a:pt x="253" y="57"/>
                </a:cubicBezTo>
                <a:cubicBezTo>
                  <a:pt x="253" y="58"/>
                  <a:pt x="254" y="58"/>
                  <a:pt x="255" y="58"/>
                </a:cubicBezTo>
                <a:cubicBezTo>
                  <a:pt x="255" y="59"/>
                  <a:pt x="255" y="59"/>
                  <a:pt x="255" y="59"/>
                </a:cubicBezTo>
                <a:cubicBezTo>
                  <a:pt x="263" y="59"/>
                  <a:pt x="269" y="53"/>
                  <a:pt x="276" y="51"/>
                </a:cubicBezTo>
                <a:cubicBezTo>
                  <a:pt x="277" y="51"/>
                  <a:pt x="278" y="51"/>
                  <a:pt x="280" y="51"/>
                </a:cubicBezTo>
                <a:cubicBezTo>
                  <a:pt x="283" y="50"/>
                  <a:pt x="283" y="50"/>
                  <a:pt x="284" y="49"/>
                </a:cubicBezTo>
                <a:cubicBezTo>
                  <a:pt x="283" y="49"/>
                  <a:pt x="283" y="49"/>
                  <a:pt x="283" y="49"/>
                </a:cubicBezTo>
                <a:cubicBezTo>
                  <a:pt x="283" y="49"/>
                  <a:pt x="282" y="49"/>
                  <a:pt x="281" y="50"/>
                </a:cubicBezTo>
                <a:cubicBezTo>
                  <a:pt x="280" y="50"/>
                  <a:pt x="280" y="50"/>
                  <a:pt x="280" y="50"/>
                </a:cubicBezTo>
                <a:cubicBezTo>
                  <a:pt x="280" y="50"/>
                  <a:pt x="280" y="50"/>
                  <a:pt x="279" y="50"/>
                </a:cubicBezTo>
                <a:cubicBezTo>
                  <a:pt x="279" y="49"/>
                  <a:pt x="279" y="49"/>
                  <a:pt x="279" y="49"/>
                </a:cubicBezTo>
                <a:cubicBezTo>
                  <a:pt x="279" y="49"/>
                  <a:pt x="278" y="49"/>
                  <a:pt x="278" y="49"/>
                </a:cubicBezTo>
                <a:cubicBezTo>
                  <a:pt x="277" y="48"/>
                  <a:pt x="277" y="48"/>
                  <a:pt x="276" y="48"/>
                </a:cubicBezTo>
                <a:cubicBezTo>
                  <a:pt x="276" y="47"/>
                  <a:pt x="276" y="47"/>
                  <a:pt x="276" y="47"/>
                </a:cubicBezTo>
                <a:cubicBezTo>
                  <a:pt x="277" y="46"/>
                  <a:pt x="277" y="46"/>
                  <a:pt x="277" y="46"/>
                </a:cubicBezTo>
                <a:cubicBezTo>
                  <a:pt x="277" y="46"/>
                  <a:pt x="278" y="46"/>
                  <a:pt x="279" y="45"/>
                </a:cubicBezTo>
                <a:cubicBezTo>
                  <a:pt x="280" y="45"/>
                  <a:pt x="280" y="45"/>
                  <a:pt x="280" y="45"/>
                </a:cubicBezTo>
                <a:cubicBezTo>
                  <a:pt x="281" y="45"/>
                  <a:pt x="283" y="44"/>
                  <a:pt x="285" y="44"/>
                </a:cubicBezTo>
                <a:cubicBezTo>
                  <a:pt x="283" y="46"/>
                  <a:pt x="283" y="46"/>
                  <a:pt x="283" y="47"/>
                </a:cubicBezTo>
                <a:cubicBezTo>
                  <a:pt x="283" y="48"/>
                  <a:pt x="283" y="48"/>
                  <a:pt x="283" y="48"/>
                </a:cubicBezTo>
                <a:cubicBezTo>
                  <a:pt x="284" y="47"/>
                  <a:pt x="284" y="47"/>
                  <a:pt x="284" y="47"/>
                </a:cubicBezTo>
                <a:cubicBezTo>
                  <a:pt x="286" y="45"/>
                  <a:pt x="293" y="46"/>
                  <a:pt x="291" y="42"/>
                </a:cubicBezTo>
                <a:cubicBezTo>
                  <a:pt x="293" y="38"/>
                  <a:pt x="293" y="38"/>
                  <a:pt x="293" y="37"/>
                </a:cubicBezTo>
                <a:cubicBezTo>
                  <a:pt x="294" y="37"/>
                  <a:pt x="294" y="37"/>
                  <a:pt x="294" y="37"/>
                </a:cubicBezTo>
                <a:cubicBezTo>
                  <a:pt x="294" y="38"/>
                  <a:pt x="294" y="38"/>
                  <a:pt x="294" y="38"/>
                </a:cubicBezTo>
                <a:cubicBezTo>
                  <a:pt x="295" y="38"/>
                  <a:pt x="295" y="38"/>
                  <a:pt x="296" y="38"/>
                </a:cubicBezTo>
                <a:cubicBezTo>
                  <a:pt x="297" y="38"/>
                  <a:pt x="297" y="38"/>
                  <a:pt x="298" y="36"/>
                </a:cubicBezTo>
                <a:cubicBezTo>
                  <a:pt x="299" y="36"/>
                  <a:pt x="299" y="36"/>
                  <a:pt x="299" y="35"/>
                </a:cubicBezTo>
                <a:cubicBezTo>
                  <a:pt x="300" y="35"/>
                  <a:pt x="301" y="34"/>
                  <a:pt x="301" y="34"/>
                </a:cubicBezTo>
                <a:cubicBezTo>
                  <a:pt x="300" y="34"/>
                  <a:pt x="300" y="34"/>
                  <a:pt x="298" y="34"/>
                </a:cubicBezTo>
                <a:cubicBezTo>
                  <a:pt x="297" y="34"/>
                  <a:pt x="297" y="34"/>
                  <a:pt x="296" y="34"/>
                </a:cubicBezTo>
                <a:cubicBezTo>
                  <a:pt x="297" y="34"/>
                  <a:pt x="297" y="34"/>
                  <a:pt x="299" y="33"/>
                </a:cubicBezTo>
                <a:cubicBezTo>
                  <a:pt x="299" y="33"/>
                  <a:pt x="299" y="32"/>
                  <a:pt x="299" y="32"/>
                </a:cubicBezTo>
                <a:cubicBezTo>
                  <a:pt x="300" y="32"/>
                  <a:pt x="300" y="32"/>
                  <a:pt x="300" y="32"/>
                </a:cubicBezTo>
                <a:cubicBezTo>
                  <a:pt x="301" y="32"/>
                  <a:pt x="301" y="32"/>
                  <a:pt x="302" y="32"/>
                </a:cubicBezTo>
                <a:cubicBezTo>
                  <a:pt x="301" y="32"/>
                  <a:pt x="301" y="33"/>
                  <a:pt x="300" y="33"/>
                </a:cubicBezTo>
                <a:cubicBezTo>
                  <a:pt x="300" y="33"/>
                  <a:pt x="301" y="33"/>
                  <a:pt x="302" y="33"/>
                </a:cubicBezTo>
                <a:cubicBezTo>
                  <a:pt x="303" y="33"/>
                  <a:pt x="303" y="32"/>
                  <a:pt x="304" y="32"/>
                </a:cubicBezTo>
                <a:cubicBezTo>
                  <a:pt x="304" y="32"/>
                  <a:pt x="304" y="32"/>
                  <a:pt x="305" y="33"/>
                </a:cubicBezTo>
                <a:cubicBezTo>
                  <a:pt x="308" y="32"/>
                  <a:pt x="309" y="31"/>
                  <a:pt x="309" y="30"/>
                </a:cubicBezTo>
                <a:cubicBezTo>
                  <a:pt x="308" y="30"/>
                  <a:pt x="307" y="30"/>
                  <a:pt x="307" y="30"/>
                </a:cubicBezTo>
                <a:cubicBezTo>
                  <a:pt x="307" y="30"/>
                  <a:pt x="307" y="30"/>
                  <a:pt x="311" y="29"/>
                </a:cubicBezTo>
                <a:cubicBezTo>
                  <a:pt x="311" y="29"/>
                  <a:pt x="312" y="29"/>
                  <a:pt x="313" y="29"/>
                </a:cubicBezTo>
                <a:cubicBezTo>
                  <a:pt x="313" y="29"/>
                  <a:pt x="313" y="29"/>
                  <a:pt x="313" y="29"/>
                </a:cubicBezTo>
                <a:cubicBezTo>
                  <a:pt x="314" y="29"/>
                  <a:pt x="315" y="28"/>
                  <a:pt x="315" y="28"/>
                </a:cubicBezTo>
                <a:cubicBezTo>
                  <a:pt x="315" y="27"/>
                  <a:pt x="315" y="27"/>
                  <a:pt x="315" y="27"/>
                </a:cubicBezTo>
                <a:cubicBezTo>
                  <a:pt x="316" y="26"/>
                  <a:pt x="316" y="26"/>
                  <a:pt x="318" y="24"/>
                </a:cubicBezTo>
                <a:cubicBezTo>
                  <a:pt x="318" y="24"/>
                  <a:pt x="319" y="24"/>
                  <a:pt x="320" y="24"/>
                </a:cubicBezTo>
                <a:cubicBezTo>
                  <a:pt x="320" y="24"/>
                  <a:pt x="321" y="23"/>
                  <a:pt x="322" y="22"/>
                </a:cubicBezTo>
                <a:cubicBezTo>
                  <a:pt x="322" y="22"/>
                  <a:pt x="323" y="21"/>
                  <a:pt x="324" y="20"/>
                </a:cubicBezTo>
                <a:cubicBezTo>
                  <a:pt x="323" y="20"/>
                  <a:pt x="323" y="20"/>
                  <a:pt x="322" y="20"/>
                </a:cubicBezTo>
                <a:cubicBezTo>
                  <a:pt x="323" y="20"/>
                  <a:pt x="323" y="20"/>
                  <a:pt x="323" y="19"/>
                </a:cubicBezTo>
                <a:cubicBezTo>
                  <a:pt x="323" y="19"/>
                  <a:pt x="323" y="19"/>
                  <a:pt x="323" y="19"/>
                </a:cubicBezTo>
                <a:cubicBezTo>
                  <a:pt x="324" y="19"/>
                  <a:pt x="324" y="19"/>
                  <a:pt x="324" y="19"/>
                </a:cubicBezTo>
                <a:cubicBezTo>
                  <a:pt x="325" y="18"/>
                  <a:pt x="325" y="18"/>
                  <a:pt x="327" y="18"/>
                </a:cubicBezTo>
                <a:cubicBezTo>
                  <a:pt x="327" y="18"/>
                  <a:pt x="327" y="18"/>
                  <a:pt x="328" y="19"/>
                </a:cubicBezTo>
                <a:cubicBezTo>
                  <a:pt x="327" y="19"/>
                  <a:pt x="327" y="19"/>
                  <a:pt x="327" y="19"/>
                </a:cubicBezTo>
                <a:cubicBezTo>
                  <a:pt x="325" y="20"/>
                  <a:pt x="325" y="20"/>
                  <a:pt x="324" y="21"/>
                </a:cubicBezTo>
                <a:cubicBezTo>
                  <a:pt x="324" y="21"/>
                  <a:pt x="324" y="21"/>
                  <a:pt x="324" y="21"/>
                </a:cubicBezTo>
                <a:cubicBezTo>
                  <a:pt x="326" y="20"/>
                  <a:pt x="327" y="19"/>
                  <a:pt x="330" y="18"/>
                </a:cubicBezTo>
                <a:cubicBezTo>
                  <a:pt x="330" y="18"/>
                  <a:pt x="330" y="17"/>
                  <a:pt x="331" y="17"/>
                </a:cubicBezTo>
                <a:cubicBezTo>
                  <a:pt x="331" y="17"/>
                  <a:pt x="331" y="17"/>
                  <a:pt x="331" y="16"/>
                </a:cubicBezTo>
                <a:cubicBezTo>
                  <a:pt x="331" y="16"/>
                  <a:pt x="330" y="16"/>
                  <a:pt x="330" y="16"/>
                </a:cubicBezTo>
                <a:cubicBezTo>
                  <a:pt x="330" y="16"/>
                  <a:pt x="330" y="16"/>
                  <a:pt x="329" y="16"/>
                </a:cubicBezTo>
                <a:cubicBezTo>
                  <a:pt x="330" y="16"/>
                  <a:pt x="330" y="16"/>
                  <a:pt x="331" y="15"/>
                </a:cubicBezTo>
                <a:cubicBezTo>
                  <a:pt x="332" y="15"/>
                  <a:pt x="332" y="15"/>
                  <a:pt x="332" y="15"/>
                </a:cubicBezTo>
                <a:cubicBezTo>
                  <a:pt x="333" y="15"/>
                  <a:pt x="333" y="15"/>
                  <a:pt x="334" y="14"/>
                </a:cubicBezTo>
                <a:cubicBezTo>
                  <a:pt x="333" y="14"/>
                  <a:pt x="333" y="14"/>
                  <a:pt x="330" y="15"/>
                </a:cubicBezTo>
                <a:cubicBezTo>
                  <a:pt x="331" y="14"/>
                  <a:pt x="332" y="14"/>
                  <a:pt x="333" y="13"/>
                </a:cubicBezTo>
                <a:cubicBezTo>
                  <a:pt x="333" y="13"/>
                  <a:pt x="333" y="13"/>
                  <a:pt x="338" y="11"/>
                </a:cubicBezTo>
                <a:cubicBezTo>
                  <a:pt x="339" y="11"/>
                  <a:pt x="339" y="11"/>
                  <a:pt x="339" y="11"/>
                </a:cubicBezTo>
                <a:cubicBezTo>
                  <a:pt x="340" y="10"/>
                  <a:pt x="340" y="10"/>
                  <a:pt x="342" y="10"/>
                </a:cubicBezTo>
                <a:cubicBezTo>
                  <a:pt x="342" y="10"/>
                  <a:pt x="342" y="10"/>
                  <a:pt x="343" y="10"/>
                </a:cubicBezTo>
                <a:cubicBezTo>
                  <a:pt x="343" y="10"/>
                  <a:pt x="346" y="8"/>
                  <a:pt x="353" y="6"/>
                </a:cubicBezTo>
                <a:cubicBezTo>
                  <a:pt x="354" y="6"/>
                  <a:pt x="354" y="6"/>
                  <a:pt x="354" y="6"/>
                </a:cubicBezTo>
                <a:cubicBezTo>
                  <a:pt x="354" y="6"/>
                  <a:pt x="353" y="6"/>
                  <a:pt x="352" y="6"/>
                </a:cubicBezTo>
                <a:cubicBezTo>
                  <a:pt x="352" y="6"/>
                  <a:pt x="352" y="6"/>
                  <a:pt x="352" y="6"/>
                </a:cubicBezTo>
                <a:cubicBezTo>
                  <a:pt x="353" y="6"/>
                  <a:pt x="354" y="6"/>
                  <a:pt x="354" y="6"/>
                </a:cubicBezTo>
                <a:cubicBezTo>
                  <a:pt x="355" y="6"/>
                  <a:pt x="355" y="6"/>
                  <a:pt x="355" y="6"/>
                </a:cubicBezTo>
                <a:cubicBezTo>
                  <a:pt x="356" y="5"/>
                  <a:pt x="358" y="5"/>
                  <a:pt x="359" y="5"/>
                </a:cubicBezTo>
                <a:cubicBezTo>
                  <a:pt x="359" y="5"/>
                  <a:pt x="359" y="5"/>
                  <a:pt x="360" y="5"/>
                </a:cubicBezTo>
                <a:cubicBezTo>
                  <a:pt x="361" y="5"/>
                  <a:pt x="361" y="5"/>
                  <a:pt x="363" y="4"/>
                </a:cubicBezTo>
                <a:moveTo>
                  <a:pt x="346" y="1"/>
                </a:moveTo>
                <a:cubicBezTo>
                  <a:pt x="347" y="1"/>
                  <a:pt x="348" y="1"/>
                  <a:pt x="349" y="1"/>
                </a:cubicBezTo>
                <a:cubicBezTo>
                  <a:pt x="347" y="1"/>
                  <a:pt x="347" y="1"/>
                  <a:pt x="347" y="1"/>
                </a:cubicBezTo>
                <a:cubicBezTo>
                  <a:pt x="348" y="1"/>
                  <a:pt x="348" y="1"/>
                  <a:pt x="348" y="1"/>
                </a:cubicBezTo>
                <a:cubicBezTo>
                  <a:pt x="351" y="0"/>
                  <a:pt x="351" y="0"/>
                  <a:pt x="351" y="0"/>
                </a:cubicBezTo>
                <a:cubicBezTo>
                  <a:pt x="354" y="0"/>
                  <a:pt x="354" y="0"/>
                  <a:pt x="354" y="0"/>
                </a:cubicBezTo>
                <a:cubicBezTo>
                  <a:pt x="352" y="0"/>
                  <a:pt x="352" y="0"/>
                  <a:pt x="352" y="0"/>
                </a:cubicBezTo>
                <a:cubicBezTo>
                  <a:pt x="352" y="0"/>
                  <a:pt x="352" y="0"/>
                  <a:pt x="352" y="0"/>
                </a:cubicBezTo>
                <a:cubicBezTo>
                  <a:pt x="350" y="0"/>
                  <a:pt x="350" y="0"/>
                  <a:pt x="350" y="0"/>
                </a:cubicBezTo>
                <a:cubicBezTo>
                  <a:pt x="353" y="0"/>
                  <a:pt x="353" y="0"/>
                  <a:pt x="353" y="0"/>
                </a:cubicBezTo>
                <a:cubicBezTo>
                  <a:pt x="353" y="0"/>
                  <a:pt x="353" y="0"/>
                  <a:pt x="353" y="0"/>
                </a:cubicBezTo>
                <a:cubicBezTo>
                  <a:pt x="353" y="0"/>
                  <a:pt x="354" y="0"/>
                  <a:pt x="355" y="0"/>
                </a:cubicBezTo>
                <a:cubicBezTo>
                  <a:pt x="355" y="0"/>
                  <a:pt x="356" y="0"/>
                  <a:pt x="356" y="0"/>
                </a:cubicBezTo>
                <a:cubicBezTo>
                  <a:pt x="355" y="0"/>
                  <a:pt x="353" y="0"/>
                  <a:pt x="352" y="0"/>
                </a:cubicBezTo>
                <a:cubicBezTo>
                  <a:pt x="353" y="0"/>
                  <a:pt x="353" y="0"/>
                  <a:pt x="354" y="0"/>
                </a:cubicBezTo>
                <a:cubicBezTo>
                  <a:pt x="353" y="0"/>
                  <a:pt x="352" y="0"/>
                  <a:pt x="351" y="0"/>
                </a:cubicBezTo>
                <a:cubicBezTo>
                  <a:pt x="352" y="0"/>
                  <a:pt x="353" y="0"/>
                  <a:pt x="355" y="0"/>
                </a:cubicBezTo>
                <a:cubicBezTo>
                  <a:pt x="355" y="0"/>
                  <a:pt x="355" y="0"/>
                  <a:pt x="355" y="0"/>
                </a:cubicBezTo>
                <a:cubicBezTo>
                  <a:pt x="354" y="0"/>
                  <a:pt x="352" y="0"/>
                  <a:pt x="349" y="0"/>
                </a:cubicBezTo>
                <a:cubicBezTo>
                  <a:pt x="349" y="0"/>
                  <a:pt x="349" y="0"/>
                  <a:pt x="349" y="0"/>
                </a:cubicBezTo>
                <a:cubicBezTo>
                  <a:pt x="350" y="0"/>
                  <a:pt x="351" y="0"/>
                  <a:pt x="352" y="0"/>
                </a:cubicBezTo>
                <a:cubicBezTo>
                  <a:pt x="352" y="0"/>
                  <a:pt x="352" y="0"/>
                  <a:pt x="352" y="0"/>
                </a:cubicBezTo>
                <a:cubicBezTo>
                  <a:pt x="349" y="0"/>
                  <a:pt x="349" y="0"/>
                  <a:pt x="349" y="0"/>
                </a:cubicBezTo>
                <a:cubicBezTo>
                  <a:pt x="349" y="0"/>
                  <a:pt x="349" y="0"/>
                  <a:pt x="349" y="0"/>
                </a:cubicBezTo>
                <a:cubicBezTo>
                  <a:pt x="350" y="0"/>
                  <a:pt x="350" y="0"/>
                  <a:pt x="350" y="0"/>
                </a:cubicBezTo>
                <a:cubicBezTo>
                  <a:pt x="349" y="0"/>
                  <a:pt x="348" y="0"/>
                  <a:pt x="347" y="0"/>
                </a:cubicBezTo>
                <a:cubicBezTo>
                  <a:pt x="344" y="0"/>
                  <a:pt x="344" y="0"/>
                  <a:pt x="344" y="0"/>
                </a:cubicBezTo>
                <a:cubicBezTo>
                  <a:pt x="344" y="0"/>
                  <a:pt x="344" y="0"/>
                  <a:pt x="344" y="0"/>
                </a:cubicBezTo>
                <a:cubicBezTo>
                  <a:pt x="341" y="1"/>
                  <a:pt x="339" y="1"/>
                  <a:pt x="336" y="1"/>
                </a:cubicBezTo>
                <a:cubicBezTo>
                  <a:pt x="337" y="1"/>
                  <a:pt x="339" y="1"/>
                  <a:pt x="340" y="1"/>
                </a:cubicBezTo>
                <a:cubicBezTo>
                  <a:pt x="340" y="1"/>
                  <a:pt x="340" y="1"/>
                  <a:pt x="340" y="1"/>
                </a:cubicBezTo>
                <a:cubicBezTo>
                  <a:pt x="341" y="1"/>
                  <a:pt x="343" y="1"/>
                  <a:pt x="345" y="0"/>
                </a:cubicBezTo>
                <a:cubicBezTo>
                  <a:pt x="344" y="0"/>
                  <a:pt x="344" y="0"/>
                  <a:pt x="344" y="0"/>
                </a:cubicBezTo>
                <a:cubicBezTo>
                  <a:pt x="346" y="0"/>
                  <a:pt x="346" y="0"/>
                  <a:pt x="346" y="0"/>
                </a:cubicBezTo>
                <a:cubicBezTo>
                  <a:pt x="346" y="0"/>
                  <a:pt x="346" y="0"/>
                  <a:pt x="346" y="0"/>
                </a:cubicBezTo>
                <a:cubicBezTo>
                  <a:pt x="343" y="0"/>
                  <a:pt x="341" y="1"/>
                  <a:pt x="339" y="1"/>
                </a:cubicBezTo>
                <a:cubicBezTo>
                  <a:pt x="339" y="1"/>
                  <a:pt x="339" y="1"/>
                  <a:pt x="339" y="1"/>
                </a:cubicBezTo>
                <a:cubicBezTo>
                  <a:pt x="341" y="1"/>
                  <a:pt x="341" y="1"/>
                  <a:pt x="341" y="1"/>
                </a:cubicBezTo>
                <a:cubicBezTo>
                  <a:pt x="341" y="1"/>
                  <a:pt x="341" y="1"/>
                  <a:pt x="341" y="1"/>
                </a:cubicBezTo>
                <a:cubicBezTo>
                  <a:pt x="341" y="1"/>
                  <a:pt x="341" y="1"/>
                  <a:pt x="337" y="1"/>
                </a:cubicBezTo>
                <a:cubicBezTo>
                  <a:pt x="337" y="1"/>
                  <a:pt x="337" y="1"/>
                  <a:pt x="337" y="1"/>
                </a:cubicBezTo>
                <a:cubicBezTo>
                  <a:pt x="337" y="1"/>
                  <a:pt x="337" y="1"/>
                  <a:pt x="337" y="1"/>
                </a:cubicBezTo>
                <a:cubicBezTo>
                  <a:pt x="335" y="1"/>
                  <a:pt x="335" y="1"/>
                  <a:pt x="335" y="1"/>
                </a:cubicBezTo>
                <a:cubicBezTo>
                  <a:pt x="335" y="1"/>
                  <a:pt x="335" y="1"/>
                  <a:pt x="335" y="1"/>
                </a:cubicBezTo>
                <a:cubicBezTo>
                  <a:pt x="332" y="1"/>
                  <a:pt x="332" y="1"/>
                  <a:pt x="332" y="1"/>
                </a:cubicBezTo>
                <a:cubicBezTo>
                  <a:pt x="332" y="1"/>
                  <a:pt x="332" y="1"/>
                  <a:pt x="332" y="1"/>
                </a:cubicBezTo>
                <a:cubicBezTo>
                  <a:pt x="331" y="2"/>
                  <a:pt x="331" y="2"/>
                  <a:pt x="331" y="2"/>
                </a:cubicBezTo>
                <a:cubicBezTo>
                  <a:pt x="327" y="2"/>
                  <a:pt x="327" y="2"/>
                  <a:pt x="327" y="2"/>
                </a:cubicBezTo>
                <a:cubicBezTo>
                  <a:pt x="321" y="3"/>
                  <a:pt x="321" y="3"/>
                  <a:pt x="320" y="3"/>
                </a:cubicBezTo>
                <a:cubicBezTo>
                  <a:pt x="324" y="2"/>
                  <a:pt x="324" y="2"/>
                  <a:pt x="324" y="2"/>
                </a:cubicBezTo>
                <a:cubicBezTo>
                  <a:pt x="326" y="2"/>
                  <a:pt x="326" y="2"/>
                  <a:pt x="326" y="2"/>
                </a:cubicBezTo>
                <a:cubicBezTo>
                  <a:pt x="327" y="2"/>
                  <a:pt x="327" y="2"/>
                  <a:pt x="327" y="2"/>
                </a:cubicBezTo>
                <a:cubicBezTo>
                  <a:pt x="324" y="2"/>
                  <a:pt x="324" y="2"/>
                  <a:pt x="324" y="2"/>
                </a:cubicBezTo>
                <a:cubicBezTo>
                  <a:pt x="320" y="3"/>
                  <a:pt x="320" y="3"/>
                  <a:pt x="320" y="3"/>
                </a:cubicBezTo>
                <a:cubicBezTo>
                  <a:pt x="316" y="4"/>
                  <a:pt x="316" y="4"/>
                  <a:pt x="316" y="4"/>
                </a:cubicBezTo>
                <a:cubicBezTo>
                  <a:pt x="317" y="4"/>
                  <a:pt x="317" y="4"/>
                  <a:pt x="317" y="4"/>
                </a:cubicBezTo>
                <a:cubicBezTo>
                  <a:pt x="316" y="4"/>
                  <a:pt x="316" y="4"/>
                  <a:pt x="316" y="4"/>
                </a:cubicBezTo>
                <a:cubicBezTo>
                  <a:pt x="318" y="3"/>
                  <a:pt x="319" y="3"/>
                  <a:pt x="321" y="3"/>
                </a:cubicBezTo>
                <a:cubicBezTo>
                  <a:pt x="320" y="3"/>
                  <a:pt x="320" y="3"/>
                  <a:pt x="320" y="3"/>
                </a:cubicBezTo>
                <a:cubicBezTo>
                  <a:pt x="320" y="3"/>
                  <a:pt x="320" y="3"/>
                  <a:pt x="320" y="3"/>
                </a:cubicBezTo>
                <a:cubicBezTo>
                  <a:pt x="323" y="3"/>
                  <a:pt x="323" y="3"/>
                  <a:pt x="323" y="3"/>
                </a:cubicBezTo>
                <a:cubicBezTo>
                  <a:pt x="326" y="2"/>
                  <a:pt x="326" y="2"/>
                  <a:pt x="326" y="2"/>
                </a:cubicBezTo>
                <a:cubicBezTo>
                  <a:pt x="328" y="2"/>
                  <a:pt x="329" y="2"/>
                  <a:pt x="331" y="2"/>
                </a:cubicBezTo>
                <a:cubicBezTo>
                  <a:pt x="330" y="2"/>
                  <a:pt x="330" y="2"/>
                  <a:pt x="330" y="2"/>
                </a:cubicBezTo>
                <a:cubicBezTo>
                  <a:pt x="330" y="2"/>
                  <a:pt x="330" y="2"/>
                  <a:pt x="330" y="2"/>
                </a:cubicBezTo>
                <a:cubicBezTo>
                  <a:pt x="328" y="2"/>
                  <a:pt x="326" y="3"/>
                  <a:pt x="324" y="3"/>
                </a:cubicBezTo>
                <a:cubicBezTo>
                  <a:pt x="324" y="3"/>
                  <a:pt x="324" y="3"/>
                  <a:pt x="324" y="3"/>
                </a:cubicBezTo>
                <a:cubicBezTo>
                  <a:pt x="323" y="3"/>
                  <a:pt x="323" y="3"/>
                  <a:pt x="323" y="3"/>
                </a:cubicBezTo>
                <a:cubicBezTo>
                  <a:pt x="323" y="3"/>
                  <a:pt x="323" y="3"/>
                  <a:pt x="323" y="3"/>
                </a:cubicBezTo>
                <a:cubicBezTo>
                  <a:pt x="321" y="3"/>
                  <a:pt x="321" y="3"/>
                  <a:pt x="321" y="3"/>
                </a:cubicBezTo>
                <a:cubicBezTo>
                  <a:pt x="321" y="3"/>
                  <a:pt x="321" y="3"/>
                  <a:pt x="321" y="3"/>
                </a:cubicBezTo>
                <a:cubicBezTo>
                  <a:pt x="320" y="3"/>
                  <a:pt x="320" y="3"/>
                  <a:pt x="320" y="3"/>
                </a:cubicBezTo>
                <a:cubicBezTo>
                  <a:pt x="319" y="3"/>
                  <a:pt x="319" y="3"/>
                  <a:pt x="319" y="3"/>
                </a:cubicBezTo>
                <a:cubicBezTo>
                  <a:pt x="318" y="3"/>
                  <a:pt x="317" y="4"/>
                  <a:pt x="317" y="4"/>
                </a:cubicBezTo>
                <a:cubicBezTo>
                  <a:pt x="317" y="4"/>
                  <a:pt x="317" y="4"/>
                  <a:pt x="317" y="4"/>
                </a:cubicBezTo>
                <a:cubicBezTo>
                  <a:pt x="316" y="4"/>
                  <a:pt x="316" y="4"/>
                  <a:pt x="316" y="4"/>
                </a:cubicBezTo>
                <a:cubicBezTo>
                  <a:pt x="315" y="4"/>
                  <a:pt x="314" y="4"/>
                  <a:pt x="313" y="4"/>
                </a:cubicBezTo>
                <a:cubicBezTo>
                  <a:pt x="312" y="4"/>
                  <a:pt x="312" y="4"/>
                  <a:pt x="312" y="4"/>
                </a:cubicBezTo>
                <a:cubicBezTo>
                  <a:pt x="310" y="5"/>
                  <a:pt x="310" y="5"/>
                  <a:pt x="310" y="5"/>
                </a:cubicBezTo>
                <a:cubicBezTo>
                  <a:pt x="307" y="5"/>
                  <a:pt x="307" y="5"/>
                  <a:pt x="307" y="5"/>
                </a:cubicBezTo>
                <a:cubicBezTo>
                  <a:pt x="306" y="5"/>
                  <a:pt x="306" y="5"/>
                  <a:pt x="306" y="5"/>
                </a:cubicBezTo>
                <a:cubicBezTo>
                  <a:pt x="306" y="6"/>
                  <a:pt x="306" y="6"/>
                  <a:pt x="306" y="6"/>
                </a:cubicBezTo>
                <a:cubicBezTo>
                  <a:pt x="308" y="4"/>
                  <a:pt x="311" y="5"/>
                  <a:pt x="314" y="4"/>
                </a:cubicBezTo>
                <a:cubicBezTo>
                  <a:pt x="315" y="4"/>
                  <a:pt x="315" y="4"/>
                  <a:pt x="315" y="4"/>
                </a:cubicBezTo>
                <a:cubicBezTo>
                  <a:pt x="312" y="4"/>
                  <a:pt x="312" y="4"/>
                  <a:pt x="312" y="4"/>
                </a:cubicBezTo>
                <a:cubicBezTo>
                  <a:pt x="309" y="5"/>
                  <a:pt x="309" y="5"/>
                  <a:pt x="309" y="5"/>
                </a:cubicBezTo>
                <a:cubicBezTo>
                  <a:pt x="305" y="5"/>
                  <a:pt x="305" y="5"/>
                  <a:pt x="305" y="5"/>
                </a:cubicBezTo>
                <a:cubicBezTo>
                  <a:pt x="300" y="6"/>
                  <a:pt x="300" y="6"/>
                  <a:pt x="300" y="6"/>
                </a:cubicBezTo>
                <a:cubicBezTo>
                  <a:pt x="298" y="7"/>
                  <a:pt x="298" y="7"/>
                  <a:pt x="298" y="7"/>
                </a:cubicBezTo>
                <a:cubicBezTo>
                  <a:pt x="297" y="7"/>
                  <a:pt x="296" y="7"/>
                  <a:pt x="294" y="8"/>
                </a:cubicBezTo>
                <a:cubicBezTo>
                  <a:pt x="293" y="8"/>
                  <a:pt x="292" y="8"/>
                  <a:pt x="291" y="9"/>
                </a:cubicBezTo>
                <a:cubicBezTo>
                  <a:pt x="296" y="7"/>
                  <a:pt x="296" y="7"/>
                  <a:pt x="296" y="7"/>
                </a:cubicBezTo>
                <a:cubicBezTo>
                  <a:pt x="297" y="7"/>
                  <a:pt x="297" y="7"/>
                  <a:pt x="297" y="7"/>
                </a:cubicBezTo>
                <a:cubicBezTo>
                  <a:pt x="296" y="7"/>
                  <a:pt x="296" y="7"/>
                  <a:pt x="296" y="7"/>
                </a:cubicBezTo>
                <a:cubicBezTo>
                  <a:pt x="295" y="7"/>
                  <a:pt x="295" y="7"/>
                  <a:pt x="295" y="7"/>
                </a:cubicBezTo>
                <a:cubicBezTo>
                  <a:pt x="293" y="8"/>
                  <a:pt x="293" y="8"/>
                  <a:pt x="293" y="8"/>
                </a:cubicBezTo>
                <a:cubicBezTo>
                  <a:pt x="292" y="8"/>
                  <a:pt x="291" y="8"/>
                  <a:pt x="290" y="9"/>
                </a:cubicBezTo>
                <a:cubicBezTo>
                  <a:pt x="287" y="9"/>
                  <a:pt x="287" y="9"/>
                  <a:pt x="287" y="9"/>
                </a:cubicBezTo>
                <a:cubicBezTo>
                  <a:pt x="286" y="9"/>
                  <a:pt x="286" y="9"/>
                  <a:pt x="286" y="9"/>
                </a:cubicBezTo>
                <a:cubicBezTo>
                  <a:pt x="286" y="9"/>
                  <a:pt x="286" y="9"/>
                  <a:pt x="286" y="9"/>
                </a:cubicBezTo>
                <a:cubicBezTo>
                  <a:pt x="287" y="9"/>
                  <a:pt x="287" y="9"/>
                  <a:pt x="287" y="9"/>
                </a:cubicBezTo>
                <a:cubicBezTo>
                  <a:pt x="284" y="10"/>
                  <a:pt x="284" y="10"/>
                  <a:pt x="284" y="10"/>
                </a:cubicBezTo>
                <a:cubicBezTo>
                  <a:pt x="281" y="11"/>
                  <a:pt x="281" y="11"/>
                  <a:pt x="281" y="11"/>
                </a:cubicBezTo>
                <a:cubicBezTo>
                  <a:pt x="281" y="11"/>
                  <a:pt x="281" y="11"/>
                  <a:pt x="281" y="11"/>
                </a:cubicBezTo>
                <a:cubicBezTo>
                  <a:pt x="282" y="11"/>
                  <a:pt x="284" y="10"/>
                  <a:pt x="285" y="10"/>
                </a:cubicBezTo>
                <a:cubicBezTo>
                  <a:pt x="282" y="11"/>
                  <a:pt x="282" y="11"/>
                  <a:pt x="282" y="11"/>
                </a:cubicBezTo>
                <a:cubicBezTo>
                  <a:pt x="278" y="11"/>
                  <a:pt x="278" y="11"/>
                  <a:pt x="278" y="11"/>
                </a:cubicBezTo>
                <a:cubicBezTo>
                  <a:pt x="278" y="12"/>
                  <a:pt x="278" y="12"/>
                  <a:pt x="278" y="12"/>
                </a:cubicBezTo>
                <a:cubicBezTo>
                  <a:pt x="280" y="11"/>
                  <a:pt x="282" y="11"/>
                  <a:pt x="283" y="10"/>
                </a:cubicBezTo>
                <a:cubicBezTo>
                  <a:pt x="280" y="11"/>
                  <a:pt x="277" y="12"/>
                  <a:pt x="274" y="12"/>
                </a:cubicBezTo>
                <a:cubicBezTo>
                  <a:pt x="271" y="13"/>
                  <a:pt x="271" y="13"/>
                  <a:pt x="271" y="13"/>
                </a:cubicBezTo>
                <a:cubicBezTo>
                  <a:pt x="267" y="14"/>
                  <a:pt x="267" y="14"/>
                  <a:pt x="267" y="14"/>
                </a:cubicBezTo>
                <a:cubicBezTo>
                  <a:pt x="265" y="15"/>
                  <a:pt x="265" y="15"/>
                  <a:pt x="265" y="15"/>
                </a:cubicBezTo>
                <a:cubicBezTo>
                  <a:pt x="265" y="15"/>
                  <a:pt x="266" y="15"/>
                  <a:pt x="267" y="15"/>
                </a:cubicBezTo>
                <a:cubicBezTo>
                  <a:pt x="266" y="15"/>
                  <a:pt x="265" y="15"/>
                  <a:pt x="265" y="15"/>
                </a:cubicBezTo>
                <a:cubicBezTo>
                  <a:pt x="266" y="15"/>
                  <a:pt x="267" y="15"/>
                  <a:pt x="267" y="14"/>
                </a:cubicBezTo>
                <a:cubicBezTo>
                  <a:pt x="266" y="15"/>
                  <a:pt x="266" y="15"/>
                  <a:pt x="266" y="15"/>
                </a:cubicBezTo>
                <a:cubicBezTo>
                  <a:pt x="266" y="15"/>
                  <a:pt x="266" y="15"/>
                  <a:pt x="267" y="15"/>
                </a:cubicBezTo>
                <a:cubicBezTo>
                  <a:pt x="267" y="15"/>
                  <a:pt x="267" y="15"/>
                  <a:pt x="267" y="15"/>
                </a:cubicBezTo>
                <a:cubicBezTo>
                  <a:pt x="264" y="16"/>
                  <a:pt x="264" y="16"/>
                  <a:pt x="263" y="16"/>
                </a:cubicBezTo>
                <a:cubicBezTo>
                  <a:pt x="264" y="16"/>
                  <a:pt x="264" y="16"/>
                  <a:pt x="264" y="16"/>
                </a:cubicBezTo>
                <a:cubicBezTo>
                  <a:pt x="264" y="16"/>
                  <a:pt x="264" y="16"/>
                  <a:pt x="264" y="16"/>
                </a:cubicBezTo>
                <a:cubicBezTo>
                  <a:pt x="268" y="15"/>
                  <a:pt x="268" y="15"/>
                  <a:pt x="271" y="14"/>
                </a:cubicBezTo>
                <a:cubicBezTo>
                  <a:pt x="274" y="13"/>
                  <a:pt x="274" y="13"/>
                  <a:pt x="274" y="13"/>
                </a:cubicBezTo>
                <a:cubicBezTo>
                  <a:pt x="272" y="14"/>
                  <a:pt x="272" y="14"/>
                  <a:pt x="272" y="14"/>
                </a:cubicBezTo>
                <a:cubicBezTo>
                  <a:pt x="276" y="12"/>
                  <a:pt x="276" y="12"/>
                  <a:pt x="276" y="12"/>
                </a:cubicBezTo>
                <a:cubicBezTo>
                  <a:pt x="277" y="12"/>
                  <a:pt x="277" y="12"/>
                  <a:pt x="277" y="12"/>
                </a:cubicBezTo>
                <a:cubicBezTo>
                  <a:pt x="281" y="11"/>
                  <a:pt x="281" y="11"/>
                  <a:pt x="281" y="11"/>
                </a:cubicBezTo>
                <a:cubicBezTo>
                  <a:pt x="285" y="10"/>
                  <a:pt x="285" y="10"/>
                  <a:pt x="285" y="10"/>
                </a:cubicBezTo>
                <a:cubicBezTo>
                  <a:pt x="285" y="10"/>
                  <a:pt x="285" y="10"/>
                  <a:pt x="285" y="10"/>
                </a:cubicBezTo>
                <a:cubicBezTo>
                  <a:pt x="285" y="10"/>
                  <a:pt x="285" y="10"/>
                  <a:pt x="285" y="10"/>
                </a:cubicBezTo>
                <a:cubicBezTo>
                  <a:pt x="288" y="10"/>
                  <a:pt x="291" y="9"/>
                  <a:pt x="293" y="8"/>
                </a:cubicBezTo>
                <a:cubicBezTo>
                  <a:pt x="294" y="8"/>
                  <a:pt x="294" y="8"/>
                  <a:pt x="294" y="8"/>
                </a:cubicBezTo>
                <a:cubicBezTo>
                  <a:pt x="294" y="8"/>
                  <a:pt x="299" y="7"/>
                  <a:pt x="300" y="7"/>
                </a:cubicBezTo>
                <a:cubicBezTo>
                  <a:pt x="297" y="7"/>
                  <a:pt x="297" y="7"/>
                  <a:pt x="297" y="7"/>
                </a:cubicBezTo>
                <a:cubicBezTo>
                  <a:pt x="296" y="8"/>
                  <a:pt x="296" y="8"/>
                  <a:pt x="296" y="8"/>
                </a:cubicBezTo>
                <a:cubicBezTo>
                  <a:pt x="299" y="7"/>
                  <a:pt x="299" y="7"/>
                  <a:pt x="299" y="7"/>
                </a:cubicBezTo>
                <a:cubicBezTo>
                  <a:pt x="300" y="7"/>
                  <a:pt x="302" y="6"/>
                  <a:pt x="304" y="6"/>
                </a:cubicBezTo>
                <a:cubicBezTo>
                  <a:pt x="304" y="6"/>
                  <a:pt x="304" y="6"/>
                  <a:pt x="304" y="6"/>
                </a:cubicBezTo>
                <a:cubicBezTo>
                  <a:pt x="302" y="7"/>
                  <a:pt x="302" y="7"/>
                  <a:pt x="302" y="7"/>
                </a:cubicBezTo>
                <a:cubicBezTo>
                  <a:pt x="301" y="7"/>
                  <a:pt x="301" y="7"/>
                  <a:pt x="301" y="7"/>
                </a:cubicBezTo>
                <a:cubicBezTo>
                  <a:pt x="302" y="7"/>
                  <a:pt x="304" y="6"/>
                  <a:pt x="305" y="6"/>
                </a:cubicBezTo>
                <a:cubicBezTo>
                  <a:pt x="309" y="5"/>
                  <a:pt x="309" y="5"/>
                  <a:pt x="309" y="5"/>
                </a:cubicBezTo>
                <a:cubicBezTo>
                  <a:pt x="309" y="5"/>
                  <a:pt x="309" y="5"/>
                  <a:pt x="309" y="5"/>
                </a:cubicBezTo>
                <a:cubicBezTo>
                  <a:pt x="307" y="6"/>
                  <a:pt x="307" y="6"/>
                  <a:pt x="307" y="6"/>
                </a:cubicBezTo>
                <a:cubicBezTo>
                  <a:pt x="307" y="6"/>
                  <a:pt x="307" y="6"/>
                  <a:pt x="307" y="6"/>
                </a:cubicBezTo>
                <a:cubicBezTo>
                  <a:pt x="309" y="6"/>
                  <a:pt x="309" y="6"/>
                  <a:pt x="309" y="6"/>
                </a:cubicBezTo>
                <a:cubicBezTo>
                  <a:pt x="314" y="5"/>
                  <a:pt x="314" y="5"/>
                  <a:pt x="314" y="5"/>
                </a:cubicBezTo>
                <a:cubicBezTo>
                  <a:pt x="315" y="4"/>
                  <a:pt x="315" y="4"/>
                  <a:pt x="315" y="4"/>
                </a:cubicBezTo>
                <a:cubicBezTo>
                  <a:pt x="315" y="5"/>
                  <a:pt x="315" y="5"/>
                  <a:pt x="315" y="5"/>
                </a:cubicBezTo>
                <a:cubicBezTo>
                  <a:pt x="315" y="5"/>
                  <a:pt x="315" y="5"/>
                  <a:pt x="315" y="5"/>
                </a:cubicBezTo>
                <a:cubicBezTo>
                  <a:pt x="318" y="4"/>
                  <a:pt x="318" y="4"/>
                  <a:pt x="318" y="4"/>
                </a:cubicBezTo>
                <a:cubicBezTo>
                  <a:pt x="320" y="4"/>
                  <a:pt x="320" y="4"/>
                  <a:pt x="320" y="4"/>
                </a:cubicBezTo>
                <a:cubicBezTo>
                  <a:pt x="323" y="3"/>
                  <a:pt x="327" y="3"/>
                  <a:pt x="330" y="3"/>
                </a:cubicBezTo>
                <a:cubicBezTo>
                  <a:pt x="331" y="3"/>
                  <a:pt x="331" y="3"/>
                  <a:pt x="331" y="3"/>
                </a:cubicBezTo>
                <a:cubicBezTo>
                  <a:pt x="332" y="2"/>
                  <a:pt x="332" y="2"/>
                  <a:pt x="332" y="2"/>
                </a:cubicBezTo>
                <a:cubicBezTo>
                  <a:pt x="333" y="2"/>
                  <a:pt x="334" y="2"/>
                  <a:pt x="335" y="2"/>
                </a:cubicBezTo>
                <a:cubicBezTo>
                  <a:pt x="333" y="2"/>
                  <a:pt x="333" y="2"/>
                  <a:pt x="332" y="2"/>
                </a:cubicBezTo>
                <a:cubicBezTo>
                  <a:pt x="333" y="2"/>
                  <a:pt x="333" y="2"/>
                  <a:pt x="333" y="2"/>
                </a:cubicBezTo>
                <a:cubicBezTo>
                  <a:pt x="332" y="2"/>
                  <a:pt x="332" y="2"/>
                  <a:pt x="332" y="2"/>
                </a:cubicBezTo>
                <a:cubicBezTo>
                  <a:pt x="335" y="2"/>
                  <a:pt x="335" y="2"/>
                  <a:pt x="335" y="2"/>
                </a:cubicBezTo>
                <a:cubicBezTo>
                  <a:pt x="337" y="2"/>
                  <a:pt x="337" y="2"/>
                  <a:pt x="337" y="2"/>
                </a:cubicBezTo>
                <a:cubicBezTo>
                  <a:pt x="337" y="2"/>
                  <a:pt x="337" y="2"/>
                  <a:pt x="337" y="2"/>
                </a:cubicBezTo>
                <a:cubicBezTo>
                  <a:pt x="337" y="2"/>
                  <a:pt x="337" y="2"/>
                  <a:pt x="337" y="2"/>
                </a:cubicBezTo>
                <a:cubicBezTo>
                  <a:pt x="338" y="2"/>
                  <a:pt x="340" y="2"/>
                  <a:pt x="341" y="1"/>
                </a:cubicBezTo>
                <a:cubicBezTo>
                  <a:pt x="342" y="1"/>
                  <a:pt x="342" y="1"/>
                  <a:pt x="346" y="1"/>
                </a:cubicBezTo>
                <a:moveTo>
                  <a:pt x="300" y="6"/>
                </a:moveTo>
                <a:cubicBezTo>
                  <a:pt x="301" y="6"/>
                  <a:pt x="303" y="6"/>
                  <a:pt x="304" y="6"/>
                </a:cubicBezTo>
                <a:cubicBezTo>
                  <a:pt x="305" y="5"/>
                  <a:pt x="306" y="5"/>
                  <a:pt x="308" y="5"/>
                </a:cubicBezTo>
                <a:cubicBezTo>
                  <a:pt x="311" y="4"/>
                  <a:pt x="311" y="4"/>
                  <a:pt x="311" y="4"/>
                </a:cubicBezTo>
                <a:cubicBezTo>
                  <a:pt x="311" y="4"/>
                  <a:pt x="312" y="4"/>
                  <a:pt x="313" y="4"/>
                </a:cubicBezTo>
                <a:cubicBezTo>
                  <a:pt x="314" y="4"/>
                  <a:pt x="315" y="4"/>
                  <a:pt x="315" y="4"/>
                </a:cubicBezTo>
                <a:cubicBezTo>
                  <a:pt x="315" y="4"/>
                  <a:pt x="314" y="4"/>
                  <a:pt x="313" y="4"/>
                </a:cubicBezTo>
                <a:cubicBezTo>
                  <a:pt x="313" y="4"/>
                  <a:pt x="319" y="3"/>
                  <a:pt x="324" y="2"/>
                </a:cubicBezTo>
                <a:cubicBezTo>
                  <a:pt x="326" y="2"/>
                  <a:pt x="328" y="2"/>
                  <a:pt x="331" y="2"/>
                </a:cubicBezTo>
                <a:cubicBezTo>
                  <a:pt x="330" y="2"/>
                  <a:pt x="329" y="2"/>
                  <a:pt x="328" y="2"/>
                </a:cubicBezTo>
                <a:cubicBezTo>
                  <a:pt x="328" y="2"/>
                  <a:pt x="328" y="2"/>
                  <a:pt x="328" y="2"/>
                </a:cubicBezTo>
                <a:cubicBezTo>
                  <a:pt x="327" y="2"/>
                  <a:pt x="326" y="2"/>
                  <a:pt x="325" y="2"/>
                </a:cubicBezTo>
                <a:cubicBezTo>
                  <a:pt x="325" y="2"/>
                  <a:pt x="325" y="2"/>
                  <a:pt x="325" y="2"/>
                </a:cubicBezTo>
                <a:cubicBezTo>
                  <a:pt x="323" y="2"/>
                  <a:pt x="321" y="3"/>
                  <a:pt x="319" y="3"/>
                </a:cubicBezTo>
                <a:cubicBezTo>
                  <a:pt x="319" y="3"/>
                  <a:pt x="319" y="3"/>
                  <a:pt x="319" y="3"/>
                </a:cubicBezTo>
                <a:cubicBezTo>
                  <a:pt x="319" y="3"/>
                  <a:pt x="319" y="3"/>
                  <a:pt x="319" y="3"/>
                </a:cubicBezTo>
                <a:cubicBezTo>
                  <a:pt x="315" y="4"/>
                  <a:pt x="315" y="4"/>
                  <a:pt x="315" y="4"/>
                </a:cubicBezTo>
                <a:cubicBezTo>
                  <a:pt x="313" y="4"/>
                  <a:pt x="313" y="4"/>
                  <a:pt x="313" y="4"/>
                </a:cubicBezTo>
                <a:cubicBezTo>
                  <a:pt x="309" y="5"/>
                  <a:pt x="309" y="5"/>
                  <a:pt x="309" y="5"/>
                </a:cubicBezTo>
                <a:cubicBezTo>
                  <a:pt x="309" y="5"/>
                  <a:pt x="309" y="5"/>
                  <a:pt x="309" y="5"/>
                </a:cubicBezTo>
                <a:cubicBezTo>
                  <a:pt x="308" y="5"/>
                  <a:pt x="308" y="5"/>
                  <a:pt x="307" y="5"/>
                </a:cubicBezTo>
                <a:cubicBezTo>
                  <a:pt x="304" y="5"/>
                  <a:pt x="304" y="5"/>
                  <a:pt x="304" y="5"/>
                </a:cubicBezTo>
                <a:cubicBezTo>
                  <a:pt x="303" y="6"/>
                  <a:pt x="303" y="6"/>
                  <a:pt x="303" y="6"/>
                </a:cubicBezTo>
                <a:cubicBezTo>
                  <a:pt x="303" y="6"/>
                  <a:pt x="303" y="6"/>
                  <a:pt x="303" y="6"/>
                </a:cubicBezTo>
                <a:cubicBezTo>
                  <a:pt x="304" y="5"/>
                  <a:pt x="304" y="5"/>
                  <a:pt x="304" y="5"/>
                </a:cubicBezTo>
                <a:cubicBezTo>
                  <a:pt x="304" y="5"/>
                  <a:pt x="304" y="5"/>
                  <a:pt x="304" y="5"/>
                </a:cubicBezTo>
                <a:cubicBezTo>
                  <a:pt x="303" y="6"/>
                  <a:pt x="301" y="6"/>
                  <a:pt x="300" y="6"/>
                </a:cubicBezTo>
                <a:cubicBezTo>
                  <a:pt x="300" y="6"/>
                  <a:pt x="300" y="6"/>
                  <a:pt x="300" y="6"/>
                </a:cubicBezTo>
                <a:cubicBezTo>
                  <a:pt x="298" y="7"/>
                  <a:pt x="298" y="7"/>
                  <a:pt x="298" y="7"/>
                </a:cubicBezTo>
                <a:cubicBezTo>
                  <a:pt x="295" y="7"/>
                  <a:pt x="295" y="7"/>
                  <a:pt x="295" y="7"/>
                </a:cubicBezTo>
                <a:cubicBezTo>
                  <a:pt x="291" y="8"/>
                  <a:pt x="291" y="8"/>
                  <a:pt x="291" y="8"/>
                </a:cubicBezTo>
                <a:cubicBezTo>
                  <a:pt x="289" y="9"/>
                  <a:pt x="289" y="9"/>
                  <a:pt x="289" y="9"/>
                </a:cubicBezTo>
                <a:cubicBezTo>
                  <a:pt x="290" y="8"/>
                  <a:pt x="290" y="8"/>
                  <a:pt x="290" y="8"/>
                </a:cubicBezTo>
                <a:cubicBezTo>
                  <a:pt x="288" y="9"/>
                  <a:pt x="288" y="9"/>
                  <a:pt x="288" y="9"/>
                </a:cubicBezTo>
                <a:cubicBezTo>
                  <a:pt x="291" y="8"/>
                  <a:pt x="291" y="8"/>
                  <a:pt x="291" y="8"/>
                </a:cubicBezTo>
                <a:cubicBezTo>
                  <a:pt x="291" y="8"/>
                  <a:pt x="291" y="8"/>
                  <a:pt x="291" y="8"/>
                </a:cubicBezTo>
                <a:cubicBezTo>
                  <a:pt x="292" y="8"/>
                  <a:pt x="293" y="8"/>
                  <a:pt x="294" y="8"/>
                </a:cubicBezTo>
                <a:cubicBezTo>
                  <a:pt x="297" y="7"/>
                  <a:pt x="297" y="7"/>
                  <a:pt x="297" y="7"/>
                </a:cubicBezTo>
                <a:cubicBezTo>
                  <a:pt x="296" y="7"/>
                  <a:pt x="296" y="7"/>
                  <a:pt x="295" y="7"/>
                </a:cubicBezTo>
                <a:cubicBezTo>
                  <a:pt x="296" y="7"/>
                  <a:pt x="297" y="7"/>
                  <a:pt x="298" y="7"/>
                </a:cubicBezTo>
                <a:cubicBezTo>
                  <a:pt x="297" y="7"/>
                  <a:pt x="297" y="7"/>
                  <a:pt x="297" y="7"/>
                </a:cubicBezTo>
                <a:cubicBezTo>
                  <a:pt x="298" y="7"/>
                  <a:pt x="299" y="7"/>
                  <a:pt x="300" y="6"/>
                </a:cubicBezTo>
                <a:moveTo>
                  <a:pt x="275" y="12"/>
                </a:moveTo>
                <a:cubicBezTo>
                  <a:pt x="277" y="11"/>
                  <a:pt x="280" y="11"/>
                  <a:pt x="282" y="10"/>
                </a:cubicBezTo>
                <a:cubicBezTo>
                  <a:pt x="281" y="11"/>
                  <a:pt x="281" y="11"/>
                  <a:pt x="281" y="11"/>
                </a:cubicBezTo>
                <a:cubicBezTo>
                  <a:pt x="277" y="12"/>
                  <a:pt x="277" y="12"/>
                  <a:pt x="277" y="12"/>
                </a:cubicBezTo>
                <a:cubicBezTo>
                  <a:pt x="275" y="12"/>
                  <a:pt x="275" y="12"/>
                  <a:pt x="275" y="12"/>
                </a:cubicBezTo>
                <a:moveTo>
                  <a:pt x="251" y="20"/>
                </a:moveTo>
                <a:cubicBezTo>
                  <a:pt x="251" y="20"/>
                  <a:pt x="251" y="20"/>
                  <a:pt x="251" y="20"/>
                </a:cubicBezTo>
                <a:cubicBezTo>
                  <a:pt x="256" y="18"/>
                  <a:pt x="256" y="18"/>
                  <a:pt x="256" y="18"/>
                </a:cubicBezTo>
                <a:cubicBezTo>
                  <a:pt x="258" y="18"/>
                  <a:pt x="258" y="18"/>
                  <a:pt x="258" y="18"/>
                </a:cubicBezTo>
                <a:cubicBezTo>
                  <a:pt x="259" y="17"/>
                  <a:pt x="259" y="17"/>
                  <a:pt x="259" y="17"/>
                </a:cubicBezTo>
                <a:cubicBezTo>
                  <a:pt x="257" y="18"/>
                  <a:pt x="257" y="18"/>
                  <a:pt x="257" y="18"/>
                </a:cubicBezTo>
                <a:cubicBezTo>
                  <a:pt x="255" y="18"/>
                  <a:pt x="255" y="18"/>
                  <a:pt x="255" y="18"/>
                </a:cubicBezTo>
                <a:cubicBezTo>
                  <a:pt x="255" y="18"/>
                  <a:pt x="255" y="18"/>
                  <a:pt x="255" y="18"/>
                </a:cubicBezTo>
                <a:cubicBezTo>
                  <a:pt x="256" y="18"/>
                  <a:pt x="256" y="18"/>
                  <a:pt x="256" y="18"/>
                </a:cubicBezTo>
                <a:cubicBezTo>
                  <a:pt x="256" y="18"/>
                  <a:pt x="256" y="18"/>
                  <a:pt x="256" y="18"/>
                </a:cubicBezTo>
                <a:cubicBezTo>
                  <a:pt x="260" y="16"/>
                  <a:pt x="260" y="16"/>
                  <a:pt x="260" y="16"/>
                </a:cubicBezTo>
                <a:cubicBezTo>
                  <a:pt x="265" y="15"/>
                  <a:pt x="265" y="15"/>
                  <a:pt x="265" y="15"/>
                </a:cubicBezTo>
                <a:cubicBezTo>
                  <a:pt x="269" y="14"/>
                  <a:pt x="269" y="14"/>
                  <a:pt x="269" y="14"/>
                </a:cubicBezTo>
                <a:cubicBezTo>
                  <a:pt x="269" y="14"/>
                  <a:pt x="269" y="14"/>
                  <a:pt x="269" y="14"/>
                </a:cubicBezTo>
                <a:cubicBezTo>
                  <a:pt x="266" y="15"/>
                  <a:pt x="266" y="15"/>
                  <a:pt x="266" y="15"/>
                </a:cubicBezTo>
                <a:cubicBezTo>
                  <a:pt x="245" y="21"/>
                  <a:pt x="245" y="21"/>
                  <a:pt x="245" y="21"/>
                </a:cubicBezTo>
                <a:cubicBezTo>
                  <a:pt x="246" y="21"/>
                  <a:pt x="246" y="21"/>
                  <a:pt x="246" y="21"/>
                </a:cubicBezTo>
                <a:cubicBezTo>
                  <a:pt x="246" y="21"/>
                  <a:pt x="247" y="21"/>
                  <a:pt x="248" y="21"/>
                </a:cubicBezTo>
                <a:cubicBezTo>
                  <a:pt x="244" y="22"/>
                  <a:pt x="244" y="22"/>
                  <a:pt x="244" y="22"/>
                </a:cubicBezTo>
                <a:cubicBezTo>
                  <a:pt x="244" y="22"/>
                  <a:pt x="244" y="22"/>
                  <a:pt x="244" y="22"/>
                </a:cubicBezTo>
                <a:cubicBezTo>
                  <a:pt x="244" y="22"/>
                  <a:pt x="244" y="22"/>
                  <a:pt x="244" y="22"/>
                </a:cubicBezTo>
                <a:cubicBezTo>
                  <a:pt x="245" y="22"/>
                  <a:pt x="245" y="22"/>
                  <a:pt x="245" y="22"/>
                </a:cubicBezTo>
                <a:cubicBezTo>
                  <a:pt x="247" y="21"/>
                  <a:pt x="247" y="21"/>
                  <a:pt x="247" y="21"/>
                </a:cubicBezTo>
                <a:cubicBezTo>
                  <a:pt x="245" y="22"/>
                  <a:pt x="245" y="22"/>
                  <a:pt x="245" y="22"/>
                </a:cubicBezTo>
                <a:cubicBezTo>
                  <a:pt x="247" y="22"/>
                  <a:pt x="249" y="21"/>
                  <a:pt x="251" y="20"/>
                </a:cubicBezTo>
                <a:moveTo>
                  <a:pt x="179" y="56"/>
                </a:moveTo>
                <a:cubicBezTo>
                  <a:pt x="182" y="54"/>
                  <a:pt x="182" y="54"/>
                  <a:pt x="182" y="54"/>
                </a:cubicBezTo>
                <a:cubicBezTo>
                  <a:pt x="186" y="52"/>
                  <a:pt x="186" y="52"/>
                  <a:pt x="186" y="52"/>
                </a:cubicBezTo>
                <a:cubicBezTo>
                  <a:pt x="185" y="52"/>
                  <a:pt x="185" y="52"/>
                  <a:pt x="180" y="54"/>
                </a:cubicBezTo>
                <a:cubicBezTo>
                  <a:pt x="177" y="56"/>
                  <a:pt x="177" y="56"/>
                  <a:pt x="177" y="56"/>
                </a:cubicBezTo>
                <a:cubicBezTo>
                  <a:pt x="177" y="57"/>
                  <a:pt x="177" y="57"/>
                  <a:pt x="177" y="57"/>
                </a:cubicBezTo>
                <a:cubicBezTo>
                  <a:pt x="179" y="56"/>
                  <a:pt x="179" y="56"/>
                  <a:pt x="179" y="56"/>
                </a:cubicBezTo>
                <a:moveTo>
                  <a:pt x="156" y="69"/>
                </a:moveTo>
                <a:cubicBezTo>
                  <a:pt x="154" y="70"/>
                  <a:pt x="154" y="70"/>
                  <a:pt x="154" y="70"/>
                </a:cubicBezTo>
                <a:cubicBezTo>
                  <a:pt x="153" y="71"/>
                  <a:pt x="153" y="71"/>
                  <a:pt x="153" y="71"/>
                </a:cubicBezTo>
                <a:cubicBezTo>
                  <a:pt x="160" y="66"/>
                  <a:pt x="160" y="66"/>
                  <a:pt x="160" y="66"/>
                </a:cubicBezTo>
                <a:cubicBezTo>
                  <a:pt x="159" y="66"/>
                  <a:pt x="159" y="66"/>
                  <a:pt x="159" y="66"/>
                </a:cubicBezTo>
                <a:cubicBezTo>
                  <a:pt x="156" y="69"/>
                  <a:pt x="156" y="69"/>
                  <a:pt x="156" y="69"/>
                </a:cubicBezTo>
                <a:close/>
                <a:moveTo>
                  <a:pt x="6" y="417"/>
                </a:moveTo>
                <a:cubicBezTo>
                  <a:pt x="5" y="413"/>
                  <a:pt x="5" y="413"/>
                  <a:pt x="5" y="413"/>
                </a:cubicBezTo>
                <a:cubicBezTo>
                  <a:pt x="5" y="409"/>
                  <a:pt x="5" y="409"/>
                  <a:pt x="5" y="409"/>
                </a:cubicBezTo>
                <a:cubicBezTo>
                  <a:pt x="4" y="409"/>
                  <a:pt x="4" y="409"/>
                  <a:pt x="4" y="409"/>
                </a:cubicBezTo>
                <a:cubicBezTo>
                  <a:pt x="3" y="408"/>
                  <a:pt x="3" y="408"/>
                  <a:pt x="3" y="408"/>
                </a:cubicBezTo>
                <a:cubicBezTo>
                  <a:pt x="2" y="407"/>
                  <a:pt x="2" y="407"/>
                  <a:pt x="2" y="407"/>
                </a:cubicBezTo>
                <a:cubicBezTo>
                  <a:pt x="2" y="405"/>
                  <a:pt x="2" y="405"/>
                  <a:pt x="2" y="405"/>
                </a:cubicBezTo>
                <a:cubicBezTo>
                  <a:pt x="1" y="398"/>
                  <a:pt x="1" y="398"/>
                  <a:pt x="1" y="398"/>
                </a:cubicBezTo>
                <a:cubicBezTo>
                  <a:pt x="1" y="394"/>
                  <a:pt x="1" y="394"/>
                  <a:pt x="1" y="394"/>
                </a:cubicBezTo>
                <a:cubicBezTo>
                  <a:pt x="1" y="392"/>
                  <a:pt x="1" y="389"/>
                  <a:pt x="1" y="387"/>
                </a:cubicBezTo>
                <a:cubicBezTo>
                  <a:pt x="1" y="379"/>
                  <a:pt x="1" y="379"/>
                  <a:pt x="1" y="379"/>
                </a:cubicBezTo>
                <a:cubicBezTo>
                  <a:pt x="1" y="378"/>
                  <a:pt x="1" y="376"/>
                  <a:pt x="1" y="374"/>
                </a:cubicBezTo>
                <a:cubicBezTo>
                  <a:pt x="0" y="370"/>
                  <a:pt x="0" y="370"/>
                  <a:pt x="0" y="370"/>
                </a:cubicBezTo>
                <a:cubicBezTo>
                  <a:pt x="0" y="367"/>
                  <a:pt x="0" y="367"/>
                  <a:pt x="0" y="367"/>
                </a:cubicBezTo>
                <a:cubicBezTo>
                  <a:pt x="0" y="367"/>
                  <a:pt x="0" y="367"/>
                  <a:pt x="0" y="367"/>
                </a:cubicBezTo>
                <a:cubicBezTo>
                  <a:pt x="0" y="376"/>
                  <a:pt x="1" y="389"/>
                  <a:pt x="1" y="399"/>
                </a:cubicBezTo>
                <a:cubicBezTo>
                  <a:pt x="2" y="405"/>
                  <a:pt x="2" y="405"/>
                  <a:pt x="2" y="405"/>
                </a:cubicBezTo>
                <a:cubicBezTo>
                  <a:pt x="2" y="405"/>
                  <a:pt x="2" y="405"/>
                  <a:pt x="2" y="405"/>
                </a:cubicBezTo>
                <a:cubicBezTo>
                  <a:pt x="2" y="407"/>
                  <a:pt x="2" y="407"/>
                  <a:pt x="2" y="407"/>
                </a:cubicBezTo>
                <a:cubicBezTo>
                  <a:pt x="3" y="414"/>
                  <a:pt x="3" y="414"/>
                  <a:pt x="3" y="414"/>
                </a:cubicBezTo>
                <a:cubicBezTo>
                  <a:pt x="3" y="414"/>
                  <a:pt x="3" y="414"/>
                  <a:pt x="3" y="414"/>
                </a:cubicBezTo>
                <a:cubicBezTo>
                  <a:pt x="4" y="419"/>
                  <a:pt x="4" y="419"/>
                  <a:pt x="4" y="419"/>
                </a:cubicBezTo>
                <a:cubicBezTo>
                  <a:pt x="5" y="421"/>
                  <a:pt x="5" y="421"/>
                  <a:pt x="5" y="421"/>
                </a:cubicBezTo>
                <a:cubicBezTo>
                  <a:pt x="4" y="416"/>
                  <a:pt x="4" y="416"/>
                  <a:pt x="4" y="416"/>
                </a:cubicBezTo>
                <a:cubicBezTo>
                  <a:pt x="4" y="413"/>
                  <a:pt x="4" y="413"/>
                  <a:pt x="4" y="413"/>
                </a:cubicBezTo>
                <a:cubicBezTo>
                  <a:pt x="5" y="414"/>
                  <a:pt x="5" y="414"/>
                  <a:pt x="5" y="414"/>
                </a:cubicBezTo>
                <a:cubicBezTo>
                  <a:pt x="5" y="417"/>
                  <a:pt x="5" y="417"/>
                  <a:pt x="5" y="417"/>
                </a:cubicBezTo>
                <a:cubicBezTo>
                  <a:pt x="6" y="417"/>
                  <a:pt x="6" y="417"/>
                  <a:pt x="6" y="417"/>
                </a:cubicBezTo>
                <a:moveTo>
                  <a:pt x="182" y="64"/>
                </a:moveTo>
                <a:cubicBezTo>
                  <a:pt x="185" y="62"/>
                  <a:pt x="185" y="62"/>
                  <a:pt x="185" y="62"/>
                </a:cubicBezTo>
                <a:cubicBezTo>
                  <a:pt x="189" y="60"/>
                  <a:pt x="189" y="60"/>
                  <a:pt x="189" y="60"/>
                </a:cubicBezTo>
                <a:cubicBezTo>
                  <a:pt x="188" y="60"/>
                  <a:pt x="187" y="60"/>
                  <a:pt x="187" y="60"/>
                </a:cubicBezTo>
                <a:cubicBezTo>
                  <a:pt x="187" y="59"/>
                  <a:pt x="188" y="59"/>
                  <a:pt x="189" y="58"/>
                </a:cubicBezTo>
                <a:cubicBezTo>
                  <a:pt x="191" y="56"/>
                  <a:pt x="191" y="56"/>
                  <a:pt x="191" y="56"/>
                </a:cubicBezTo>
                <a:cubicBezTo>
                  <a:pt x="191" y="56"/>
                  <a:pt x="191" y="56"/>
                  <a:pt x="191" y="56"/>
                </a:cubicBezTo>
                <a:cubicBezTo>
                  <a:pt x="192" y="54"/>
                  <a:pt x="192" y="54"/>
                  <a:pt x="192" y="54"/>
                </a:cubicBezTo>
                <a:cubicBezTo>
                  <a:pt x="191" y="54"/>
                  <a:pt x="191" y="54"/>
                  <a:pt x="191" y="54"/>
                </a:cubicBezTo>
                <a:cubicBezTo>
                  <a:pt x="193" y="52"/>
                  <a:pt x="193" y="52"/>
                  <a:pt x="193" y="52"/>
                </a:cubicBezTo>
                <a:cubicBezTo>
                  <a:pt x="196" y="51"/>
                  <a:pt x="196" y="51"/>
                  <a:pt x="196" y="51"/>
                </a:cubicBezTo>
                <a:cubicBezTo>
                  <a:pt x="195" y="51"/>
                  <a:pt x="195" y="51"/>
                  <a:pt x="194" y="51"/>
                </a:cubicBezTo>
                <a:cubicBezTo>
                  <a:pt x="194" y="51"/>
                  <a:pt x="194" y="51"/>
                  <a:pt x="194" y="51"/>
                </a:cubicBezTo>
                <a:cubicBezTo>
                  <a:pt x="196" y="50"/>
                  <a:pt x="197" y="49"/>
                  <a:pt x="199" y="48"/>
                </a:cubicBezTo>
                <a:cubicBezTo>
                  <a:pt x="199" y="48"/>
                  <a:pt x="199" y="48"/>
                  <a:pt x="199" y="48"/>
                </a:cubicBezTo>
                <a:cubicBezTo>
                  <a:pt x="202" y="47"/>
                  <a:pt x="202" y="47"/>
                  <a:pt x="202" y="47"/>
                </a:cubicBezTo>
                <a:cubicBezTo>
                  <a:pt x="202" y="46"/>
                  <a:pt x="202" y="46"/>
                  <a:pt x="202" y="46"/>
                </a:cubicBezTo>
                <a:cubicBezTo>
                  <a:pt x="204" y="45"/>
                  <a:pt x="204" y="45"/>
                  <a:pt x="204" y="45"/>
                </a:cubicBezTo>
                <a:cubicBezTo>
                  <a:pt x="205" y="45"/>
                  <a:pt x="205" y="45"/>
                  <a:pt x="205" y="45"/>
                </a:cubicBezTo>
                <a:cubicBezTo>
                  <a:pt x="208" y="43"/>
                  <a:pt x="208" y="43"/>
                  <a:pt x="208" y="43"/>
                </a:cubicBezTo>
                <a:cubicBezTo>
                  <a:pt x="208" y="42"/>
                  <a:pt x="208" y="42"/>
                  <a:pt x="208" y="42"/>
                </a:cubicBezTo>
                <a:cubicBezTo>
                  <a:pt x="211" y="41"/>
                  <a:pt x="211" y="41"/>
                  <a:pt x="211" y="41"/>
                </a:cubicBezTo>
                <a:cubicBezTo>
                  <a:pt x="213" y="39"/>
                  <a:pt x="213" y="39"/>
                  <a:pt x="213" y="39"/>
                </a:cubicBezTo>
                <a:cubicBezTo>
                  <a:pt x="212" y="39"/>
                  <a:pt x="212" y="39"/>
                  <a:pt x="212" y="39"/>
                </a:cubicBezTo>
                <a:cubicBezTo>
                  <a:pt x="214" y="38"/>
                  <a:pt x="214" y="38"/>
                  <a:pt x="214" y="38"/>
                </a:cubicBezTo>
                <a:cubicBezTo>
                  <a:pt x="214" y="38"/>
                  <a:pt x="214" y="38"/>
                  <a:pt x="214" y="38"/>
                </a:cubicBezTo>
                <a:cubicBezTo>
                  <a:pt x="214" y="38"/>
                  <a:pt x="214" y="38"/>
                  <a:pt x="214" y="38"/>
                </a:cubicBezTo>
                <a:cubicBezTo>
                  <a:pt x="217" y="37"/>
                  <a:pt x="217" y="37"/>
                  <a:pt x="217" y="37"/>
                </a:cubicBezTo>
                <a:cubicBezTo>
                  <a:pt x="218" y="36"/>
                  <a:pt x="218" y="36"/>
                  <a:pt x="218" y="36"/>
                </a:cubicBezTo>
                <a:cubicBezTo>
                  <a:pt x="216" y="36"/>
                  <a:pt x="216" y="36"/>
                  <a:pt x="216" y="36"/>
                </a:cubicBezTo>
                <a:cubicBezTo>
                  <a:pt x="220" y="34"/>
                  <a:pt x="220" y="34"/>
                  <a:pt x="220" y="34"/>
                </a:cubicBezTo>
                <a:cubicBezTo>
                  <a:pt x="222" y="33"/>
                  <a:pt x="222" y="33"/>
                  <a:pt x="222" y="33"/>
                </a:cubicBezTo>
                <a:cubicBezTo>
                  <a:pt x="222" y="33"/>
                  <a:pt x="222" y="33"/>
                  <a:pt x="222" y="33"/>
                </a:cubicBezTo>
                <a:cubicBezTo>
                  <a:pt x="225" y="31"/>
                  <a:pt x="225" y="31"/>
                  <a:pt x="225" y="31"/>
                </a:cubicBezTo>
                <a:cubicBezTo>
                  <a:pt x="227" y="30"/>
                  <a:pt x="227" y="30"/>
                  <a:pt x="227" y="30"/>
                </a:cubicBezTo>
                <a:cubicBezTo>
                  <a:pt x="226" y="30"/>
                  <a:pt x="226" y="30"/>
                  <a:pt x="226" y="30"/>
                </a:cubicBezTo>
                <a:cubicBezTo>
                  <a:pt x="224" y="31"/>
                  <a:pt x="224" y="31"/>
                  <a:pt x="224" y="31"/>
                </a:cubicBezTo>
                <a:cubicBezTo>
                  <a:pt x="223" y="31"/>
                  <a:pt x="223" y="31"/>
                  <a:pt x="223" y="31"/>
                </a:cubicBezTo>
                <a:cubicBezTo>
                  <a:pt x="223" y="31"/>
                  <a:pt x="223" y="31"/>
                  <a:pt x="223" y="31"/>
                </a:cubicBezTo>
                <a:cubicBezTo>
                  <a:pt x="220" y="32"/>
                  <a:pt x="220" y="32"/>
                  <a:pt x="220" y="32"/>
                </a:cubicBezTo>
                <a:cubicBezTo>
                  <a:pt x="220" y="32"/>
                  <a:pt x="220" y="32"/>
                  <a:pt x="220" y="32"/>
                </a:cubicBezTo>
                <a:cubicBezTo>
                  <a:pt x="224" y="31"/>
                  <a:pt x="224" y="31"/>
                  <a:pt x="224" y="31"/>
                </a:cubicBezTo>
                <a:cubicBezTo>
                  <a:pt x="227" y="29"/>
                  <a:pt x="227" y="29"/>
                  <a:pt x="227" y="29"/>
                </a:cubicBezTo>
                <a:cubicBezTo>
                  <a:pt x="232" y="27"/>
                  <a:pt x="232" y="27"/>
                  <a:pt x="232" y="27"/>
                </a:cubicBezTo>
                <a:cubicBezTo>
                  <a:pt x="237" y="25"/>
                  <a:pt x="237" y="25"/>
                  <a:pt x="237" y="25"/>
                </a:cubicBezTo>
                <a:cubicBezTo>
                  <a:pt x="237" y="25"/>
                  <a:pt x="237" y="25"/>
                  <a:pt x="237" y="25"/>
                </a:cubicBezTo>
                <a:cubicBezTo>
                  <a:pt x="233" y="26"/>
                  <a:pt x="233" y="26"/>
                  <a:pt x="233" y="26"/>
                </a:cubicBezTo>
                <a:cubicBezTo>
                  <a:pt x="233" y="26"/>
                  <a:pt x="233" y="26"/>
                  <a:pt x="233" y="26"/>
                </a:cubicBezTo>
                <a:cubicBezTo>
                  <a:pt x="231" y="27"/>
                  <a:pt x="231" y="27"/>
                  <a:pt x="231" y="27"/>
                </a:cubicBezTo>
                <a:cubicBezTo>
                  <a:pt x="226" y="29"/>
                  <a:pt x="226" y="29"/>
                  <a:pt x="226" y="29"/>
                </a:cubicBezTo>
                <a:cubicBezTo>
                  <a:pt x="221" y="31"/>
                  <a:pt x="221" y="31"/>
                  <a:pt x="221" y="31"/>
                </a:cubicBezTo>
                <a:cubicBezTo>
                  <a:pt x="218" y="33"/>
                  <a:pt x="218" y="33"/>
                  <a:pt x="218" y="33"/>
                </a:cubicBezTo>
                <a:cubicBezTo>
                  <a:pt x="213" y="35"/>
                  <a:pt x="213" y="35"/>
                  <a:pt x="213" y="35"/>
                </a:cubicBezTo>
                <a:cubicBezTo>
                  <a:pt x="212" y="36"/>
                  <a:pt x="212" y="36"/>
                  <a:pt x="212" y="36"/>
                </a:cubicBezTo>
                <a:cubicBezTo>
                  <a:pt x="217" y="33"/>
                  <a:pt x="217" y="33"/>
                  <a:pt x="217" y="33"/>
                </a:cubicBezTo>
                <a:cubicBezTo>
                  <a:pt x="224" y="30"/>
                  <a:pt x="224" y="30"/>
                  <a:pt x="224" y="30"/>
                </a:cubicBezTo>
                <a:cubicBezTo>
                  <a:pt x="228" y="28"/>
                  <a:pt x="228" y="28"/>
                  <a:pt x="228" y="28"/>
                </a:cubicBezTo>
                <a:cubicBezTo>
                  <a:pt x="233" y="26"/>
                  <a:pt x="233" y="26"/>
                  <a:pt x="233" y="26"/>
                </a:cubicBezTo>
                <a:cubicBezTo>
                  <a:pt x="237" y="25"/>
                  <a:pt x="237" y="25"/>
                  <a:pt x="237" y="25"/>
                </a:cubicBezTo>
                <a:cubicBezTo>
                  <a:pt x="237" y="25"/>
                  <a:pt x="237" y="25"/>
                  <a:pt x="237" y="25"/>
                </a:cubicBezTo>
                <a:cubicBezTo>
                  <a:pt x="236" y="25"/>
                  <a:pt x="236" y="25"/>
                  <a:pt x="236" y="25"/>
                </a:cubicBezTo>
                <a:cubicBezTo>
                  <a:pt x="231" y="27"/>
                  <a:pt x="231" y="27"/>
                  <a:pt x="231" y="27"/>
                </a:cubicBezTo>
                <a:cubicBezTo>
                  <a:pt x="224" y="30"/>
                  <a:pt x="224" y="30"/>
                  <a:pt x="224" y="30"/>
                </a:cubicBezTo>
                <a:cubicBezTo>
                  <a:pt x="213" y="35"/>
                  <a:pt x="213" y="35"/>
                  <a:pt x="213" y="35"/>
                </a:cubicBezTo>
                <a:cubicBezTo>
                  <a:pt x="212" y="35"/>
                  <a:pt x="212" y="35"/>
                  <a:pt x="212" y="35"/>
                </a:cubicBezTo>
                <a:cubicBezTo>
                  <a:pt x="212" y="36"/>
                  <a:pt x="212" y="36"/>
                  <a:pt x="212" y="36"/>
                </a:cubicBezTo>
                <a:cubicBezTo>
                  <a:pt x="208" y="37"/>
                  <a:pt x="208" y="37"/>
                  <a:pt x="208" y="37"/>
                </a:cubicBezTo>
                <a:cubicBezTo>
                  <a:pt x="209" y="37"/>
                  <a:pt x="209" y="37"/>
                  <a:pt x="209" y="37"/>
                </a:cubicBezTo>
                <a:cubicBezTo>
                  <a:pt x="208" y="37"/>
                  <a:pt x="208" y="37"/>
                  <a:pt x="208" y="37"/>
                </a:cubicBezTo>
                <a:cubicBezTo>
                  <a:pt x="206" y="38"/>
                  <a:pt x="206" y="38"/>
                  <a:pt x="206" y="38"/>
                </a:cubicBezTo>
                <a:cubicBezTo>
                  <a:pt x="203" y="40"/>
                  <a:pt x="203" y="40"/>
                  <a:pt x="203" y="40"/>
                </a:cubicBezTo>
                <a:cubicBezTo>
                  <a:pt x="203" y="40"/>
                  <a:pt x="203" y="40"/>
                  <a:pt x="203" y="40"/>
                </a:cubicBezTo>
                <a:cubicBezTo>
                  <a:pt x="204" y="39"/>
                  <a:pt x="204" y="39"/>
                  <a:pt x="204" y="39"/>
                </a:cubicBezTo>
                <a:cubicBezTo>
                  <a:pt x="201" y="41"/>
                  <a:pt x="201" y="41"/>
                  <a:pt x="201" y="41"/>
                </a:cubicBezTo>
                <a:cubicBezTo>
                  <a:pt x="199" y="42"/>
                  <a:pt x="199" y="42"/>
                  <a:pt x="199" y="42"/>
                </a:cubicBezTo>
                <a:cubicBezTo>
                  <a:pt x="198" y="43"/>
                  <a:pt x="198" y="43"/>
                  <a:pt x="198" y="43"/>
                </a:cubicBezTo>
                <a:cubicBezTo>
                  <a:pt x="194" y="45"/>
                  <a:pt x="194" y="45"/>
                  <a:pt x="194" y="45"/>
                </a:cubicBezTo>
                <a:cubicBezTo>
                  <a:pt x="191" y="46"/>
                  <a:pt x="191" y="46"/>
                  <a:pt x="191" y="46"/>
                </a:cubicBezTo>
                <a:cubicBezTo>
                  <a:pt x="184" y="50"/>
                  <a:pt x="184" y="50"/>
                  <a:pt x="184" y="50"/>
                </a:cubicBezTo>
                <a:cubicBezTo>
                  <a:pt x="179" y="53"/>
                  <a:pt x="179" y="53"/>
                  <a:pt x="179" y="53"/>
                </a:cubicBezTo>
                <a:cubicBezTo>
                  <a:pt x="176" y="55"/>
                  <a:pt x="176" y="55"/>
                  <a:pt x="176" y="55"/>
                </a:cubicBezTo>
                <a:cubicBezTo>
                  <a:pt x="177" y="54"/>
                  <a:pt x="177" y="54"/>
                  <a:pt x="177" y="54"/>
                </a:cubicBezTo>
                <a:cubicBezTo>
                  <a:pt x="183" y="51"/>
                  <a:pt x="183" y="51"/>
                  <a:pt x="183" y="51"/>
                </a:cubicBezTo>
                <a:cubicBezTo>
                  <a:pt x="187" y="49"/>
                  <a:pt x="187" y="49"/>
                  <a:pt x="187" y="49"/>
                </a:cubicBezTo>
                <a:cubicBezTo>
                  <a:pt x="191" y="46"/>
                  <a:pt x="191" y="46"/>
                  <a:pt x="191" y="46"/>
                </a:cubicBezTo>
                <a:cubicBezTo>
                  <a:pt x="182" y="51"/>
                  <a:pt x="171" y="59"/>
                  <a:pt x="162" y="64"/>
                </a:cubicBezTo>
                <a:cubicBezTo>
                  <a:pt x="162" y="64"/>
                  <a:pt x="162" y="64"/>
                  <a:pt x="162" y="64"/>
                </a:cubicBezTo>
                <a:cubicBezTo>
                  <a:pt x="163" y="64"/>
                  <a:pt x="163" y="64"/>
                  <a:pt x="163" y="64"/>
                </a:cubicBezTo>
                <a:cubicBezTo>
                  <a:pt x="167" y="61"/>
                  <a:pt x="167" y="61"/>
                  <a:pt x="167" y="61"/>
                </a:cubicBezTo>
                <a:cubicBezTo>
                  <a:pt x="170" y="59"/>
                  <a:pt x="170" y="59"/>
                  <a:pt x="170" y="59"/>
                </a:cubicBezTo>
                <a:cubicBezTo>
                  <a:pt x="170" y="59"/>
                  <a:pt x="170" y="59"/>
                  <a:pt x="170" y="59"/>
                </a:cubicBezTo>
                <a:cubicBezTo>
                  <a:pt x="167" y="61"/>
                  <a:pt x="167" y="61"/>
                  <a:pt x="167" y="61"/>
                </a:cubicBezTo>
                <a:cubicBezTo>
                  <a:pt x="164" y="63"/>
                  <a:pt x="164" y="63"/>
                  <a:pt x="164" y="63"/>
                </a:cubicBezTo>
                <a:cubicBezTo>
                  <a:pt x="159" y="67"/>
                  <a:pt x="159" y="67"/>
                  <a:pt x="159" y="67"/>
                </a:cubicBezTo>
                <a:cubicBezTo>
                  <a:pt x="156" y="68"/>
                  <a:pt x="154" y="70"/>
                  <a:pt x="152" y="71"/>
                </a:cubicBezTo>
                <a:cubicBezTo>
                  <a:pt x="151" y="72"/>
                  <a:pt x="151" y="72"/>
                  <a:pt x="151" y="72"/>
                </a:cubicBezTo>
                <a:cubicBezTo>
                  <a:pt x="148" y="75"/>
                  <a:pt x="148" y="75"/>
                  <a:pt x="148" y="75"/>
                </a:cubicBezTo>
                <a:cubicBezTo>
                  <a:pt x="147" y="75"/>
                  <a:pt x="147" y="75"/>
                  <a:pt x="147" y="75"/>
                </a:cubicBezTo>
                <a:cubicBezTo>
                  <a:pt x="147" y="76"/>
                  <a:pt x="146" y="76"/>
                  <a:pt x="145" y="77"/>
                </a:cubicBezTo>
                <a:cubicBezTo>
                  <a:pt x="145" y="77"/>
                  <a:pt x="145" y="77"/>
                  <a:pt x="145" y="77"/>
                </a:cubicBezTo>
                <a:cubicBezTo>
                  <a:pt x="149" y="74"/>
                  <a:pt x="149" y="74"/>
                  <a:pt x="149" y="74"/>
                </a:cubicBezTo>
                <a:cubicBezTo>
                  <a:pt x="149" y="74"/>
                  <a:pt x="149" y="74"/>
                  <a:pt x="149" y="74"/>
                </a:cubicBezTo>
                <a:cubicBezTo>
                  <a:pt x="148" y="75"/>
                  <a:pt x="148" y="75"/>
                  <a:pt x="148" y="75"/>
                </a:cubicBezTo>
                <a:cubicBezTo>
                  <a:pt x="147" y="76"/>
                  <a:pt x="147" y="76"/>
                  <a:pt x="147" y="76"/>
                </a:cubicBezTo>
                <a:cubicBezTo>
                  <a:pt x="147" y="76"/>
                  <a:pt x="147" y="76"/>
                  <a:pt x="147" y="76"/>
                </a:cubicBezTo>
                <a:cubicBezTo>
                  <a:pt x="151" y="73"/>
                  <a:pt x="151" y="73"/>
                  <a:pt x="151" y="73"/>
                </a:cubicBezTo>
                <a:cubicBezTo>
                  <a:pt x="151" y="73"/>
                  <a:pt x="151" y="73"/>
                  <a:pt x="151" y="73"/>
                </a:cubicBezTo>
                <a:cubicBezTo>
                  <a:pt x="156" y="69"/>
                  <a:pt x="156" y="69"/>
                  <a:pt x="156" y="69"/>
                </a:cubicBezTo>
                <a:cubicBezTo>
                  <a:pt x="156" y="69"/>
                  <a:pt x="156" y="69"/>
                  <a:pt x="156" y="69"/>
                </a:cubicBezTo>
                <a:cubicBezTo>
                  <a:pt x="160" y="66"/>
                  <a:pt x="160" y="66"/>
                  <a:pt x="160" y="66"/>
                </a:cubicBezTo>
                <a:cubicBezTo>
                  <a:pt x="161" y="65"/>
                  <a:pt x="161" y="65"/>
                  <a:pt x="161" y="65"/>
                </a:cubicBezTo>
                <a:cubicBezTo>
                  <a:pt x="162" y="65"/>
                  <a:pt x="163" y="64"/>
                  <a:pt x="164" y="63"/>
                </a:cubicBezTo>
                <a:cubicBezTo>
                  <a:pt x="163" y="64"/>
                  <a:pt x="163" y="64"/>
                  <a:pt x="163" y="64"/>
                </a:cubicBezTo>
                <a:cubicBezTo>
                  <a:pt x="165" y="63"/>
                  <a:pt x="165" y="63"/>
                  <a:pt x="165" y="63"/>
                </a:cubicBezTo>
                <a:cubicBezTo>
                  <a:pt x="167" y="61"/>
                  <a:pt x="167" y="61"/>
                  <a:pt x="167" y="61"/>
                </a:cubicBezTo>
                <a:cubicBezTo>
                  <a:pt x="167" y="61"/>
                  <a:pt x="167" y="61"/>
                  <a:pt x="167" y="61"/>
                </a:cubicBezTo>
                <a:cubicBezTo>
                  <a:pt x="170" y="59"/>
                  <a:pt x="170" y="59"/>
                  <a:pt x="170" y="59"/>
                </a:cubicBezTo>
                <a:cubicBezTo>
                  <a:pt x="174" y="57"/>
                  <a:pt x="174" y="57"/>
                  <a:pt x="174" y="57"/>
                </a:cubicBezTo>
                <a:cubicBezTo>
                  <a:pt x="177" y="55"/>
                  <a:pt x="177" y="55"/>
                  <a:pt x="177" y="55"/>
                </a:cubicBezTo>
                <a:cubicBezTo>
                  <a:pt x="180" y="54"/>
                  <a:pt x="180" y="54"/>
                  <a:pt x="180" y="54"/>
                </a:cubicBezTo>
                <a:cubicBezTo>
                  <a:pt x="185" y="50"/>
                  <a:pt x="185" y="50"/>
                  <a:pt x="185" y="50"/>
                </a:cubicBezTo>
                <a:cubicBezTo>
                  <a:pt x="186" y="50"/>
                  <a:pt x="186" y="50"/>
                  <a:pt x="186" y="50"/>
                </a:cubicBezTo>
                <a:cubicBezTo>
                  <a:pt x="190" y="48"/>
                  <a:pt x="190" y="48"/>
                  <a:pt x="190" y="48"/>
                </a:cubicBezTo>
                <a:cubicBezTo>
                  <a:pt x="194" y="45"/>
                  <a:pt x="194" y="45"/>
                  <a:pt x="194" y="45"/>
                </a:cubicBezTo>
                <a:cubicBezTo>
                  <a:pt x="196" y="44"/>
                  <a:pt x="196" y="44"/>
                  <a:pt x="196" y="44"/>
                </a:cubicBezTo>
                <a:cubicBezTo>
                  <a:pt x="199" y="42"/>
                  <a:pt x="199" y="42"/>
                  <a:pt x="199" y="42"/>
                </a:cubicBezTo>
                <a:cubicBezTo>
                  <a:pt x="199" y="43"/>
                  <a:pt x="199" y="43"/>
                  <a:pt x="199" y="43"/>
                </a:cubicBezTo>
                <a:cubicBezTo>
                  <a:pt x="201" y="41"/>
                  <a:pt x="201" y="41"/>
                  <a:pt x="201" y="41"/>
                </a:cubicBezTo>
                <a:cubicBezTo>
                  <a:pt x="201" y="42"/>
                  <a:pt x="201" y="42"/>
                  <a:pt x="201" y="42"/>
                </a:cubicBezTo>
                <a:cubicBezTo>
                  <a:pt x="198" y="43"/>
                  <a:pt x="198" y="43"/>
                  <a:pt x="198" y="43"/>
                </a:cubicBezTo>
                <a:cubicBezTo>
                  <a:pt x="199" y="43"/>
                  <a:pt x="199" y="43"/>
                  <a:pt x="199" y="43"/>
                </a:cubicBezTo>
                <a:cubicBezTo>
                  <a:pt x="200" y="43"/>
                  <a:pt x="200" y="43"/>
                  <a:pt x="200" y="43"/>
                </a:cubicBezTo>
                <a:cubicBezTo>
                  <a:pt x="204" y="40"/>
                  <a:pt x="204" y="40"/>
                  <a:pt x="204" y="40"/>
                </a:cubicBezTo>
                <a:cubicBezTo>
                  <a:pt x="205" y="40"/>
                  <a:pt x="205" y="40"/>
                  <a:pt x="205" y="40"/>
                </a:cubicBezTo>
                <a:cubicBezTo>
                  <a:pt x="201" y="43"/>
                  <a:pt x="201" y="43"/>
                  <a:pt x="201" y="43"/>
                </a:cubicBezTo>
                <a:cubicBezTo>
                  <a:pt x="200" y="43"/>
                  <a:pt x="200" y="43"/>
                  <a:pt x="200" y="43"/>
                </a:cubicBezTo>
                <a:cubicBezTo>
                  <a:pt x="196" y="45"/>
                  <a:pt x="196" y="45"/>
                  <a:pt x="196" y="45"/>
                </a:cubicBezTo>
                <a:cubicBezTo>
                  <a:pt x="196" y="46"/>
                  <a:pt x="196" y="46"/>
                  <a:pt x="196" y="46"/>
                </a:cubicBezTo>
                <a:cubicBezTo>
                  <a:pt x="193" y="48"/>
                  <a:pt x="193" y="48"/>
                  <a:pt x="193" y="48"/>
                </a:cubicBezTo>
                <a:cubicBezTo>
                  <a:pt x="192" y="49"/>
                  <a:pt x="192" y="49"/>
                  <a:pt x="192" y="49"/>
                </a:cubicBezTo>
                <a:cubicBezTo>
                  <a:pt x="188" y="51"/>
                  <a:pt x="188" y="51"/>
                  <a:pt x="188" y="51"/>
                </a:cubicBezTo>
                <a:cubicBezTo>
                  <a:pt x="187" y="52"/>
                  <a:pt x="187" y="52"/>
                  <a:pt x="187" y="52"/>
                </a:cubicBezTo>
                <a:cubicBezTo>
                  <a:pt x="184" y="54"/>
                  <a:pt x="184" y="54"/>
                  <a:pt x="184" y="54"/>
                </a:cubicBezTo>
                <a:cubicBezTo>
                  <a:pt x="179" y="57"/>
                  <a:pt x="179" y="57"/>
                  <a:pt x="179" y="57"/>
                </a:cubicBezTo>
                <a:cubicBezTo>
                  <a:pt x="174" y="60"/>
                  <a:pt x="174" y="60"/>
                  <a:pt x="174" y="60"/>
                </a:cubicBezTo>
                <a:cubicBezTo>
                  <a:pt x="169" y="63"/>
                  <a:pt x="169" y="63"/>
                  <a:pt x="169" y="63"/>
                </a:cubicBezTo>
                <a:cubicBezTo>
                  <a:pt x="165" y="66"/>
                  <a:pt x="165" y="66"/>
                  <a:pt x="165" y="66"/>
                </a:cubicBezTo>
                <a:cubicBezTo>
                  <a:pt x="163" y="67"/>
                  <a:pt x="163" y="67"/>
                  <a:pt x="163" y="67"/>
                </a:cubicBezTo>
                <a:cubicBezTo>
                  <a:pt x="163" y="66"/>
                  <a:pt x="163" y="66"/>
                  <a:pt x="163" y="66"/>
                </a:cubicBezTo>
                <a:cubicBezTo>
                  <a:pt x="163" y="66"/>
                  <a:pt x="163" y="66"/>
                  <a:pt x="163" y="66"/>
                </a:cubicBezTo>
                <a:cubicBezTo>
                  <a:pt x="159" y="68"/>
                  <a:pt x="159" y="68"/>
                  <a:pt x="159" y="68"/>
                </a:cubicBezTo>
                <a:cubicBezTo>
                  <a:pt x="157" y="69"/>
                  <a:pt x="156" y="70"/>
                  <a:pt x="155" y="71"/>
                </a:cubicBezTo>
                <a:cubicBezTo>
                  <a:pt x="154" y="72"/>
                  <a:pt x="154" y="72"/>
                  <a:pt x="154" y="72"/>
                </a:cubicBezTo>
                <a:cubicBezTo>
                  <a:pt x="155" y="72"/>
                  <a:pt x="155" y="72"/>
                  <a:pt x="155" y="72"/>
                </a:cubicBezTo>
                <a:cubicBezTo>
                  <a:pt x="158" y="70"/>
                  <a:pt x="158" y="70"/>
                  <a:pt x="158" y="70"/>
                </a:cubicBezTo>
                <a:cubicBezTo>
                  <a:pt x="159" y="70"/>
                  <a:pt x="159" y="70"/>
                  <a:pt x="159" y="70"/>
                </a:cubicBezTo>
                <a:cubicBezTo>
                  <a:pt x="159" y="70"/>
                  <a:pt x="159" y="70"/>
                  <a:pt x="159" y="70"/>
                </a:cubicBezTo>
                <a:cubicBezTo>
                  <a:pt x="158" y="72"/>
                  <a:pt x="158" y="72"/>
                  <a:pt x="158" y="72"/>
                </a:cubicBezTo>
                <a:cubicBezTo>
                  <a:pt x="153" y="76"/>
                  <a:pt x="153" y="76"/>
                  <a:pt x="153" y="76"/>
                </a:cubicBezTo>
                <a:cubicBezTo>
                  <a:pt x="151" y="78"/>
                  <a:pt x="151" y="78"/>
                  <a:pt x="151" y="78"/>
                </a:cubicBezTo>
                <a:cubicBezTo>
                  <a:pt x="148" y="81"/>
                  <a:pt x="148" y="81"/>
                  <a:pt x="148" y="81"/>
                </a:cubicBezTo>
                <a:cubicBezTo>
                  <a:pt x="148" y="81"/>
                  <a:pt x="149" y="81"/>
                  <a:pt x="149" y="81"/>
                </a:cubicBezTo>
                <a:cubicBezTo>
                  <a:pt x="145" y="85"/>
                  <a:pt x="145" y="85"/>
                  <a:pt x="145" y="85"/>
                </a:cubicBezTo>
                <a:cubicBezTo>
                  <a:pt x="147" y="85"/>
                  <a:pt x="147" y="85"/>
                  <a:pt x="147" y="85"/>
                </a:cubicBezTo>
                <a:cubicBezTo>
                  <a:pt x="146" y="87"/>
                  <a:pt x="146" y="87"/>
                  <a:pt x="146" y="87"/>
                </a:cubicBezTo>
                <a:cubicBezTo>
                  <a:pt x="149" y="85"/>
                  <a:pt x="149" y="85"/>
                  <a:pt x="149" y="85"/>
                </a:cubicBezTo>
                <a:cubicBezTo>
                  <a:pt x="153" y="80"/>
                  <a:pt x="153" y="80"/>
                  <a:pt x="153" y="80"/>
                </a:cubicBezTo>
                <a:cubicBezTo>
                  <a:pt x="154" y="78"/>
                  <a:pt x="154" y="78"/>
                  <a:pt x="154" y="78"/>
                </a:cubicBezTo>
                <a:cubicBezTo>
                  <a:pt x="157" y="76"/>
                  <a:pt x="157" y="76"/>
                  <a:pt x="157" y="76"/>
                </a:cubicBezTo>
                <a:cubicBezTo>
                  <a:pt x="155" y="78"/>
                  <a:pt x="155" y="78"/>
                  <a:pt x="155" y="78"/>
                </a:cubicBezTo>
                <a:cubicBezTo>
                  <a:pt x="153" y="82"/>
                  <a:pt x="153" y="82"/>
                  <a:pt x="153" y="82"/>
                </a:cubicBezTo>
                <a:cubicBezTo>
                  <a:pt x="152" y="84"/>
                  <a:pt x="152" y="84"/>
                  <a:pt x="152" y="84"/>
                </a:cubicBezTo>
                <a:cubicBezTo>
                  <a:pt x="153" y="83"/>
                  <a:pt x="155" y="82"/>
                  <a:pt x="156" y="80"/>
                </a:cubicBezTo>
                <a:cubicBezTo>
                  <a:pt x="160" y="78"/>
                  <a:pt x="160" y="78"/>
                  <a:pt x="160" y="78"/>
                </a:cubicBezTo>
                <a:cubicBezTo>
                  <a:pt x="161" y="76"/>
                  <a:pt x="161" y="76"/>
                  <a:pt x="161" y="76"/>
                </a:cubicBezTo>
                <a:cubicBezTo>
                  <a:pt x="167" y="71"/>
                  <a:pt x="167" y="71"/>
                  <a:pt x="167" y="71"/>
                </a:cubicBezTo>
                <a:cubicBezTo>
                  <a:pt x="168" y="69"/>
                  <a:pt x="168" y="69"/>
                  <a:pt x="168" y="69"/>
                </a:cubicBezTo>
                <a:cubicBezTo>
                  <a:pt x="174" y="64"/>
                  <a:pt x="174" y="64"/>
                  <a:pt x="174" y="64"/>
                </a:cubicBezTo>
                <a:cubicBezTo>
                  <a:pt x="176" y="62"/>
                  <a:pt x="176" y="62"/>
                  <a:pt x="176" y="62"/>
                </a:cubicBezTo>
                <a:cubicBezTo>
                  <a:pt x="179" y="61"/>
                  <a:pt x="179" y="61"/>
                  <a:pt x="179" y="61"/>
                </a:cubicBezTo>
                <a:cubicBezTo>
                  <a:pt x="174" y="66"/>
                  <a:pt x="174" y="66"/>
                  <a:pt x="174" y="66"/>
                </a:cubicBezTo>
                <a:cubicBezTo>
                  <a:pt x="170" y="70"/>
                  <a:pt x="170" y="70"/>
                  <a:pt x="170" y="70"/>
                </a:cubicBezTo>
                <a:cubicBezTo>
                  <a:pt x="171" y="70"/>
                  <a:pt x="171" y="70"/>
                  <a:pt x="171" y="70"/>
                </a:cubicBezTo>
                <a:cubicBezTo>
                  <a:pt x="176" y="67"/>
                  <a:pt x="176" y="67"/>
                  <a:pt x="176" y="67"/>
                </a:cubicBezTo>
                <a:cubicBezTo>
                  <a:pt x="179" y="65"/>
                  <a:pt x="179" y="65"/>
                  <a:pt x="179" y="65"/>
                </a:cubicBezTo>
                <a:cubicBezTo>
                  <a:pt x="182" y="64"/>
                  <a:pt x="182" y="64"/>
                  <a:pt x="182" y="64"/>
                </a:cubicBezTo>
                <a:cubicBezTo>
                  <a:pt x="182" y="64"/>
                  <a:pt x="182" y="64"/>
                  <a:pt x="182" y="64"/>
                </a:cubicBezTo>
                <a:moveTo>
                  <a:pt x="110" y="148"/>
                </a:moveTo>
                <a:cubicBezTo>
                  <a:pt x="112" y="146"/>
                  <a:pt x="112" y="146"/>
                  <a:pt x="112" y="146"/>
                </a:cubicBezTo>
                <a:cubicBezTo>
                  <a:pt x="113" y="144"/>
                  <a:pt x="113" y="144"/>
                  <a:pt x="113" y="144"/>
                </a:cubicBezTo>
                <a:cubicBezTo>
                  <a:pt x="115" y="143"/>
                  <a:pt x="115" y="143"/>
                  <a:pt x="115" y="143"/>
                </a:cubicBezTo>
                <a:cubicBezTo>
                  <a:pt x="118" y="139"/>
                  <a:pt x="118" y="139"/>
                  <a:pt x="118" y="139"/>
                </a:cubicBezTo>
                <a:cubicBezTo>
                  <a:pt x="116" y="138"/>
                  <a:pt x="116" y="138"/>
                  <a:pt x="116" y="138"/>
                </a:cubicBezTo>
                <a:cubicBezTo>
                  <a:pt x="117" y="135"/>
                  <a:pt x="117" y="135"/>
                  <a:pt x="117" y="135"/>
                </a:cubicBezTo>
                <a:cubicBezTo>
                  <a:pt x="116" y="135"/>
                  <a:pt x="115" y="135"/>
                  <a:pt x="115" y="135"/>
                </a:cubicBezTo>
                <a:cubicBezTo>
                  <a:pt x="111" y="137"/>
                  <a:pt x="111" y="137"/>
                  <a:pt x="111" y="137"/>
                </a:cubicBezTo>
                <a:cubicBezTo>
                  <a:pt x="108" y="139"/>
                  <a:pt x="108" y="139"/>
                  <a:pt x="108" y="139"/>
                </a:cubicBezTo>
                <a:cubicBezTo>
                  <a:pt x="108" y="138"/>
                  <a:pt x="108" y="138"/>
                  <a:pt x="108" y="138"/>
                </a:cubicBezTo>
                <a:cubicBezTo>
                  <a:pt x="111" y="135"/>
                  <a:pt x="111" y="135"/>
                  <a:pt x="111" y="135"/>
                </a:cubicBezTo>
                <a:cubicBezTo>
                  <a:pt x="114" y="134"/>
                  <a:pt x="114" y="134"/>
                  <a:pt x="114" y="134"/>
                </a:cubicBezTo>
                <a:cubicBezTo>
                  <a:pt x="118" y="133"/>
                  <a:pt x="118" y="133"/>
                  <a:pt x="118" y="133"/>
                </a:cubicBezTo>
                <a:cubicBezTo>
                  <a:pt x="121" y="131"/>
                  <a:pt x="121" y="131"/>
                  <a:pt x="121" y="131"/>
                </a:cubicBezTo>
                <a:cubicBezTo>
                  <a:pt x="119" y="130"/>
                  <a:pt x="119" y="130"/>
                  <a:pt x="119" y="130"/>
                </a:cubicBezTo>
                <a:cubicBezTo>
                  <a:pt x="119" y="128"/>
                  <a:pt x="119" y="128"/>
                  <a:pt x="119" y="128"/>
                </a:cubicBezTo>
                <a:cubicBezTo>
                  <a:pt x="118" y="127"/>
                  <a:pt x="118" y="127"/>
                  <a:pt x="118" y="127"/>
                </a:cubicBezTo>
                <a:cubicBezTo>
                  <a:pt x="119" y="124"/>
                  <a:pt x="119" y="124"/>
                  <a:pt x="119" y="124"/>
                </a:cubicBezTo>
                <a:cubicBezTo>
                  <a:pt x="120" y="121"/>
                  <a:pt x="120" y="121"/>
                  <a:pt x="120" y="121"/>
                </a:cubicBezTo>
                <a:cubicBezTo>
                  <a:pt x="122" y="119"/>
                  <a:pt x="122" y="119"/>
                  <a:pt x="122" y="119"/>
                </a:cubicBezTo>
                <a:cubicBezTo>
                  <a:pt x="123" y="118"/>
                  <a:pt x="123" y="118"/>
                  <a:pt x="123" y="118"/>
                </a:cubicBezTo>
                <a:cubicBezTo>
                  <a:pt x="125" y="116"/>
                  <a:pt x="125" y="116"/>
                  <a:pt x="125" y="116"/>
                </a:cubicBezTo>
                <a:cubicBezTo>
                  <a:pt x="127" y="112"/>
                  <a:pt x="127" y="112"/>
                  <a:pt x="127" y="112"/>
                </a:cubicBezTo>
                <a:cubicBezTo>
                  <a:pt x="130" y="108"/>
                  <a:pt x="130" y="108"/>
                  <a:pt x="130" y="108"/>
                </a:cubicBezTo>
                <a:cubicBezTo>
                  <a:pt x="136" y="100"/>
                  <a:pt x="136" y="100"/>
                  <a:pt x="136" y="100"/>
                </a:cubicBezTo>
                <a:cubicBezTo>
                  <a:pt x="139" y="96"/>
                  <a:pt x="139" y="96"/>
                  <a:pt x="139" y="96"/>
                </a:cubicBezTo>
                <a:cubicBezTo>
                  <a:pt x="133" y="101"/>
                  <a:pt x="133" y="101"/>
                  <a:pt x="133" y="101"/>
                </a:cubicBezTo>
                <a:cubicBezTo>
                  <a:pt x="132" y="102"/>
                  <a:pt x="130" y="103"/>
                  <a:pt x="129" y="104"/>
                </a:cubicBezTo>
                <a:cubicBezTo>
                  <a:pt x="126" y="106"/>
                  <a:pt x="126" y="106"/>
                  <a:pt x="126" y="106"/>
                </a:cubicBezTo>
                <a:cubicBezTo>
                  <a:pt x="123" y="108"/>
                  <a:pt x="123" y="108"/>
                  <a:pt x="123" y="108"/>
                </a:cubicBezTo>
                <a:cubicBezTo>
                  <a:pt x="122" y="108"/>
                  <a:pt x="122" y="108"/>
                  <a:pt x="122" y="108"/>
                </a:cubicBezTo>
                <a:cubicBezTo>
                  <a:pt x="124" y="105"/>
                  <a:pt x="124" y="105"/>
                  <a:pt x="124" y="105"/>
                </a:cubicBezTo>
                <a:cubicBezTo>
                  <a:pt x="125" y="103"/>
                  <a:pt x="125" y="103"/>
                  <a:pt x="125" y="103"/>
                </a:cubicBezTo>
                <a:cubicBezTo>
                  <a:pt x="123" y="104"/>
                  <a:pt x="123" y="104"/>
                  <a:pt x="123" y="104"/>
                </a:cubicBezTo>
                <a:cubicBezTo>
                  <a:pt x="128" y="100"/>
                  <a:pt x="128" y="100"/>
                  <a:pt x="128" y="100"/>
                </a:cubicBezTo>
                <a:cubicBezTo>
                  <a:pt x="130" y="98"/>
                  <a:pt x="132" y="96"/>
                  <a:pt x="134" y="94"/>
                </a:cubicBezTo>
                <a:cubicBezTo>
                  <a:pt x="137" y="91"/>
                  <a:pt x="137" y="91"/>
                  <a:pt x="137" y="91"/>
                </a:cubicBezTo>
                <a:cubicBezTo>
                  <a:pt x="137" y="91"/>
                  <a:pt x="137" y="91"/>
                  <a:pt x="137" y="91"/>
                </a:cubicBezTo>
                <a:cubicBezTo>
                  <a:pt x="138" y="89"/>
                  <a:pt x="138" y="89"/>
                  <a:pt x="138" y="89"/>
                </a:cubicBezTo>
                <a:cubicBezTo>
                  <a:pt x="141" y="85"/>
                  <a:pt x="141" y="85"/>
                  <a:pt x="141" y="85"/>
                </a:cubicBezTo>
                <a:cubicBezTo>
                  <a:pt x="144" y="82"/>
                  <a:pt x="144" y="82"/>
                  <a:pt x="144" y="82"/>
                </a:cubicBezTo>
                <a:cubicBezTo>
                  <a:pt x="142" y="83"/>
                  <a:pt x="142" y="83"/>
                  <a:pt x="142" y="83"/>
                </a:cubicBezTo>
                <a:cubicBezTo>
                  <a:pt x="141" y="83"/>
                  <a:pt x="141" y="83"/>
                  <a:pt x="141" y="83"/>
                </a:cubicBezTo>
                <a:cubicBezTo>
                  <a:pt x="142" y="82"/>
                  <a:pt x="142" y="82"/>
                  <a:pt x="142" y="82"/>
                </a:cubicBezTo>
                <a:cubicBezTo>
                  <a:pt x="142" y="82"/>
                  <a:pt x="142" y="82"/>
                  <a:pt x="142" y="82"/>
                </a:cubicBezTo>
                <a:cubicBezTo>
                  <a:pt x="139" y="84"/>
                  <a:pt x="139" y="84"/>
                  <a:pt x="139" y="84"/>
                </a:cubicBezTo>
                <a:cubicBezTo>
                  <a:pt x="135" y="87"/>
                  <a:pt x="135" y="87"/>
                  <a:pt x="135" y="87"/>
                </a:cubicBezTo>
                <a:cubicBezTo>
                  <a:pt x="131" y="91"/>
                  <a:pt x="131" y="91"/>
                  <a:pt x="131" y="91"/>
                </a:cubicBezTo>
                <a:cubicBezTo>
                  <a:pt x="127" y="94"/>
                  <a:pt x="127" y="94"/>
                  <a:pt x="127" y="94"/>
                </a:cubicBezTo>
                <a:cubicBezTo>
                  <a:pt x="123" y="98"/>
                  <a:pt x="123" y="98"/>
                  <a:pt x="123" y="98"/>
                </a:cubicBezTo>
                <a:cubicBezTo>
                  <a:pt x="123" y="97"/>
                  <a:pt x="123" y="97"/>
                  <a:pt x="123" y="97"/>
                </a:cubicBezTo>
                <a:cubicBezTo>
                  <a:pt x="119" y="101"/>
                  <a:pt x="119" y="101"/>
                  <a:pt x="119" y="101"/>
                </a:cubicBezTo>
                <a:cubicBezTo>
                  <a:pt x="117" y="103"/>
                  <a:pt x="117" y="103"/>
                  <a:pt x="117" y="103"/>
                </a:cubicBezTo>
                <a:cubicBezTo>
                  <a:pt x="115" y="105"/>
                  <a:pt x="115" y="105"/>
                  <a:pt x="115" y="105"/>
                </a:cubicBezTo>
                <a:cubicBezTo>
                  <a:pt x="113" y="108"/>
                  <a:pt x="113" y="108"/>
                  <a:pt x="113" y="108"/>
                </a:cubicBezTo>
                <a:cubicBezTo>
                  <a:pt x="109" y="113"/>
                  <a:pt x="109" y="113"/>
                  <a:pt x="109" y="113"/>
                </a:cubicBezTo>
                <a:cubicBezTo>
                  <a:pt x="107" y="115"/>
                  <a:pt x="105" y="116"/>
                  <a:pt x="103" y="118"/>
                </a:cubicBezTo>
                <a:cubicBezTo>
                  <a:pt x="99" y="122"/>
                  <a:pt x="99" y="122"/>
                  <a:pt x="99" y="122"/>
                </a:cubicBezTo>
                <a:cubicBezTo>
                  <a:pt x="96" y="125"/>
                  <a:pt x="96" y="125"/>
                  <a:pt x="96" y="125"/>
                </a:cubicBezTo>
                <a:cubicBezTo>
                  <a:pt x="95" y="126"/>
                  <a:pt x="95" y="126"/>
                  <a:pt x="95" y="126"/>
                </a:cubicBezTo>
                <a:cubicBezTo>
                  <a:pt x="91" y="131"/>
                  <a:pt x="91" y="131"/>
                  <a:pt x="91" y="131"/>
                </a:cubicBezTo>
                <a:cubicBezTo>
                  <a:pt x="89" y="133"/>
                  <a:pt x="87" y="135"/>
                  <a:pt x="85" y="137"/>
                </a:cubicBezTo>
                <a:cubicBezTo>
                  <a:pt x="83" y="141"/>
                  <a:pt x="83" y="141"/>
                  <a:pt x="83" y="141"/>
                </a:cubicBezTo>
                <a:cubicBezTo>
                  <a:pt x="80" y="144"/>
                  <a:pt x="80" y="144"/>
                  <a:pt x="80" y="144"/>
                </a:cubicBezTo>
                <a:cubicBezTo>
                  <a:pt x="77" y="148"/>
                  <a:pt x="77" y="148"/>
                  <a:pt x="77" y="148"/>
                </a:cubicBezTo>
                <a:cubicBezTo>
                  <a:pt x="76" y="148"/>
                  <a:pt x="76" y="148"/>
                  <a:pt x="76" y="148"/>
                </a:cubicBezTo>
                <a:cubicBezTo>
                  <a:pt x="80" y="143"/>
                  <a:pt x="80" y="143"/>
                  <a:pt x="80" y="143"/>
                </a:cubicBezTo>
                <a:cubicBezTo>
                  <a:pt x="83" y="138"/>
                  <a:pt x="83" y="138"/>
                  <a:pt x="83" y="138"/>
                </a:cubicBezTo>
                <a:cubicBezTo>
                  <a:pt x="84" y="137"/>
                  <a:pt x="85" y="135"/>
                  <a:pt x="86" y="134"/>
                </a:cubicBezTo>
                <a:cubicBezTo>
                  <a:pt x="91" y="128"/>
                  <a:pt x="91" y="128"/>
                  <a:pt x="91" y="128"/>
                </a:cubicBezTo>
                <a:cubicBezTo>
                  <a:pt x="95" y="124"/>
                  <a:pt x="95" y="124"/>
                  <a:pt x="95" y="124"/>
                </a:cubicBezTo>
                <a:cubicBezTo>
                  <a:pt x="96" y="123"/>
                  <a:pt x="96" y="123"/>
                  <a:pt x="96" y="123"/>
                </a:cubicBezTo>
                <a:cubicBezTo>
                  <a:pt x="96" y="122"/>
                  <a:pt x="96" y="122"/>
                  <a:pt x="96" y="122"/>
                </a:cubicBezTo>
                <a:cubicBezTo>
                  <a:pt x="97" y="121"/>
                  <a:pt x="97" y="121"/>
                  <a:pt x="97" y="121"/>
                </a:cubicBezTo>
                <a:cubicBezTo>
                  <a:pt x="99" y="119"/>
                  <a:pt x="99" y="119"/>
                  <a:pt x="99" y="119"/>
                </a:cubicBezTo>
                <a:cubicBezTo>
                  <a:pt x="92" y="126"/>
                  <a:pt x="85" y="135"/>
                  <a:pt x="79" y="142"/>
                </a:cubicBezTo>
                <a:cubicBezTo>
                  <a:pt x="67" y="158"/>
                  <a:pt x="67" y="158"/>
                  <a:pt x="47" y="190"/>
                </a:cubicBezTo>
                <a:cubicBezTo>
                  <a:pt x="37" y="208"/>
                  <a:pt x="37" y="208"/>
                  <a:pt x="23" y="243"/>
                </a:cubicBezTo>
                <a:cubicBezTo>
                  <a:pt x="19" y="253"/>
                  <a:pt x="15" y="267"/>
                  <a:pt x="12" y="277"/>
                </a:cubicBezTo>
                <a:cubicBezTo>
                  <a:pt x="11" y="280"/>
                  <a:pt x="11" y="280"/>
                  <a:pt x="11" y="280"/>
                </a:cubicBezTo>
                <a:cubicBezTo>
                  <a:pt x="11" y="280"/>
                  <a:pt x="11" y="280"/>
                  <a:pt x="11" y="280"/>
                </a:cubicBezTo>
                <a:cubicBezTo>
                  <a:pt x="12" y="278"/>
                  <a:pt x="12" y="278"/>
                  <a:pt x="12" y="278"/>
                </a:cubicBezTo>
                <a:cubicBezTo>
                  <a:pt x="12" y="277"/>
                  <a:pt x="12" y="277"/>
                  <a:pt x="12" y="277"/>
                </a:cubicBezTo>
                <a:cubicBezTo>
                  <a:pt x="11" y="281"/>
                  <a:pt x="11" y="281"/>
                  <a:pt x="11" y="281"/>
                </a:cubicBezTo>
                <a:cubicBezTo>
                  <a:pt x="10" y="286"/>
                  <a:pt x="10" y="286"/>
                  <a:pt x="10" y="286"/>
                </a:cubicBezTo>
                <a:cubicBezTo>
                  <a:pt x="10" y="288"/>
                  <a:pt x="10" y="289"/>
                  <a:pt x="9" y="291"/>
                </a:cubicBezTo>
                <a:cubicBezTo>
                  <a:pt x="9" y="294"/>
                  <a:pt x="9" y="294"/>
                  <a:pt x="9" y="294"/>
                </a:cubicBezTo>
                <a:cubicBezTo>
                  <a:pt x="8" y="297"/>
                  <a:pt x="8" y="297"/>
                  <a:pt x="8" y="297"/>
                </a:cubicBezTo>
                <a:cubicBezTo>
                  <a:pt x="8" y="300"/>
                  <a:pt x="8" y="300"/>
                  <a:pt x="8" y="300"/>
                </a:cubicBezTo>
                <a:cubicBezTo>
                  <a:pt x="7" y="304"/>
                  <a:pt x="7" y="304"/>
                  <a:pt x="7" y="304"/>
                </a:cubicBezTo>
                <a:cubicBezTo>
                  <a:pt x="7" y="306"/>
                  <a:pt x="7" y="306"/>
                  <a:pt x="7" y="306"/>
                </a:cubicBezTo>
                <a:cubicBezTo>
                  <a:pt x="6" y="310"/>
                  <a:pt x="6" y="310"/>
                  <a:pt x="6" y="310"/>
                </a:cubicBezTo>
                <a:cubicBezTo>
                  <a:pt x="6" y="311"/>
                  <a:pt x="6" y="311"/>
                  <a:pt x="6" y="311"/>
                </a:cubicBezTo>
                <a:cubicBezTo>
                  <a:pt x="7" y="308"/>
                  <a:pt x="7" y="308"/>
                  <a:pt x="7" y="308"/>
                </a:cubicBezTo>
                <a:cubicBezTo>
                  <a:pt x="8" y="304"/>
                  <a:pt x="8" y="304"/>
                  <a:pt x="8" y="304"/>
                </a:cubicBezTo>
                <a:cubicBezTo>
                  <a:pt x="9" y="298"/>
                  <a:pt x="9" y="298"/>
                  <a:pt x="9" y="298"/>
                </a:cubicBezTo>
                <a:cubicBezTo>
                  <a:pt x="10" y="291"/>
                  <a:pt x="10" y="291"/>
                  <a:pt x="10" y="291"/>
                </a:cubicBezTo>
                <a:cubicBezTo>
                  <a:pt x="12" y="283"/>
                  <a:pt x="12" y="283"/>
                  <a:pt x="12" y="283"/>
                </a:cubicBezTo>
                <a:cubicBezTo>
                  <a:pt x="12" y="280"/>
                  <a:pt x="13" y="277"/>
                  <a:pt x="14" y="274"/>
                </a:cubicBezTo>
                <a:cubicBezTo>
                  <a:pt x="15" y="272"/>
                  <a:pt x="15" y="270"/>
                  <a:pt x="16" y="268"/>
                </a:cubicBezTo>
                <a:cubicBezTo>
                  <a:pt x="18" y="262"/>
                  <a:pt x="18" y="262"/>
                  <a:pt x="18" y="262"/>
                </a:cubicBezTo>
                <a:cubicBezTo>
                  <a:pt x="19" y="260"/>
                  <a:pt x="19" y="260"/>
                  <a:pt x="19" y="260"/>
                </a:cubicBezTo>
                <a:cubicBezTo>
                  <a:pt x="21" y="255"/>
                  <a:pt x="21" y="255"/>
                  <a:pt x="21" y="255"/>
                </a:cubicBezTo>
                <a:cubicBezTo>
                  <a:pt x="23" y="252"/>
                  <a:pt x="23" y="252"/>
                  <a:pt x="23" y="252"/>
                </a:cubicBezTo>
                <a:cubicBezTo>
                  <a:pt x="24" y="250"/>
                  <a:pt x="24" y="250"/>
                  <a:pt x="24" y="250"/>
                </a:cubicBezTo>
                <a:cubicBezTo>
                  <a:pt x="26" y="246"/>
                  <a:pt x="26" y="246"/>
                  <a:pt x="26" y="246"/>
                </a:cubicBezTo>
                <a:cubicBezTo>
                  <a:pt x="27" y="244"/>
                  <a:pt x="27" y="244"/>
                  <a:pt x="27" y="244"/>
                </a:cubicBezTo>
                <a:cubicBezTo>
                  <a:pt x="29" y="237"/>
                  <a:pt x="29" y="237"/>
                  <a:pt x="29" y="237"/>
                </a:cubicBezTo>
                <a:cubicBezTo>
                  <a:pt x="30" y="235"/>
                  <a:pt x="30" y="235"/>
                  <a:pt x="30" y="235"/>
                </a:cubicBezTo>
                <a:cubicBezTo>
                  <a:pt x="31" y="231"/>
                  <a:pt x="31" y="231"/>
                  <a:pt x="31" y="231"/>
                </a:cubicBezTo>
                <a:cubicBezTo>
                  <a:pt x="32" y="228"/>
                  <a:pt x="32" y="228"/>
                  <a:pt x="32" y="228"/>
                </a:cubicBezTo>
                <a:cubicBezTo>
                  <a:pt x="34" y="226"/>
                  <a:pt x="34" y="226"/>
                  <a:pt x="34" y="226"/>
                </a:cubicBezTo>
                <a:cubicBezTo>
                  <a:pt x="32" y="231"/>
                  <a:pt x="32" y="231"/>
                  <a:pt x="32" y="231"/>
                </a:cubicBezTo>
                <a:cubicBezTo>
                  <a:pt x="35" y="226"/>
                  <a:pt x="35" y="226"/>
                  <a:pt x="35" y="226"/>
                </a:cubicBezTo>
                <a:cubicBezTo>
                  <a:pt x="37" y="223"/>
                  <a:pt x="37" y="223"/>
                  <a:pt x="37" y="223"/>
                </a:cubicBezTo>
                <a:cubicBezTo>
                  <a:pt x="38" y="220"/>
                  <a:pt x="38" y="220"/>
                  <a:pt x="38" y="220"/>
                </a:cubicBezTo>
                <a:cubicBezTo>
                  <a:pt x="42" y="212"/>
                  <a:pt x="42" y="212"/>
                  <a:pt x="42" y="212"/>
                </a:cubicBezTo>
                <a:cubicBezTo>
                  <a:pt x="43" y="212"/>
                  <a:pt x="43" y="212"/>
                  <a:pt x="44" y="212"/>
                </a:cubicBezTo>
                <a:cubicBezTo>
                  <a:pt x="46" y="210"/>
                  <a:pt x="46" y="210"/>
                  <a:pt x="46" y="210"/>
                </a:cubicBezTo>
                <a:cubicBezTo>
                  <a:pt x="48" y="209"/>
                  <a:pt x="48" y="209"/>
                  <a:pt x="48" y="209"/>
                </a:cubicBezTo>
                <a:cubicBezTo>
                  <a:pt x="49" y="206"/>
                  <a:pt x="49" y="206"/>
                  <a:pt x="49" y="206"/>
                </a:cubicBezTo>
                <a:cubicBezTo>
                  <a:pt x="52" y="199"/>
                  <a:pt x="52" y="199"/>
                  <a:pt x="52" y="199"/>
                </a:cubicBezTo>
                <a:cubicBezTo>
                  <a:pt x="56" y="194"/>
                  <a:pt x="56" y="194"/>
                  <a:pt x="56" y="194"/>
                </a:cubicBezTo>
                <a:cubicBezTo>
                  <a:pt x="56" y="194"/>
                  <a:pt x="57" y="194"/>
                  <a:pt x="57" y="194"/>
                </a:cubicBezTo>
                <a:cubicBezTo>
                  <a:pt x="59" y="192"/>
                  <a:pt x="59" y="192"/>
                  <a:pt x="59" y="192"/>
                </a:cubicBezTo>
                <a:cubicBezTo>
                  <a:pt x="60" y="192"/>
                  <a:pt x="60" y="192"/>
                  <a:pt x="60" y="192"/>
                </a:cubicBezTo>
                <a:cubicBezTo>
                  <a:pt x="63" y="189"/>
                  <a:pt x="63" y="189"/>
                  <a:pt x="63" y="189"/>
                </a:cubicBezTo>
                <a:cubicBezTo>
                  <a:pt x="66" y="186"/>
                  <a:pt x="66" y="186"/>
                  <a:pt x="66" y="186"/>
                </a:cubicBezTo>
                <a:cubicBezTo>
                  <a:pt x="68" y="186"/>
                  <a:pt x="69" y="186"/>
                  <a:pt x="70" y="187"/>
                </a:cubicBezTo>
                <a:cubicBezTo>
                  <a:pt x="70" y="188"/>
                  <a:pt x="69" y="188"/>
                  <a:pt x="69" y="189"/>
                </a:cubicBezTo>
                <a:cubicBezTo>
                  <a:pt x="68" y="189"/>
                  <a:pt x="67" y="189"/>
                  <a:pt x="66" y="189"/>
                </a:cubicBezTo>
                <a:cubicBezTo>
                  <a:pt x="63" y="192"/>
                  <a:pt x="63" y="192"/>
                  <a:pt x="61" y="196"/>
                </a:cubicBezTo>
                <a:cubicBezTo>
                  <a:pt x="61" y="197"/>
                  <a:pt x="61" y="197"/>
                  <a:pt x="61" y="197"/>
                </a:cubicBezTo>
                <a:cubicBezTo>
                  <a:pt x="64" y="195"/>
                  <a:pt x="64" y="195"/>
                  <a:pt x="64" y="195"/>
                </a:cubicBezTo>
                <a:cubicBezTo>
                  <a:pt x="66" y="193"/>
                  <a:pt x="66" y="193"/>
                  <a:pt x="66" y="193"/>
                </a:cubicBezTo>
                <a:cubicBezTo>
                  <a:pt x="68" y="192"/>
                  <a:pt x="68" y="192"/>
                  <a:pt x="68" y="192"/>
                </a:cubicBezTo>
                <a:cubicBezTo>
                  <a:pt x="71" y="190"/>
                  <a:pt x="71" y="190"/>
                  <a:pt x="71" y="190"/>
                </a:cubicBezTo>
                <a:cubicBezTo>
                  <a:pt x="73" y="189"/>
                  <a:pt x="73" y="189"/>
                  <a:pt x="73" y="189"/>
                </a:cubicBezTo>
                <a:cubicBezTo>
                  <a:pt x="77" y="185"/>
                  <a:pt x="77" y="185"/>
                  <a:pt x="77" y="185"/>
                </a:cubicBezTo>
                <a:cubicBezTo>
                  <a:pt x="80" y="182"/>
                  <a:pt x="80" y="182"/>
                  <a:pt x="80" y="182"/>
                </a:cubicBezTo>
                <a:cubicBezTo>
                  <a:pt x="83" y="178"/>
                  <a:pt x="83" y="178"/>
                  <a:pt x="83" y="178"/>
                </a:cubicBezTo>
                <a:cubicBezTo>
                  <a:pt x="80" y="179"/>
                  <a:pt x="80" y="179"/>
                  <a:pt x="80" y="179"/>
                </a:cubicBezTo>
                <a:cubicBezTo>
                  <a:pt x="75" y="184"/>
                  <a:pt x="75" y="184"/>
                  <a:pt x="75" y="184"/>
                </a:cubicBezTo>
                <a:cubicBezTo>
                  <a:pt x="73" y="184"/>
                  <a:pt x="73" y="184"/>
                  <a:pt x="73" y="184"/>
                </a:cubicBezTo>
                <a:cubicBezTo>
                  <a:pt x="73" y="182"/>
                  <a:pt x="73" y="182"/>
                  <a:pt x="73" y="182"/>
                </a:cubicBezTo>
                <a:cubicBezTo>
                  <a:pt x="73" y="178"/>
                  <a:pt x="73" y="178"/>
                  <a:pt x="73" y="178"/>
                </a:cubicBezTo>
                <a:cubicBezTo>
                  <a:pt x="76" y="171"/>
                  <a:pt x="76" y="171"/>
                  <a:pt x="76" y="171"/>
                </a:cubicBezTo>
                <a:cubicBezTo>
                  <a:pt x="80" y="168"/>
                  <a:pt x="80" y="168"/>
                  <a:pt x="80" y="168"/>
                </a:cubicBezTo>
                <a:cubicBezTo>
                  <a:pt x="83" y="163"/>
                  <a:pt x="83" y="163"/>
                  <a:pt x="83" y="163"/>
                </a:cubicBezTo>
                <a:cubicBezTo>
                  <a:pt x="81" y="162"/>
                  <a:pt x="81" y="162"/>
                  <a:pt x="81" y="162"/>
                </a:cubicBezTo>
                <a:cubicBezTo>
                  <a:pt x="78" y="164"/>
                  <a:pt x="78" y="164"/>
                  <a:pt x="78" y="164"/>
                </a:cubicBezTo>
                <a:cubicBezTo>
                  <a:pt x="73" y="168"/>
                  <a:pt x="73" y="168"/>
                  <a:pt x="73" y="168"/>
                </a:cubicBezTo>
                <a:cubicBezTo>
                  <a:pt x="67" y="174"/>
                  <a:pt x="67" y="174"/>
                  <a:pt x="67" y="174"/>
                </a:cubicBezTo>
                <a:cubicBezTo>
                  <a:pt x="63" y="178"/>
                  <a:pt x="63" y="178"/>
                  <a:pt x="63" y="178"/>
                </a:cubicBezTo>
                <a:cubicBezTo>
                  <a:pt x="66" y="175"/>
                  <a:pt x="66" y="175"/>
                  <a:pt x="66" y="175"/>
                </a:cubicBezTo>
                <a:cubicBezTo>
                  <a:pt x="69" y="171"/>
                  <a:pt x="69" y="171"/>
                  <a:pt x="69" y="171"/>
                </a:cubicBezTo>
                <a:cubicBezTo>
                  <a:pt x="71" y="169"/>
                  <a:pt x="71" y="169"/>
                  <a:pt x="71" y="169"/>
                </a:cubicBezTo>
                <a:cubicBezTo>
                  <a:pt x="71" y="167"/>
                  <a:pt x="71" y="167"/>
                  <a:pt x="71" y="167"/>
                </a:cubicBezTo>
                <a:cubicBezTo>
                  <a:pt x="71" y="167"/>
                  <a:pt x="72" y="167"/>
                  <a:pt x="72" y="167"/>
                </a:cubicBezTo>
                <a:cubicBezTo>
                  <a:pt x="75" y="164"/>
                  <a:pt x="75" y="164"/>
                  <a:pt x="75" y="164"/>
                </a:cubicBezTo>
                <a:cubicBezTo>
                  <a:pt x="78" y="161"/>
                  <a:pt x="78" y="161"/>
                  <a:pt x="78" y="161"/>
                </a:cubicBezTo>
                <a:cubicBezTo>
                  <a:pt x="80" y="161"/>
                  <a:pt x="80" y="161"/>
                  <a:pt x="80" y="161"/>
                </a:cubicBezTo>
                <a:cubicBezTo>
                  <a:pt x="83" y="157"/>
                  <a:pt x="83" y="157"/>
                  <a:pt x="83" y="157"/>
                </a:cubicBezTo>
                <a:cubicBezTo>
                  <a:pt x="85" y="156"/>
                  <a:pt x="85" y="156"/>
                  <a:pt x="85" y="156"/>
                </a:cubicBezTo>
                <a:cubicBezTo>
                  <a:pt x="86" y="156"/>
                  <a:pt x="87" y="156"/>
                  <a:pt x="87" y="156"/>
                </a:cubicBezTo>
                <a:cubicBezTo>
                  <a:pt x="92" y="156"/>
                  <a:pt x="92" y="156"/>
                  <a:pt x="92" y="156"/>
                </a:cubicBezTo>
                <a:cubicBezTo>
                  <a:pt x="93" y="157"/>
                  <a:pt x="93" y="157"/>
                  <a:pt x="93" y="157"/>
                </a:cubicBezTo>
                <a:cubicBezTo>
                  <a:pt x="95" y="157"/>
                  <a:pt x="95" y="157"/>
                  <a:pt x="95" y="157"/>
                </a:cubicBezTo>
                <a:cubicBezTo>
                  <a:pt x="99" y="154"/>
                  <a:pt x="99" y="154"/>
                  <a:pt x="99" y="154"/>
                </a:cubicBezTo>
                <a:cubicBezTo>
                  <a:pt x="104" y="150"/>
                  <a:pt x="104" y="150"/>
                  <a:pt x="104" y="150"/>
                </a:cubicBezTo>
                <a:cubicBezTo>
                  <a:pt x="107" y="150"/>
                  <a:pt x="107" y="150"/>
                  <a:pt x="107" y="150"/>
                </a:cubicBezTo>
                <a:cubicBezTo>
                  <a:pt x="110" y="148"/>
                  <a:pt x="110" y="148"/>
                  <a:pt x="110" y="148"/>
                </a:cubicBezTo>
              </a:path>
            </a:pathLst>
          </a:custGeom>
          <a:solidFill>
            <a:schemeClr val="tx1">
              <a:lumMod val="65000"/>
              <a:lumOff val="35000"/>
            </a:schemeClr>
          </a:solidFill>
          <a:ln w="9525">
            <a:noFill/>
            <a:round/>
          </a:ln>
        </p:spPr>
        <p:txBody>
          <a:bodyPr vert="horz" wrap="square" lIns="121908" tIns="60954" rIns="121908" bIns="60954" numCol="1" anchor="t" anchorCtr="0" compatLnSpc="1"/>
          <a:lstStyle/>
          <a:p>
            <a:endParaRPr lang="en-US"/>
          </a:p>
        </p:txBody>
      </p:sp>
      <p:grpSp>
        <p:nvGrpSpPr>
          <p:cNvPr id="211" name="Group 210"/>
          <p:cNvGrpSpPr/>
          <p:nvPr/>
        </p:nvGrpSpPr>
        <p:grpSpPr>
          <a:xfrm>
            <a:off x="2640032" y="2148184"/>
            <a:ext cx="1724911" cy="1725136"/>
            <a:chOff x="2183615" y="1663567"/>
            <a:chExt cx="1293852" cy="1293852"/>
          </a:xfrm>
        </p:grpSpPr>
        <p:sp>
          <p:nvSpPr>
            <p:cNvPr id="196" name="Oval 195"/>
            <p:cNvSpPr/>
            <p:nvPr/>
          </p:nvSpPr>
          <p:spPr>
            <a:xfrm>
              <a:off x="2283175" y="1763127"/>
              <a:ext cx="1094733" cy="109473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p>
          </p:txBody>
        </p:sp>
        <p:sp>
          <p:nvSpPr>
            <p:cNvPr id="209" name="Oval 208"/>
            <p:cNvSpPr/>
            <p:nvPr/>
          </p:nvSpPr>
          <p:spPr>
            <a:xfrm>
              <a:off x="2183615" y="1663567"/>
              <a:ext cx="1293852" cy="1293852"/>
            </a:xfrm>
            <a:prstGeom prst="ellipse">
              <a:avLst/>
            </a:prstGeom>
            <a:noFill/>
            <a:ln w="1905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grpSp>
      <p:grpSp>
        <p:nvGrpSpPr>
          <p:cNvPr id="212" name="Group 211"/>
          <p:cNvGrpSpPr/>
          <p:nvPr/>
        </p:nvGrpSpPr>
        <p:grpSpPr>
          <a:xfrm>
            <a:off x="796847" y="2363215"/>
            <a:ext cx="1294910" cy="1295076"/>
            <a:chOff x="864537" y="1822859"/>
            <a:chExt cx="971309" cy="971307"/>
          </a:xfrm>
        </p:grpSpPr>
        <p:sp>
          <p:nvSpPr>
            <p:cNvPr id="190" name="Oval 189"/>
            <p:cNvSpPr/>
            <p:nvPr/>
          </p:nvSpPr>
          <p:spPr>
            <a:xfrm>
              <a:off x="932451" y="1890773"/>
              <a:ext cx="835480" cy="835478"/>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p>
          </p:txBody>
        </p:sp>
        <p:sp>
          <p:nvSpPr>
            <p:cNvPr id="210" name="Oval 209"/>
            <p:cNvSpPr/>
            <p:nvPr/>
          </p:nvSpPr>
          <p:spPr>
            <a:xfrm>
              <a:off x="864537" y="1822859"/>
              <a:ext cx="971309" cy="971307"/>
            </a:xfrm>
            <a:prstGeom prst="ellipse">
              <a:avLst/>
            </a:prstGeom>
            <a:noFill/>
            <a:ln w="1905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p>
          </p:txBody>
        </p:sp>
      </p:grpSp>
      <p:sp>
        <p:nvSpPr>
          <p:cNvPr id="215" name="Arc 214"/>
          <p:cNvSpPr/>
          <p:nvPr/>
        </p:nvSpPr>
        <p:spPr>
          <a:xfrm>
            <a:off x="4912984" y="1835172"/>
            <a:ext cx="2350854" cy="2351160"/>
          </a:xfrm>
          <a:prstGeom prst="arc">
            <a:avLst>
              <a:gd name="adj1" fmla="val 21578092"/>
              <a:gd name="adj2" fmla="val 16283076"/>
            </a:avLst>
          </a:prstGeom>
          <a:ln w="19050">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txBody>
          <a:bodyPr lIns="121908" tIns="60954" rIns="121908" bIns="60954" rtlCol="0" anchor="ctr"/>
          <a:lstStyle/>
          <a:p>
            <a:pPr algn="ctr"/>
            <a:endParaRPr lang="en-US"/>
          </a:p>
        </p:txBody>
      </p:sp>
      <p:cxnSp>
        <p:nvCxnSpPr>
          <p:cNvPr id="220" name="Straight Connector 219"/>
          <p:cNvCxnSpPr/>
          <p:nvPr/>
        </p:nvCxnSpPr>
        <p:spPr>
          <a:xfrm flipH="1">
            <a:off x="2091758" y="3010752"/>
            <a:ext cx="548043" cy="0"/>
          </a:xfrm>
          <a:prstGeom prst="line">
            <a:avLst/>
          </a:prstGeom>
          <a:ln w="19050">
            <a:solidFill>
              <a:schemeClr val="tx1">
                <a:lumMod val="65000"/>
                <a:lumOff val="3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flipH="1">
            <a:off x="7263839" y="3010752"/>
            <a:ext cx="548043" cy="0"/>
          </a:xfrm>
          <a:prstGeom prst="line">
            <a:avLst/>
          </a:prstGeom>
          <a:ln w="19050">
            <a:solidFill>
              <a:schemeClr val="tx1">
                <a:lumMod val="65000"/>
                <a:lumOff val="3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222" name="Group 221"/>
          <p:cNvGrpSpPr/>
          <p:nvPr/>
        </p:nvGrpSpPr>
        <p:grpSpPr>
          <a:xfrm>
            <a:off x="7811882" y="2148184"/>
            <a:ext cx="1724911" cy="1725136"/>
            <a:chOff x="2183615" y="1663567"/>
            <a:chExt cx="1293852" cy="1293852"/>
          </a:xfrm>
        </p:grpSpPr>
        <p:sp>
          <p:nvSpPr>
            <p:cNvPr id="223" name="Oval 222"/>
            <p:cNvSpPr/>
            <p:nvPr/>
          </p:nvSpPr>
          <p:spPr>
            <a:xfrm>
              <a:off x="2283175" y="1763127"/>
              <a:ext cx="1094733" cy="10947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p>
          </p:txBody>
        </p:sp>
        <p:sp>
          <p:nvSpPr>
            <p:cNvPr id="224" name="Oval 223"/>
            <p:cNvSpPr/>
            <p:nvPr/>
          </p:nvSpPr>
          <p:spPr>
            <a:xfrm>
              <a:off x="2183615" y="1663567"/>
              <a:ext cx="1293852" cy="1293852"/>
            </a:xfrm>
            <a:prstGeom prst="ellipse">
              <a:avLst/>
            </a:prstGeom>
            <a:noFill/>
            <a:ln w="1905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p>
          </p:txBody>
        </p:sp>
      </p:grpSp>
      <p:cxnSp>
        <p:nvCxnSpPr>
          <p:cNvPr id="225" name="Straight Connector 224"/>
          <p:cNvCxnSpPr/>
          <p:nvPr/>
        </p:nvCxnSpPr>
        <p:spPr>
          <a:xfrm flipH="1">
            <a:off x="9536794" y="3010752"/>
            <a:ext cx="548043" cy="0"/>
          </a:xfrm>
          <a:prstGeom prst="line">
            <a:avLst/>
          </a:prstGeom>
          <a:ln w="19050">
            <a:solidFill>
              <a:schemeClr val="tx1">
                <a:lumMod val="65000"/>
                <a:lumOff val="3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226" name="Group 225"/>
          <p:cNvGrpSpPr/>
          <p:nvPr/>
        </p:nvGrpSpPr>
        <p:grpSpPr>
          <a:xfrm>
            <a:off x="10084837" y="2363215"/>
            <a:ext cx="1294910" cy="1295076"/>
            <a:chOff x="864537" y="1822859"/>
            <a:chExt cx="971309" cy="971307"/>
          </a:xfrm>
        </p:grpSpPr>
        <p:sp>
          <p:nvSpPr>
            <p:cNvPr id="227" name="Oval 226"/>
            <p:cNvSpPr/>
            <p:nvPr/>
          </p:nvSpPr>
          <p:spPr>
            <a:xfrm>
              <a:off x="932451" y="1890773"/>
              <a:ext cx="835480" cy="83547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p>
          </p:txBody>
        </p:sp>
        <p:sp>
          <p:nvSpPr>
            <p:cNvPr id="228" name="Oval 227"/>
            <p:cNvSpPr/>
            <p:nvPr/>
          </p:nvSpPr>
          <p:spPr>
            <a:xfrm>
              <a:off x="864537" y="1822859"/>
              <a:ext cx="971309" cy="971307"/>
            </a:xfrm>
            <a:prstGeom prst="ellipse">
              <a:avLst/>
            </a:prstGeom>
            <a:noFill/>
            <a:ln w="1905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p>
          </p:txBody>
        </p:sp>
      </p:grpSp>
      <p:cxnSp>
        <p:nvCxnSpPr>
          <p:cNvPr id="229" name="Straight Connector 228"/>
          <p:cNvCxnSpPr/>
          <p:nvPr/>
        </p:nvCxnSpPr>
        <p:spPr>
          <a:xfrm flipH="1">
            <a:off x="6116815" y="1837631"/>
            <a:ext cx="900779" cy="0"/>
          </a:xfrm>
          <a:prstGeom prst="line">
            <a:avLst/>
          </a:prstGeom>
          <a:ln w="19050">
            <a:solidFill>
              <a:schemeClr val="tx1">
                <a:lumMod val="65000"/>
                <a:lumOff val="35000"/>
              </a:schemeClr>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grpSp>
        <p:nvGrpSpPr>
          <p:cNvPr id="233" name="Group 232"/>
          <p:cNvGrpSpPr/>
          <p:nvPr/>
        </p:nvGrpSpPr>
        <p:grpSpPr>
          <a:xfrm>
            <a:off x="7044814" y="1431958"/>
            <a:ext cx="823261" cy="823363"/>
            <a:chOff x="864537" y="1822859"/>
            <a:chExt cx="971309" cy="971307"/>
          </a:xfrm>
        </p:grpSpPr>
        <p:sp>
          <p:nvSpPr>
            <p:cNvPr id="234" name="Oval 233"/>
            <p:cNvSpPr/>
            <p:nvPr/>
          </p:nvSpPr>
          <p:spPr>
            <a:xfrm>
              <a:off x="932451" y="1890773"/>
              <a:ext cx="835480" cy="835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0" dirty="0">
                  <a:solidFill>
                    <a:schemeClr val="bg1"/>
                  </a:solidFill>
                  <a:latin typeface="Agency FB" panose="020B0503020202020204" pitchFamily="34" charset="0"/>
                </a:rPr>
                <a:t>02</a:t>
              </a:r>
            </a:p>
          </p:txBody>
        </p:sp>
        <p:sp>
          <p:nvSpPr>
            <p:cNvPr id="235" name="Oval 234"/>
            <p:cNvSpPr/>
            <p:nvPr/>
          </p:nvSpPr>
          <p:spPr>
            <a:xfrm>
              <a:off x="864537" y="1822859"/>
              <a:ext cx="971309" cy="971307"/>
            </a:xfrm>
            <a:prstGeom prst="ellipse">
              <a:avLst/>
            </a:prstGeom>
            <a:noFill/>
            <a:ln w="1905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FFC000"/>
                </a:solidFill>
                <a:latin typeface="Agency FB" panose="020B0503020202020204" pitchFamily="34" charset="0"/>
              </a:endParaRPr>
            </a:p>
          </p:txBody>
        </p:sp>
      </p:grpSp>
      <p:cxnSp>
        <p:nvCxnSpPr>
          <p:cNvPr id="239" name="Straight Connector 238"/>
          <p:cNvCxnSpPr/>
          <p:nvPr/>
        </p:nvCxnSpPr>
        <p:spPr>
          <a:xfrm>
            <a:off x="2338688" y="3033170"/>
            <a:ext cx="0" cy="881515"/>
          </a:xfrm>
          <a:prstGeom prst="line">
            <a:avLst/>
          </a:prstGeom>
          <a:ln w="19050">
            <a:solidFill>
              <a:schemeClr val="tx1">
                <a:lumMod val="65000"/>
                <a:lumOff val="3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241" name="Group 240"/>
          <p:cNvGrpSpPr/>
          <p:nvPr/>
        </p:nvGrpSpPr>
        <p:grpSpPr>
          <a:xfrm>
            <a:off x="1927059" y="3940190"/>
            <a:ext cx="823261" cy="823363"/>
            <a:chOff x="864537" y="1822859"/>
            <a:chExt cx="971309" cy="971307"/>
          </a:xfrm>
        </p:grpSpPr>
        <p:sp>
          <p:nvSpPr>
            <p:cNvPr id="242" name="Oval 241"/>
            <p:cNvSpPr/>
            <p:nvPr/>
          </p:nvSpPr>
          <p:spPr>
            <a:xfrm>
              <a:off x="932451" y="1890773"/>
              <a:ext cx="835480" cy="835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0" dirty="0">
                  <a:solidFill>
                    <a:schemeClr val="bg1"/>
                  </a:solidFill>
                  <a:latin typeface="Agency FB" panose="020B0503020202020204" pitchFamily="34" charset="0"/>
                </a:rPr>
                <a:t>01</a:t>
              </a:r>
            </a:p>
          </p:txBody>
        </p:sp>
        <p:sp>
          <p:nvSpPr>
            <p:cNvPr id="243" name="Oval 242"/>
            <p:cNvSpPr/>
            <p:nvPr/>
          </p:nvSpPr>
          <p:spPr>
            <a:xfrm>
              <a:off x="864537" y="1822859"/>
              <a:ext cx="971309" cy="971307"/>
            </a:xfrm>
            <a:prstGeom prst="ellipse">
              <a:avLst/>
            </a:prstGeom>
            <a:noFill/>
            <a:ln w="1905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FFC000"/>
                </a:solidFill>
                <a:latin typeface="Agency FB" panose="020B0503020202020204" pitchFamily="34" charset="0"/>
              </a:endParaRPr>
            </a:p>
          </p:txBody>
        </p:sp>
      </p:grpSp>
      <p:cxnSp>
        <p:nvCxnSpPr>
          <p:cNvPr id="248" name="Straight Connector 247"/>
          <p:cNvCxnSpPr/>
          <p:nvPr/>
        </p:nvCxnSpPr>
        <p:spPr>
          <a:xfrm>
            <a:off x="1043634" y="5477608"/>
            <a:ext cx="10104735"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a:off x="9804380" y="3033170"/>
            <a:ext cx="0" cy="881515"/>
          </a:xfrm>
          <a:prstGeom prst="line">
            <a:avLst/>
          </a:prstGeom>
          <a:ln w="19050">
            <a:solidFill>
              <a:schemeClr val="tx1">
                <a:lumMod val="65000"/>
                <a:lumOff val="3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250" name="Group 249"/>
          <p:cNvGrpSpPr/>
          <p:nvPr/>
        </p:nvGrpSpPr>
        <p:grpSpPr>
          <a:xfrm>
            <a:off x="9392751" y="3940190"/>
            <a:ext cx="823261" cy="823363"/>
            <a:chOff x="864537" y="1822859"/>
            <a:chExt cx="971309" cy="971307"/>
          </a:xfrm>
        </p:grpSpPr>
        <p:sp>
          <p:nvSpPr>
            <p:cNvPr id="251" name="Oval 250"/>
            <p:cNvSpPr/>
            <p:nvPr/>
          </p:nvSpPr>
          <p:spPr>
            <a:xfrm>
              <a:off x="932451" y="1890773"/>
              <a:ext cx="835480" cy="835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0" dirty="0">
                  <a:solidFill>
                    <a:schemeClr val="bg1"/>
                  </a:solidFill>
                  <a:latin typeface="Agency FB" panose="020B0503020202020204" pitchFamily="34" charset="0"/>
                </a:rPr>
                <a:t>03</a:t>
              </a:r>
            </a:p>
          </p:txBody>
        </p:sp>
        <p:sp>
          <p:nvSpPr>
            <p:cNvPr id="252" name="Oval 251"/>
            <p:cNvSpPr/>
            <p:nvPr/>
          </p:nvSpPr>
          <p:spPr>
            <a:xfrm>
              <a:off x="864537" y="1822859"/>
              <a:ext cx="971309" cy="971307"/>
            </a:xfrm>
            <a:prstGeom prst="ellipse">
              <a:avLst/>
            </a:prstGeom>
            <a:noFill/>
            <a:ln w="1905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dirty="0">
                <a:solidFill>
                  <a:srgbClr val="FFC000"/>
                </a:solidFill>
                <a:latin typeface="Agency FB" panose="020B0503020202020204" pitchFamily="34" charset="0"/>
              </a:endParaRPr>
            </a:p>
          </p:txBody>
        </p:sp>
      </p:grpSp>
      <p:sp>
        <p:nvSpPr>
          <p:cNvPr id="257" name="TextBox 256"/>
          <p:cNvSpPr txBox="1"/>
          <p:nvPr/>
        </p:nvSpPr>
        <p:spPr>
          <a:xfrm>
            <a:off x="1035440" y="5655394"/>
            <a:ext cx="10121124" cy="615553"/>
          </a:xfrm>
          <a:prstGeom prst="rect">
            <a:avLst/>
          </a:prstGeom>
          <a:noFill/>
        </p:spPr>
        <p:txBody>
          <a:bodyPr wrap="square" lIns="0" tIns="0" rIns="0" bIns="0" rtlCol="0">
            <a:spAutoFit/>
          </a:bodyPr>
          <a:lstStyle/>
          <a:p>
            <a:pPr algn="ctr"/>
            <a:r>
              <a:rPr lang="zh-CN" altLang="en-US" sz="1300" dirty="0">
                <a:solidFill>
                  <a:schemeClr val="tx1">
                    <a:lumMod val="50000"/>
                    <a:lumOff val="50000"/>
                  </a:schemeClr>
                </a:solidFill>
              </a:rPr>
              <a:t>此处添加详细文本描述，建议与标题相关并符合整体语言风格，语言描述尽量简洁生动。尽量将每页幻灯片的字数控制在</a:t>
            </a:r>
            <a:r>
              <a:rPr lang="en-US" altLang="zh-CN" sz="1300" dirty="0">
                <a:solidFill>
                  <a:schemeClr val="tx1">
                    <a:lumMod val="50000"/>
                    <a:lumOff val="50000"/>
                  </a:schemeClr>
                </a:solidFill>
              </a:rPr>
              <a:t>200</a:t>
            </a:r>
            <a:r>
              <a:rPr lang="zh-CN" altLang="en-US" sz="1300" dirty="0">
                <a:solidFill>
                  <a:schemeClr val="tx1">
                    <a:lumMod val="50000"/>
                    <a:lumOff val="50000"/>
                  </a:schemeClr>
                </a:solidFill>
              </a:rPr>
              <a:t>字以内，据统计每页幻灯片的最好控制在</a:t>
            </a:r>
            <a:r>
              <a:rPr lang="en-US" altLang="zh-CN" sz="1300" dirty="0">
                <a:solidFill>
                  <a:schemeClr val="tx1">
                    <a:lumMod val="50000"/>
                    <a:lumOff val="50000"/>
                  </a:schemeClr>
                </a:solidFill>
              </a:rPr>
              <a:t>5</a:t>
            </a:r>
            <a:r>
              <a:rPr lang="zh-CN" altLang="en-US" sz="1300" dirty="0">
                <a:solidFill>
                  <a:schemeClr val="tx1">
                    <a:lumMod val="50000"/>
                    <a:lumOff val="50000"/>
                  </a:schemeClr>
                </a:solidFill>
              </a:rPr>
              <a:t>分钟之内。此处添加详细文本描述，建议与标题相关并符合整体语言风格，语言描述尽量简洁生动。尽量将每页幻灯片的字数控制在</a:t>
            </a:r>
            <a:r>
              <a:rPr lang="en-US" altLang="zh-CN" sz="1300" dirty="0">
                <a:solidFill>
                  <a:schemeClr val="tx1">
                    <a:lumMod val="50000"/>
                    <a:lumOff val="50000"/>
                  </a:schemeClr>
                </a:solidFill>
              </a:rPr>
              <a:t>200</a:t>
            </a:r>
            <a:r>
              <a:rPr lang="zh-CN" altLang="en-US" sz="1300" dirty="0">
                <a:solidFill>
                  <a:schemeClr val="tx1">
                    <a:lumMod val="50000"/>
                    <a:lumOff val="50000"/>
                  </a:schemeClr>
                </a:solidFill>
              </a:rPr>
              <a:t>字以内，据统计每页幻灯片的最好控制在</a:t>
            </a:r>
            <a:r>
              <a:rPr lang="en-US" altLang="zh-CN" sz="1300" dirty="0">
                <a:solidFill>
                  <a:schemeClr val="tx1">
                    <a:lumMod val="50000"/>
                    <a:lumOff val="50000"/>
                  </a:schemeClr>
                </a:solidFill>
              </a:rPr>
              <a:t>5</a:t>
            </a:r>
            <a:r>
              <a:rPr lang="zh-CN" altLang="en-US" sz="1300" dirty="0">
                <a:solidFill>
                  <a:schemeClr val="tx1">
                    <a:lumMod val="50000"/>
                    <a:lumOff val="50000"/>
                  </a:schemeClr>
                </a:solidFill>
              </a:rPr>
              <a:t>分钟之内。</a:t>
            </a:r>
          </a:p>
        </p:txBody>
      </p:sp>
      <p:sp>
        <p:nvSpPr>
          <p:cNvPr id="40" name="Freeform 143"/>
          <p:cNvSpPr>
            <a:spLocks noEditPoints="1"/>
          </p:cNvSpPr>
          <p:nvPr/>
        </p:nvSpPr>
        <p:spPr bwMode="auto">
          <a:xfrm>
            <a:off x="1134701" y="2698070"/>
            <a:ext cx="615385" cy="566876"/>
          </a:xfrm>
          <a:custGeom>
            <a:avLst/>
            <a:gdLst>
              <a:gd name="T0" fmla="*/ 151 w 157"/>
              <a:gd name="T1" fmla="*/ 59 h 145"/>
              <a:gd name="T2" fmla="*/ 130 w 157"/>
              <a:gd name="T3" fmla="*/ 41 h 145"/>
              <a:gd name="T4" fmla="*/ 110 w 157"/>
              <a:gd name="T5" fmla="*/ 23 h 145"/>
              <a:gd name="T6" fmla="*/ 88 w 157"/>
              <a:gd name="T7" fmla="*/ 5 h 145"/>
              <a:gd name="T8" fmla="*/ 69 w 157"/>
              <a:gd name="T9" fmla="*/ 5 h 145"/>
              <a:gd name="T10" fmla="*/ 47 w 157"/>
              <a:gd name="T11" fmla="*/ 23 h 145"/>
              <a:gd name="T12" fmla="*/ 27 w 157"/>
              <a:gd name="T13" fmla="*/ 41 h 145"/>
              <a:gd name="T14" fmla="*/ 6 w 157"/>
              <a:gd name="T15" fmla="*/ 59 h 145"/>
              <a:gd name="T16" fmla="*/ 9 w 157"/>
              <a:gd name="T17" fmla="*/ 68 h 145"/>
              <a:gd name="T18" fmla="*/ 21 w 157"/>
              <a:gd name="T19" fmla="*/ 68 h 145"/>
              <a:gd name="T20" fmla="*/ 21 w 157"/>
              <a:gd name="T21" fmla="*/ 139 h 145"/>
              <a:gd name="T22" fmla="*/ 27 w 157"/>
              <a:gd name="T23" fmla="*/ 145 h 145"/>
              <a:gd name="T24" fmla="*/ 38 w 157"/>
              <a:gd name="T25" fmla="*/ 145 h 145"/>
              <a:gd name="T26" fmla="*/ 38 w 157"/>
              <a:gd name="T27" fmla="*/ 81 h 145"/>
              <a:gd name="T28" fmla="*/ 71 w 157"/>
              <a:gd name="T29" fmla="*/ 81 h 145"/>
              <a:gd name="T30" fmla="*/ 71 w 157"/>
              <a:gd name="T31" fmla="*/ 145 h 145"/>
              <a:gd name="T32" fmla="*/ 130 w 157"/>
              <a:gd name="T33" fmla="*/ 145 h 145"/>
              <a:gd name="T34" fmla="*/ 136 w 157"/>
              <a:gd name="T35" fmla="*/ 139 h 145"/>
              <a:gd name="T36" fmla="*/ 136 w 157"/>
              <a:gd name="T37" fmla="*/ 68 h 145"/>
              <a:gd name="T38" fmla="*/ 148 w 157"/>
              <a:gd name="T39" fmla="*/ 68 h 145"/>
              <a:gd name="T40" fmla="*/ 151 w 157"/>
              <a:gd name="T41" fmla="*/ 59 h 145"/>
              <a:gd name="T42" fmla="*/ 118 w 157"/>
              <a:gd name="T43" fmla="*/ 97 h 145"/>
              <a:gd name="T44" fmla="*/ 89 w 157"/>
              <a:gd name="T45" fmla="*/ 97 h 145"/>
              <a:gd name="T46" fmla="*/ 89 w 157"/>
              <a:gd name="T47" fmla="*/ 72 h 145"/>
              <a:gd name="T48" fmla="*/ 118 w 157"/>
              <a:gd name="T49" fmla="*/ 72 h 145"/>
              <a:gd name="T50" fmla="*/ 118 w 157"/>
              <a:gd name="T51" fmla="*/ 9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45">
                <a:moveTo>
                  <a:pt x="151" y="59"/>
                </a:moveTo>
                <a:cubicBezTo>
                  <a:pt x="130" y="41"/>
                  <a:pt x="130" y="41"/>
                  <a:pt x="130" y="41"/>
                </a:cubicBezTo>
                <a:cubicBezTo>
                  <a:pt x="124" y="36"/>
                  <a:pt x="115" y="28"/>
                  <a:pt x="110" y="23"/>
                </a:cubicBezTo>
                <a:cubicBezTo>
                  <a:pt x="88" y="5"/>
                  <a:pt x="88" y="5"/>
                  <a:pt x="88" y="5"/>
                </a:cubicBezTo>
                <a:cubicBezTo>
                  <a:pt x="83" y="0"/>
                  <a:pt x="74" y="0"/>
                  <a:pt x="69" y="5"/>
                </a:cubicBezTo>
                <a:cubicBezTo>
                  <a:pt x="47" y="23"/>
                  <a:pt x="47" y="23"/>
                  <a:pt x="47" y="23"/>
                </a:cubicBezTo>
                <a:cubicBezTo>
                  <a:pt x="42" y="28"/>
                  <a:pt x="33" y="36"/>
                  <a:pt x="27" y="41"/>
                </a:cubicBezTo>
                <a:cubicBezTo>
                  <a:pt x="6" y="59"/>
                  <a:pt x="6" y="59"/>
                  <a:pt x="6" y="59"/>
                </a:cubicBezTo>
                <a:cubicBezTo>
                  <a:pt x="0" y="64"/>
                  <a:pt x="2" y="68"/>
                  <a:pt x="9" y="68"/>
                </a:cubicBezTo>
                <a:cubicBezTo>
                  <a:pt x="21" y="68"/>
                  <a:pt x="21" y="68"/>
                  <a:pt x="21" y="68"/>
                </a:cubicBezTo>
                <a:cubicBezTo>
                  <a:pt x="21" y="139"/>
                  <a:pt x="21" y="139"/>
                  <a:pt x="21" y="139"/>
                </a:cubicBezTo>
                <a:cubicBezTo>
                  <a:pt x="21" y="142"/>
                  <a:pt x="24" y="145"/>
                  <a:pt x="27" y="145"/>
                </a:cubicBezTo>
                <a:cubicBezTo>
                  <a:pt x="38" y="145"/>
                  <a:pt x="38" y="145"/>
                  <a:pt x="38" y="145"/>
                </a:cubicBezTo>
                <a:cubicBezTo>
                  <a:pt x="38" y="81"/>
                  <a:pt x="38" y="81"/>
                  <a:pt x="38" y="81"/>
                </a:cubicBezTo>
                <a:cubicBezTo>
                  <a:pt x="71" y="81"/>
                  <a:pt x="71" y="81"/>
                  <a:pt x="71" y="81"/>
                </a:cubicBezTo>
                <a:cubicBezTo>
                  <a:pt x="71" y="145"/>
                  <a:pt x="71" y="145"/>
                  <a:pt x="71" y="145"/>
                </a:cubicBezTo>
                <a:cubicBezTo>
                  <a:pt x="130" y="145"/>
                  <a:pt x="130" y="145"/>
                  <a:pt x="130" y="145"/>
                </a:cubicBezTo>
                <a:cubicBezTo>
                  <a:pt x="134" y="145"/>
                  <a:pt x="136" y="142"/>
                  <a:pt x="136" y="139"/>
                </a:cubicBezTo>
                <a:cubicBezTo>
                  <a:pt x="136" y="68"/>
                  <a:pt x="136" y="68"/>
                  <a:pt x="136" y="68"/>
                </a:cubicBezTo>
                <a:cubicBezTo>
                  <a:pt x="148" y="68"/>
                  <a:pt x="148" y="68"/>
                  <a:pt x="148" y="68"/>
                </a:cubicBezTo>
                <a:cubicBezTo>
                  <a:pt x="155" y="68"/>
                  <a:pt x="157" y="64"/>
                  <a:pt x="151" y="59"/>
                </a:cubicBezTo>
                <a:close/>
                <a:moveTo>
                  <a:pt x="118" y="97"/>
                </a:moveTo>
                <a:cubicBezTo>
                  <a:pt x="89" y="97"/>
                  <a:pt x="89" y="97"/>
                  <a:pt x="89" y="97"/>
                </a:cubicBezTo>
                <a:cubicBezTo>
                  <a:pt x="89" y="72"/>
                  <a:pt x="89" y="72"/>
                  <a:pt x="89" y="72"/>
                </a:cubicBezTo>
                <a:cubicBezTo>
                  <a:pt x="118" y="72"/>
                  <a:pt x="118" y="72"/>
                  <a:pt x="118" y="72"/>
                </a:cubicBezTo>
                <a:lnTo>
                  <a:pt x="118" y="97"/>
                </a:lnTo>
                <a:close/>
              </a:path>
            </a:pathLst>
          </a:custGeom>
          <a:solidFill>
            <a:schemeClr val="bg1"/>
          </a:solidFill>
          <a:ln>
            <a:noFill/>
          </a:ln>
        </p:spPr>
        <p:txBody>
          <a:bodyPr vert="horz" wrap="square" lIns="121908" tIns="60954" rIns="121908" bIns="60954" numCol="1" anchor="t" anchorCtr="0" compatLnSpc="1"/>
          <a:lstStyle/>
          <a:p>
            <a:endParaRPr lang="en-US">
              <a:latin typeface="+mn-ea"/>
            </a:endParaRPr>
          </a:p>
        </p:txBody>
      </p:sp>
      <p:sp>
        <p:nvSpPr>
          <p:cNvPr id="41" name="Freeform 92"/>
          <p:cNvSpPr>
            <a:spLocks noEditPoints="1"/>
          </p:cNvSpPr>
          <p:nvPr/>
        </p:nvSpPr>
        <p:spPr bwMode="auto">
          <a:xfrm>
            <a:off x="8392325" y="2732853"/>
            <a:ext cx="580299" cy="591172"/>
          </a:xfrm>
          <a:custGeom>
            <a:avLst/>
            <a:gdLst>
              <a:gd name="T0" fmla="*/ 143 w 148"/>
              <a:gd name="T1" fmla="*/ 130 h 151"/>
              <a:gd name="T2" fmla="*/ 100 w 148"/>
              <a:gd name="T3" fmla="*/ 86 h 151"/>
              <a:gd name="T4" fmla="*/ 110 w 148"/>
              <a:gd name="T5" fmla="*/ 55 h 151"/>
              <a:gd name="T6" fmla="*/ 55 w 148"/>
              <a:gd name="T7" fmla="*/ 0 h 151"/>
              <a:gd name="T8" fmla="*/ 0 w 148"/>
              <a:gd name="T9" fmla="*/ 55 h 151"/>
              <a:gd name="T10" fmla="*/ 55 w 148"/>
              <a:gd name="T11" fmla="*/ 109 h 151"/>
              <a:gd name="T12" fmla="*/ 81 w 148"/>
              <a:gd name="T13" fmla="*/ 103 h 151"/>
              <a:gd name="T14" fmla="*/ 126 w 148"/>
              <a:gd name="T15" fmla="*/ 147 h 151"/>
              <a:gd name="T16" fmla="*/ 143 w 148"/>
              <a:gd name="T17" fmla="*/ 147 h 151"/>
              <a:gd name="T18" fmla="*/ 143 w 148"/>
              <a:gd name="T19" fmla="*/ 130 h 151"/>
              <a:gd name="T20" fmla="*/ 19 w 148"/>
              <a:gd name="T21" fmla="*/ 55 h 151"/>
              <a:gd name="T22" fmla="*/ 55 w 148"/>
              <a:gd name="T23" fmla="*/ 18 h 151"/>
              <a:gd name="T24" fmla="*/ 92 w 148"/>
              <a:gd name="T25" fmla="*/ 55 h 151"/>
              <a:gd name="T26" fmla="*/ 55 w 148"/>
              <a:gd name="T27" fmla="*/ 91 h 151"/>
              <a:gd name="T28" fmla="*/ 19 w 148"/>
              <a:gd name="T29" fmla="*/ 5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8" h="151">
                <a:moveTo>
                  <a:pt x="143" y="130"/>
                </a:moveTo>
                <a:cubicBezTo>
                  <a:pt x="100" y="86"/>
                  <a:pt x="100" y="86"/>
                  <a:pt x="100" y="86"/>
                </a:cubicBezTo>
                <a:cubicBezTo>
                  <a:pt x="106" y="77"/>
                  <a:pt x="110" y="67"/>
                  <a:pt x="110" y="55"/>
                </a:cubicBezTo>
                <a:cubicBezTo>
                  <a:pt x="110" y="24"/>
                  <a:pt x="85" y="0"/>
                  <a:pt x="55" y="0"/>
                </a:cubicBezTo>
                <a:cubicBezTo>
                  <a:pt x="25" y="0"/>
                  <a:pt x="0" y="24"/>
                  <a:pt x="0" y="55"/>
                </a:cubicBezTo>
                <a:cubicBezTo>
                  <a:pt x="0" y="85"/>
                  <a:pt x="25" y="109"/>
                  <a:pt x="55" y="109"/>
                </a:cubicBezTo>
                <a:cubicBezTo>
                  <a:pt x="65" y="109"/>
                  <a:pt x="74" y="107"/>
                  <a:pt x="81" y="103"/>
                </a:cubicBezTo>
                <a:cubicBezTo>
                  <a:pt x="126" y="147"/>
                  <a:pt x="126" y="147"/>
                  <a:pt x="126" y="147"/>
                </a:cubicBezTo>
                <a:cubicBezTo>
                  <a:pt x="130" y="151"/>
                  <a:pt x="138" y="151"/>
                  <a:pt x="143" y="147"/>
                </a:cubicBezTo>
                <a:cubicBezTo>
                  <a:pt x="148" y="142"/>
                  <a:pt x="148" y="134"/>
                  <a:pt x="143" y="130"/>
                </a:cubicBezTo>
                <a:close/>
                <a:moveTo>
                  <a:pt x="19" y="55"/>
                </a:moveTo>
                <a:cubicBezTo>
                  <a:pt x="19" y="34"/>
                  <a:pt x="35" y="18"/>
                  <a:pt x="55" y="18"/>
                </a:cubicBezTo>
                <a:cubicBezTo>
                  <a:pt x="75" y="18"/>
                  <a:pt x="92" y="34"/>
                  <a:pt x="92" y="55"/>
                </a:cubicBezTo>
                <a:cubicBezTo>
                  <a:pt x="92" y="75"/>
                  <a:pt x="75" y="91"/>
                  <a:pt x="55" y="91"/>
                </a:cubicBezTo>
                <a:cubicBezTo>
                  <a:pt x="35" y="91"/>
                  <a:pt x="19" y="75"/>
                  <a:pt x="19" y="55"/>
                </a:cubicBezTo>
                <a:close/>
              </a:path>
            </a:pathLst>
          </a:custGeom>
          <a:solidFill>
            <a:schemeClr val="bg1"/>
          </a:solidFill>
          <a:ln>
            <a:noFill/>
          </a:ln>
        </p:spPr>
        <p:txBody>
          <a:bodyPr vert="horz" wrap="square" lIns="121908" tIns="60954" rIns="121908" bIns="60954" numCol="1" anchor="t" anchorCtr="0" compatLnSpc="1"/>
          <a:lstStyle/>
          <a:p>
            <a:endParaRPr lang="en-US">
              <a:latin typeface="+mn-ea"/>
            </a:endParaRPr>
          </a:p>
        </p:txBody>
      </p:sp>
      <p:grpSp>
        <p:nvGrpSpPr>
          <p:cNvPr id="42" name="组合 41"/>
          <p:cNvGrpSpPr/>
          <p:nvPr/>
        </p:nvGrpSpPr>
        <p:grpSpPr>
          <a:xfrm>
            <a:off x="3224561" y="2754756"/>
            <a:ext cx="545212" cy="510191"/>
            <a:chOff x="6661150" y="233363"/>
            <a:chExt cx="320675" cy="300038"/>
          </a:xfrm>
          <a:solidFill>
            <a:schemeClr val="bg1"/>
          </a:solidFill>
        </p:grpSpPr>
        <p:sp>
          <p:nvSpPr>
            <p:cNvPr id="43" name="Freeform 153"/>
            <p:cNvSpPr/>
            <p:nvPr/>
          </p:nvSpPr>
          <p:spPr bwMode="auto">
            <a:xfrm>
              <a:off x="6677025" y="315913"/>
              <a:ext cx="79375" cy="187325"/>
            </a:xfrm>
            <a:custGeom>
              <a:avLst/>
              <a:gdLst>
                <a:gd name="T0" fmla="*/ 34 w 34"/>
                <a:gd name="T1" fmla="*/ 81 h 81"/>
                <a:gd name="T2" fmla="*/ 34 w 34"/>
                <a:gd name="T3" fmla="*/ 8 h 81"/>
                <a:gd name="T4" fmla="*/ 26 w 34"/>
                <a:gd name="T5" fmla="*/ 0 h 81"/>
                <a:gd name="T6" fmla="*/ 9 w 34"/>
                <a:gd name="T7" fmla="*/ 0 h 81"/>
                <a:gd name="T8" fmla="*/ 0 w 34"/>
                <a:gd name="T9" fmla="*/ 8 h 81"/>
                <a:gd name="T10" fmla="*/ 0 w 34"/>
                <a:gd name="T11" fmla="*/ 81 h 81"/>
                <a:gd name="T12" fmla="*/ 34 w 34"/>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34" h="81">
                  <a:moveTo>
                    <a:pt x="34" y="81"/>
                  </a:moveTo>
                  <a:cubicBezTo>
                    <a:pt x="34" y="8"/>
                    <a:pt x="34" y="8"/>
                    <a:pt x="34" y="8"/>
                  </a:cubicBezTo>
                  <a:cubicBezTo>
                    <a:pt x="34" y="4"/>
                    <a:pt x="30" y="0"/>
                    <a:pt x="26" y="0"/>
                  </a:cubicBezTo>
                  <a:cubicBezTo>
                    <a:pt x="9" y="0"/>
                    <a:pt x="9" y="0"/>
                    <a:pt x="9" y="0"/>
                  </a:cubicBezTo>
                  <a:cubicBezTo>
                    <a:pt x="4" y="0"/>
                    <a:pt x="0" y="4"/>
                    <a:pt x="0" y="8"/>
                  </a:cubicBezTo>
                  <a:cubicBezTo>
                    <a:pt x="0" y="81"/>
                    <a:pt x="0" y="81"/>
                    <a:pt x="0" y="81"/>
                  </a:cubicBezTo>
                  <a:lnTo>
                    <a:pt x="34" y="81"/>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a:latin typeface="+mn-ea"/>
              </a:endParaRPr>
            </a:p>
          </p:txBody>
        </p:sp>
        <p:sp>
          <p:nvSpPr>
            <p:cNvPr id="44" name="Freeform 154"/>
            <p:cNvSpPr/>
            <p:nvPr/>
          </p:nvSpPr>
          <p:spPr bwMode="auto">
            <a:xfrm>
              <a:off x="6783388" y="233363"/>
              <a:ext cx="77788" cy="269875"/>
            </a:xfrm>
            <a:custGeom>
              <a:avLst/>
              <a:gdLst>
                <a:gd name="T0" fmla="*/ 34 w 34"/>
                <a:gd name="T1" fmla="*/ 117 h 117"/>
                <a:gd name="T2" fmla="*/ 34 w 34"/>
                <a:gd name="T3" fmla="*/ 8 h 117"/>
                <a:gd name="T4" fmla="*/ 25 w 34"/>
                <a:gd name="T5" fmla="*/ 0 h 117"/>
                <a:gd name="T6" fmla="*/ 8 w 34"/>
                <a:gd name="T7" fmla="*/ 0 h 117"/>
                <a:gd name="T8" fmla="*/ 0 w 34"/>
                <a:gd name="T9" fmla="*/ 8 h 117"/>
                <a:gd name="T10" fmla="*/ 0 w 34"/>
                <a:gd name="T11" fmla="*/ 117 h 117"/>
                <a:gd name="T12" fmla="*/ 34 w 34"/>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34" h="117">
                  <a:moveTo>
                    <a:pt x="34" y="117"/>
                  </a:moveTo>
                  <a:cubicBezTo>
                    <a:pt x="34" y="8"/>
                    <a:pt x="34" y="8"/>
                    <a:pt x="34" y="8"/>
                  </a:cubicBezTo>
                  <a:cubicBezTo>
                    <a:pt x="34" y="4"/>
                    <a:pt x="30" y="0"/>
                    <a:pt x="25" y="0"/>
                  </a:cubicBezTo>
                  <a:cubicBezTo>
                    <a:pt x="8" y="0"/>
                    <a:pt x="8" y="0"/>
                    <a:pt x="8" y="0"/>
                  </a:cubicBezTo>
                  <a:cubicBezTo>
                    <a:pt x="3" y="0"/>
                    <a:pt x="0" y="4"/>
                    <a:pt x="0" y="8"/>
                  </a:cubicBezTo>
                  <a:cubicBezTo>
                    <a:pt x="0" y="117"/>
                    <a:pt x="0" y="117"/>
                    <a:pt x="0" y="117"/>
                  </a:cubicBezTo>
                  <a:lnTo>
                    <a:pt x="34" y="117"/>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a:latin typeface="+mn-ea"/>
              </a:endParaRPr>
            </a:p>
          </p:txBody>
        </p:sp>
        <p:sp>
          <p:nvSpPr>
            <p:cNvPr id="45" name="Freeform 155"/>
            <p:cNvSpPr/>
            <p:nvPr/>
          </p:nvSpPr>
          <p:spPr bwMode="auto">
            <a:xfrm>
              <a:off x="6886575" y="358776"/>
              <a:ext cx="79375" cy="144463"/>
            </a:xfrm>
            <a:custGeom>
              <a:avLst/>
              <a:gdLst>
                <a:gd name="T0" fmla="*/ 34 w 34"/>
                <a:gd name="T1" fmla="*/ 63 h 63"/>
                <a:gd name="T2" fmla="*/ 34 w 34"/>
                <a:gd name="T3" fmla="*/ 8 h 63"/>
                <a:gd name="T4" fmla="*/ 25 w 34"/>
                <a:gd name="T5" fmla="*/ 0 h 63"/>
                <a:gd name="T6" fmla="*/ 8 w 34"/>
                <a:gd name="T7" fmla="*/ 0 h 63"/>
                <a:gd name="T8" fmla="*/ 0 w 34"/>
                <a:gd name="T9" fmla="*/ 8 h 63"/>
                <a:gd name="T10" fmla="*/ 0 w 34"/>
                <a:gd name="T11" fmla="*/ 63 h 63"/>
                <a:gd name="T12" fmla="*/ 34 w 3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34" h="63">
                  <a:moveTo>
                    <a:pt x="34" y="63"/>
                  </a:moveTo>
                  <a:cubicBezTo>
                    <a:pt x="34" y="8"/>
                    <a:pt x="34" y="8"/>
                    <a:pt x="34" y="8"/>
                  </a:cubicBezTo>
                  <a:cubicBezTo>
                    <a:pt x="34" y="4"/>
                    <a:pt x="30" y="0"/>
                    <a:pt x="25" y="0"/>
                  </a:cubicBezTo>
                  <a:cubicBezTo>
                    <a:pt x="8" y="0"/>
                    <a:pt x="8" y="0"/>
                    <a:pt x="8" y="0"/>
                  </a:cubicBezTo>
                  <a:cubicBezTo>
                    <a:pt x="4" y="0"/>
                    <a:pt x="0" y="4"/>
                    <a:pt x="0" y="8"/>
                  </a:cubicBezTo>
                  <a:cubicBezTo>
                    <a:pt x="0" y="63"/>
                    <a:pt x="0" y="63"/>
                    <a:pt x="0" y="63"/>
                  </a:cubicBezTo>
                  <a:lnTo>
                    <a:pt x="34" y="63"/>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en-US">
                <a:latin typeface="+mn-ea"/>
              </a:endParaRPr>
            </a:p>
          </p:txBody>
        </p:sp>
        <p:sp>
          <p:nvSpPr>
            <p:cNvPr id="46" name="Rectangle 156"/>
            <p:cNvSpPr>
              <a:spLocks noChangeArrowheads="1"/>
            </p:cNvSpPr>
            <p:nvPr/>
          </p:nvSpPr>
          <p:spPr bwMode="auto">
            <a:xfrm>
              <a:off x="6661150" y="512763"/>
              <a:ext cx="320675" cy="206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ea"/>
              </a:endParaRPr>
            </a:p>
          </p:txBody>
        </p:sp>
      </p:grpSp>
      <p:sp>
        <p:nvSpPr>
          <p:cNvPr id="47" name="Freeform 140"/>
          <p:cNvSpPr>
            <a:spLocks noEditPoints="1"/>
          </p:cNvSpPr>
          <p:nvPr/>
        </p:nvSpPr>
        <p:spPr bwMode="auto">
          <a:xfrm>
            <a:off x="10431388" y="2694926"/>
            <a:ext cx="605083" cy="605161"/>
          </a:xfrm>
          <a:custGeom>
            <a:avLst/>
            <a:gdLst>
              <a:gd name="T0" fmla="*/ 103 w 112"/>
              <a:gd name="T1" fmla="*/ 47 h 112"/>
              <a:gd name="T2" fmla="*/ 106 w 112"/>
              <a:gd name="T3" fmla="*/ 36 h 112"/>
              <a:gd name="T4" fmla="*/ 102 w 112"/>
              <a:gd name="T5" fmla="*/ 22 h 112"/>
              <a:gd name="T6" fmla="*/ 92 w 112"/>
              <a:gd name="T7" fmla="*/ 25 h 112"/>
              <a:gd name="T8" fmla="*/ 90 w 112"/>
              <a:gd name="T9" fmla="*/ 14 h 112"/>
              <a:gd name="T10" fmla="*/ 79 w 112"/>
              <a:gd name="T11" fmla="*/ 4 h 112"/>
              <a:gd name="T12" fmla="*/ 71 w 112"/>
              <a:gd name="T13" fmla="*/ 11 h 112"/>
              <a:gd name="T14" fmla="*/ 64 w 112"/>
              <a:gd name="T15" fmla="*/ 3 h 112"/>
              <a:gd name="T16" fmla="*/ 50 w 112"/>
              <a:gd name="T17" fmla="*/ 0 h 112"/>
              <a:gd name="T18" fmla="*/ 47 w 112"/>
              <a:gd name="T19" fmla="*/ 10 h 112"/>
              <a:gd name="T20" fmla="*/ 37 w 112"/>
              <a:gd name="T21" fmla="*/ 6 h 112"/>
              <a:gd name="T22" fmla="*/ 23 w 112"/>
              <a:gd name="T23" fmla="*/ 11 h 112"/>
              <a:gd name="T24" fmla="*/ 25 w 112"/>
              <a:gd name="T25" fmla="*/ 20 h 112"/>
              <a:gd name="T26" fmla="*/ 14 w 112"/>
              <a:gd name="T27" fmla="*/ 22 h 112"/>
              <a:gd name="T28" fmla="*/ 5 w 112"/>
              <a:gd name="T29" fmla="*/ 33 h 112"/>
              <a:gd name="T30" fmla="*/ 12 w 112"/>
              <a:gd name="T31" fmla="*/ 41 h 112"/>
              <a:gd name="T32" fmla="*/ 3 w 112"/>
              <a:gd name="T33" fmla="*/ 48 h 112"/>
              <a:gd name="T34" fmla="*/ 0 w 112"/>
              <a:gd name="T35" fmla="*/ 62 h 112"/>
              <a:gd name="T36" fmla="*/ 10 w 112"/>
              <a:gd name="T37" fmla="*/ 65 h 112"/>
              <a:gd name="T38" fmla="*/ 6 w 112"/>
              <a:gd name="T39" fmla="*/ 75 h 112"/>
              <a:gd name="T40" fmla="*/ 11 w 112"/>
              <a:gd name="T41" fmla="*/ 89 h 112"/>
              <a:gd name="T42" fmla="*/ 21 w 112"/>
              <a:gd name="T43" fmla="*/ 87 h 112"/>
              <a:gd name="T44" fmla="*/ 23 w 112"/>
              <a:gd name="T45" fmla="*/ 98 h 112"/>
              <a:gd name="T46" fmla="*/ 34 w 112"/>
              <a:gd name="T47" fmla="*/ 108 h 112"/>
              <a:gd name="T48" fmla="*/ 41 w 112"/>
              <a:gd name="T49" fmla="*/ 101 h 112"/>
              <a:gd name="T50" fmla="*/ 48 w 112"/>
              <a:gd name="T51" fmla="*/ 109 h 112"/>
              <a:gd name="T52" fmla="*/ 63 w 112"/>
              <a:gd name="T53" fmla="*/ 112 h 112"/>
              <a:gd name="T54" fmla="*/ 66 w 112"/>
              <a:gd name="T55" fmla="*/ 102 h 112"/>
              <a:gd name="T56" fmla="*/ 76 w 112"/>
              <a:gd name="T57" fmla="*/ 106 h 112"/>
              <a:gd name="T58" fmla="*/ 90 w 112"/>
              <a:gd name="T59" fmla="*/ 101 h 112"/>
              <a:gd name="T60" fmla="*/ 88 w 112"/>
              <a:gd name="T61" fmla="*/ 91 h 112"/>
              <a:gd name="T62" fmla="*/ 98 w 112"/>
              <a:gd name="T63" fmla="*/ 89 h 112"/>
              <a:gd name="T64" fmla="*/ 108 w 112"/>
              <a:gd name="T65" fmla="*/ 78 h 112"/>
              <a:gd name="T66" fmla="*/ 101 w 112"/>
              <a:gd name="T67" fmla="*/ 71 h 112"/>
              <a:gd name="T68" fmla="*/ 110 w 112"/>
              <a:gd name="T69" fmla="*/ 64 h 112"/>
              <a:gd name="T70" fmla="*/ 112 w 112"/>
              <a:gd name="T71" fmla="*/ 49 h 112"/>
              <a:gd name="T72" fmla="*/ 56 w 112"/>
              <a:gd name="T73" fmla="*/ 86 h 112"/>
              <a:gd name="T74" fmla="*/ 56 w 112"/>
              <a:gd name="T75" fmla="*/ 26 h 112"/>
              <a:gd name="T76" fmla="*/ 56 w 112"/>
              <a:gd name="T7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2" h="112">
                <a:moveTo>
                  <a:pt x="110" y="47"/>
                </a:moveTo>
                <a:cubicBezTo>
                  <a:pt x="103" y="47"/>
                  <a:pt x="103" y="47"/>
                  <a:pt x="103" y="47"/>
                </a:cubicBezTo>
                <a:cubicBezTo>
                  <a:pt x="102" y="44"/>
                  <a:pt x="101" y="42"/>
                  <a:pt x="101" y="39"/>
                </a:cubicBezTo>
                <a:cubicBezTo>
                  <a:pt x="106" y="36"/>
                  <a:pt x="106" y="36"/>
                  <a:pt x="106" y="36"/>
                </a:cubicBezTo>
                <a:cubicBezTo>
                  <a:pt x="108" y="35"/>
                  <a:pt x="108" y="34"/>
                  <a:pt x="107" y="32"/>
                </a:cubicBezTo>
                <a:cubicBezTo>
                  <a:pt x="102" y="22"/>
                  <a:pt x="102" y="22"/>
                  <a:pt x="102" y="22"/>
                </a:cubicBezTo>
                <a:cubicBezTo>
                  <a:pt x="101" y="21"/>
                  <a:pt x="99" y="20"/>
                  <a:pt x="98" y="21"/>
                </a:cubicBezTo>
                <a:cubicBezTo>
                  <a:pt x="92" y="25"/>
                  <a:pt x="92" y="25"/>
                  <a:pt x="92" y="25"/>
                </a:cubicBezTo>
                <a:cubicBezTo>
                  <a:pt x="90" y="23"/>
                  <a:pt x="88" y="21"/>
                  <a:pt x="87" y="20"/>
                </a:cubicBezTo>
                <a:cubicBezTo>
                  <a:pt x="90" y="14"/>
                  <a:pt x="90" y="14"/>
                  <a:pt x="90" y="14"/>
                </a:cubicBezTo>
                <a:cubicBezTo>
                  <a:pt x="91" y="12"/>
                  <a:pt x="90" y="11"/>
                  <a:pt x="89" y="10"/>
                </a:cubicBezTo>
                <a:cubicBezTo>
                  <a:pt x="79" y="4"/>
                  <a:pt x="79" y="4"/>
                  <a:pt x="79" y="4"/>
                </a:cubicBezTo>
                <a:cubicBezTo>
                  <a:pt x="77" y="3"/>
                  <a:pt x="76" y="4"/>
                  <a:pt x="75" y="5"/>
                </a:cubicBezTo>
                <a:cubicBezTo>
                  <a:pt x="71" y="11"/>
                  <a:pt x="71" y="11"/>
                  <a:pt x="71" y="11"/>
                </a:cubicBezTo>
                <a:cubicBezTo>
                  <a:pt x="69" y="10"/>
                  <a:pt x="67" y="10"/>
                  <a:pt x="64" y="9"/>
                </a:cubicBezTo>
                <a:cubicBezTo>
                  <a:pt x="64" y="3"/>
                  <a:pt x="64" y="3"/>
                  <a:pt x="64" y="3"/>
                </a:cubicBezTo>
                <a:cubicBezTo>
                  <a:pt x="64" y="1"/>
                  <a:pt x="63" y="0"/>
                  <a:pt x="61" y="0"/>
                </a:cubicBezTo>
                <a:cubicBezTo>
                  <a:pt x="50" y="0"/>
                  <a:pt x="50" y="0"/>
                  <a:pt x="50" y="0"/>
                </a:cubicBezTo>
                <a:cubicBezTo>
                  <a:pt x="48" y="0"/>
                  <a:pt x="47" y="1"/>
                  <a:pt x="47" y="3"/>
                </a:cubicBezTo>
                <a:cubicBezTo>
                  <a:pt x="47" y="10"/>
                  <a:pt x="47" y="10"/>
                  <a:pt x="47" y="10"/>
                </a:cubicBezTo>
                <a:cubicBezTo>
                  <a:pt x="45" y="10"/>
                  <a:pt x="42" y="11"/>
                  <a:pt x="40" y="12"/>
                </a:cubicBezTo>
                <a:cubicBezTo>
                  <a:pt x="37" y="6"/>
                  <a:pt x="37" y="6"/>
                  <a:pt x="37" y="6"/>
                </a:cubicBezTo>
                <a:cubicBezTo>
                  <a:pt x="36" y="4"/>
                  <a:pt x="34" y="4"/>
                  <a:pt x="33" y="5"/>
                </a:cubicBezTo>
                <a:cubicBezTo>
                  <a:pt x="23" y="11"/>
                  <a:pt x="23" y="11"/>
                  <a:pt x="23" y="11"/>
                </a:cubicBezTo>
                <a:cubicBezTo>
                  <a:pt x="21" y="11"/>
                  <a:pt x="21" y="13"/>
                  <a:pt x="22" y="14"/>
                </a:cubicBezTo>
                <a:cubicBezTo>
                  <a:pt x="25" y="20"/>
                  <a:pt x="25" y="20"/>
                  <a:pt x="25" y="20"/>
                </a:cubicBezTo>
                <a:cubicBezTo>
                  <a:pt x="23" y="22"/>
                  <a:pt x="22" y="24"/>
                  <a:pt x="20" y="26"/>
                </a:cubicBezTo>
                <a:cubicBezTo>
                  <a:pt x="14" y="22"/>
                  <a:pt x="14" y="22"/>
                  <a:pt x="14" y="22"/>
                </a:cubicBezTo>
                <a:cubicBezTo>
                  <a:pt x="13" y="22"/>
                  <a:pt x="11" y="22"/>
                  <a:pt x="10" y="23"/>
                </a:cubicBezTo>
                <a:cubicBezTo>
                  <a:pt x="5" y="33"/>
                  <a:pt x="5" y="33"/>
                  <a:pt x="5" y="33"/>
                </a:cubicBezTo>
                <a:cubicBezTo>
                  <a:pt x="4" y="35"/>
                  <a:pt x="4" y="36"/>
                  <a:pt x="6" y="37"/>
                </a:cubicBezTo>
                <a:cubicBezTo>
                  <a:pt x="12" y="41"/>
                  <a:pt x="12" y="41"/>
                  <a:pt x="12" y="41"/>
                </a:cubicBezTo>
                <a:cubicBezTo>
                  <a:pt x="11" y="43"/>
                  <a:pt x="10" y="45"/>
                  <a:pt x="10" y="48"/>
                </a:cubicBezTo>
                <a:cubicBezTo>
                  <a:pt x="3" y="48"/>
                  <a:pt x="3" y="48"/>
                  <a:pt x="3" y="48"/>
                </a:cubicBezTo>
                <a:cubicBezTo>
                  <a:pt x="2" y="48"/>
                  <a:pt x="0" y="49"/>
                  <a:pt x="0" y="51"/>
                </a:cubicBezTo>
                <a:cubicBezTo>
                  <a:pt x="0" y="62"/>
                  <a:pt x="0" y="62"/>
                  <a:pt x="0" y="62"/>
                </a:cubicBezTo>
                <a:cubicBezTo>
                  <a:pt x="0" y="64"/>
                  <a:pt x="2" y="65"/>
                  <a:pt x="3" y="65"/>
                </a:cubicBezTo>
                <a:cubicBezTo>
                  <a:pt x="10" y="65"/>
                  <a:pt x="10" y="65"/>
                  <a:pt x="10" y="65"/>
                </a:cubicBezTo>
                <a:cubicBezTo>
                  <a:pt x="11" y="68"/>
                  <a:pt x="11" y="70"/>
                  <a:pt x="12" y="72"/>
                </a:cubicBezTo>
                <a:cubicBezTo>
                  <a:pt x="6" y="75"/>
                  <a:pt x="6" y="75"/>
                  <a:pt x="6" y="75"/>
                </a:cubicBezTo>
                <a:cubicBezTo>
                  <a:pt x="5" y="76"/>
                  <a:pt x="5" y="78"/>
                  <a:pt x="5" y="79"/>
                </a:cubicBezTo>
                <a:cubicBezTo>
                  <a:pt x="11" y="89"/>
                  <a:pt x="11" y="89"/>
                  <a:pt x="11" y="89"/>
                </a:cubicBezTo>
                <a:cubicBezTo>
                  <a:pt x="12" y="91"/>
                  <a:pt x="14" y="91"/>
                  <a:pt x="15" y="90"/>
                </a:cubicBezTo>
                <a:cubicBezTo>
                  <a:pt x="21" y="87"/>
                  <a:pt x="21" y="87"/>
                  <a:pt x="21" y="87"/>
                </a:cubicBezTo>
                <a:cubicBezTo>
                  <a:pt x="23" y="89"/>
                  <a:pt x="24" y="91"/>
                  <a:pt x="26" y="92"/>
                </a:cubicBezTo>
                <a:cubicBezTo>
                  <a:pt x="23" y="98"/>
                  <a:pt x="23" y="98"/>
                  <a:pt x="23" y="98"/>
                </a:cubicBezTo>
                <a:cubicBezTo>
                  <a:pt x="22" y="99"/>
                  <a:pt x="23" y="101"/>
                  <a:pt x="24" y="102"/>
                </a:cubicBezTo>
                <a:cubicBezTo>
                  <a:pt x="34" y="108"/>
                  <a:pt x="34" y="108"/>
                  <a:pt x="34" y="108"/>
                </a:cubicBezTo>
                <a:cubicBezTo>
                  <a:pt x="35" y="108"/>
                  <a:pt x="37" y="108"/>
                  <a:pt x="38" y="106"/>
                </a:cubicBezTo>
                <a:cubicBezTo>
                  <a:pt x="41" y="101"/>
                  <a:pt x="41" y="101"/>
                  <a:pt x="41" y="101"/>
                </a:cubicBezTo>
                <a:cubicBezTo>
                  <a:pt x="44" y="101"/>
                  <a:pt x="46" y="102"/>
                  <a:pt x="48" y="102"/>
                </a:cubicBezTo>
                <a:cubicBezTo>
                  <a:pt x="48" y="109"/>
                  <a:pt x="48" y="109"/>
                  <a:pt x="48" y="109"/>
                </a:cubicBezTo>
                <a:cubicBezTo>
                  <a:pt x="48" y="111"/>
                  <a:pt x="50" y="112"/>
                  <a:pt x="51" y="112"/>
                </a:cubicBezTo>
                <a:cubicBezTo>
                  <a:pt x="63" y="112"/>
                  <a:pt x="63" y="112"/>
                  <a:pt x="63" y="112"/>
                </a:cubicBezTo>
                <a:cubicBezTo>
                  <a:pt x="64" y="112"/>
                  <a:pt x="66" y="111"/>
                  <a:pt x="66" y="109"/>
                </a:cubicBezTo>
                <a:cubicBezTo>
                  <a:pt x="66" y="102"/>
                  <a:pt x="66" y="102"/>
                  <a:pt x="66" y="102"/>
                </a:cubicBezTo>
                <a:cubicBezTo>
                  <a:pt x="68" y="102"/>
                  <a:pt x="70" y="101"/>
                  <a:pt x="73" y="100"/>
                </a:cubicBezTo>
                <a:cubicBezTo>
                  <a:pt x="76" y="106"/>
                  <a:pt x="76" y="106"/>
                  <a:pt x="76" y="106"/>
                </a:cubicBezTo>
                <a:cubicBezTo>
                  <a:pt x="77" y="107"/>
                  <a:pt x="79" y="108"/>
                  <a:pt x="80" y="107"/>
                </a:cubicBezTo>
                <a:cubicBezTo>
                  <a:pt x="90" y="101"/>
                  <a:pt x="90" y="101"/>
                  <a:pt x="90" y="101"/>
                </a:cubicBezTo>
                <a:cubicBezTo>
                  <a:pt x="91" y="100"/>
                  <a:pt x="92" y="99"/>
                  <a:pt x="91" y="97"/>
                </a:cubicBezTo>
                <a:cubicBezTo>
                  <a:pt x="88" y="91"/>
                  <a:pt x="88" y="91"/>
                  <a:pt x="88" y="91"/>
                </a:cubicBezTo>
                <a:cubicBezTo>
                  <a:pt x="89" y="90"/>
                  <a:pt x="91" y="88"/>
                  <a:pt x="93" y="86"/>
                </a:cubicBezTo>
                <a:cubicBezTo>
                  <a:pt x="98" y="89"/>
                  <a:pt x="98" y="89"/>
                  <a:pt x="98" y="89"/>
                </a:cubicBezTo>
                <a:cubicBezTo>
                  <a:pt x="100" y="90"/>
                  <a:pt x="102" y="90"/>
                  <a:pt x="102" y="88"/>
                </a:cubicBezTo>
                <a:cubicBezTo>
                  <a:pt x="108" y="78"/>
                  <a:pt x="108" y="78"/>
                  <a:pt x="108" y="78"/>
                </a:cubicBezTo>
                <a:cubicBezTo>
                  <a:pt x="109" y="77"/>
                  <a:pt x="108" y="75"/>
                  <a:pt x="107" y="74"/>
                </a:cubicBezTo>
                <a:cubicBezTo>
                  <a:pt x="101" y="71"/>
                  <a:pt x="101" y="71"/>
                  <a:pt x="101" y="71"/>
                </a:cubicBezTo>
                <a:cubicBezTo>
                  <a:pt x="102" y="69"/>
                  <a:pt x="102" y="66"/>
                  <a:pt x="103" y="64"/>
                </a:cubicBezTo>
                <a:cubicBezTo>
                  <a:pt x="110" y="64"/>
                  <a:pt x="110" y="64"/>
                  <a:pt x="110" y="64"/>
                </a:cubicBezTo>
                <a:cubicBezTo>
                  <a:pt x="111" y="64"/>
                  <a:pt x="112" y="63"/>
                  <a:pt x="112" y="61"/>
                </a:cubicBezTo>
                <a:cubicBezTo>
                  <a:pt x="112" y="49"/>
                  <a:pt x="112" y="49"/>
                  <a:pt x="112" y="49"/>
                </a:cubicBezTo>
                <a:cubicBezTo>
                  <a:pt x="112" y="48"/>
                  <a:pt x="111" y="47"/>
                  <a:pt x="110" y="47"/>
                </a:cubicBezTo>
                <a:close/>
                <a:moveTo>
                  <a:pt x="56" y="86"/>
                </a:moveTo>
                <a:cubicBezTo>
                  <a:pt x="40" y="86"/>
                  <a:pt x="26" y="72"/>
                  <a:pt x="26" y="56"/>
                </a:cubicBezTo>
                <a:cubicBezTo>
                  <a:pt x="26" y="39"/>
                  <a:pt x="40" y="26"/>
                  <a:pt x="56" y="26"/>
                </a:cubicBezTo>
                <a:cubicBezTo>
                  <a:pt x="73" y="26"/>
                  <a:pt x="86" y="39"/>
                  <a:pt x="86" y="56"/>
                </a:cubicBezTo>
                <a:cubicBezTo>
                  <a:pt x="86" y="72"/>
                  <a:pt x="73" y="86"/>
                  <a:pt x="56" y="86"/>
                </a:cubicBezTo>
                <a:close/>
              </a:path>
            </a:pathLst>
          </a:custGeom>
          <a:solidFill>
            <a:schemeClr val="bg1"/>
          </a:solidFill>
          <a:ln>
            <a:noFill/>
          </a:ln>
        </p:spPr>
        <p:txBody>
          <a:bodyPr vert="horz" wrap="square" lIns="121908" tIns="60954" rIns="121908" bIns="60954" numCol="1" anchor="t" anchorCtr="0" compatLnSpc="1"/>
          <a:lstStyle/>
          <a:p>
            <a:endParaRPr lang="en-US">
              <a:latin typeface="+mn-ea"/>
            </a:endParaRP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208"/>
                                        </p:tgtEl>
                                        <p:attrNameLst>
                                          <p:attrName>style.visibility</p:attrName>
                                        </p:attrNameLst>
                                      </p:cBhvr>
                                      <p:to>
                                        <p:strVal val="visible"/>
                                      </p:to>
                                    </p:set>
                                    <p:anim calcmode="lin" valueType="num">
                                      <p:cBhvr>
                                        <p:cTn id="7" dur="500" fill="hold"/>
                                        <p:tgtEl>
                                          <p:spTgt spid="208"/>
                                        </p:tgtEl>
                                        <p:attrNameLst>
                                          <p:attrName>ppt_w</p:attrName>
                                        </p:attrNameLst>
                                      </p:cBhvr>
                                      <p:tavLst>
                                        <p:tav tm="0">
                                          <p:val>
                                            <p:fltVal val="0"/>
                                          </p:val>
                                        </p:tav>
                                        <p:tav tm="100000">
                                          <p:val>
                                            <p:strVal val="#ppt_w"/>
                                          </p:val>
                                        </p:tav>
                                      </p:tavLst>
                                    </p:anim>
                                    <p:anim calcmode="lin" valueType="num">
                                      <p:cBhvr>
                                        <p:cTn id="8" dur="500" fill="hold"/>
                                        <p:tgtEl>
                                          <p:spTgt spid="208"/>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18" presetClass="entr" presetSubtype="6" fill="hold" grpId="0" nodeType="afterEffect">
                                  <p:stCondLst>
                                    <p:cond delay="0"/>
                                  </p:stCondLst>
                                  <p:childTnLst>
                                    <p:set>
                                      <p:cBhvr>
                                        <p:cTn id="11" dur="1" fill="hold">
                                          <p:stCondLst>
                                            <p:cond delay="0"/>
                                          </p:stCondLst>
                                        </p:cTn>
                                        <p:tgtEl>
                                          <p:spTgt spid="215"/>
                                        </p:tgtEl>
                                        <p:attrNameLst>
                                          <p:attrName>style.visibility</p:attrName>
                                        </p:attrNameLst>
                                      </p:cBhvr>
                                      <p:to>
                                        <p:strVal val="visible"/>
                                      </p:to>
                                    </p:set>
                                    <p:animEffect transition="in" filter="strips(downRight)">
                                      <p:cBhvr>
                                        <p:cTn id="12" dur="500"/>
                                        <p:tgtEl>
                                          <p:spTgt spid="215"/>
                                        </p:tgtEl>
                                      </p:cBhvr>
                                    </p:animEffect>
                                  </p:childTnLst>
                                </p:cTn>
                              </p:par>
                            </p:childTnLst>
                          </p:cTn>
                        </p:par>
                        <p:par>
                          <p:cTn id="13" fill="hold">
                            <p:stCondLst>
                              <p:cond delay="1000"/>
                            </p:stCondLst>
                            <p:childTnLst>
                              <p:par>
                                <p:cTn id="14" presetID="18" presetClass="entr" presetSubtype="12" fill="hold" nodeType="afterEffect">
                                  <p:stCondLst>
                                    <p:cond delay="0"/>
                                  </p:stCondLst>
                                  <p:childTnLst>
                                    <p:set>
                                      <p:cBhvr>
                                        <p:cTn id="15" dur="1" fill="hold">
                                          <p:stCondLst>
                                            <p:cond delay="0"/>
                                          </p:stCondLst>
                                        </p:cTn>
                                        <p:tgtEl>
                                          <p:spTgt spid="213"/>
                                        </p:tgtEl>
                                        <p:attrNameLst>
                                          <p:attrName>style.visibility</p:attrName>
                                        </p:attrNameLst>
                                      </p:cBhvr>
                                      <p:to>
                                        <p:strVal val="visible"/>
                                      </p:to>
                                    </p:set>
                                    <p:animEffect transition="in" filter="strips(downLeft)">
                                      <p:cBhvr>
                                        <p:cTn id="16" dur="500"/>
                                        <p:tgtEl>
                                          <p:spTgt spid="213"/>
                                        </p:tgtEl>
                                      </p:cBhvr>
                                    </p:animEffect>
                                  </p:childTnLst>
                                </p:cTn>
                              </p:par>
                            </p:childTnLst>
                          </p:cTn>
                        </p:par>
                        <p:par>
                          <p:cTn id="17" fill="hold">
                            <p:stCondLst>
                              <p:cond delay="1500"/>
                            </p:stCondLst>
                            <p:childTnLst>
                              <p:par>
                                <p:cTn id="18" presetID="23" presetClass="entr" presetSubtype="16" fill="hold" nodeType="afterEffect">
                                  <p:stCondLst>
                                    <p:cond delay="0"/>
                                  </p:stCondLst>
                                  <p:childTnLst>
                                    <p:set>
                                      <p:cBhvr>
                                        <p:cTn id="19" dur="1" fill="hold">
                                          <p:stCondLst>
                                            <p:cond delay="0"/>
                                          </p:stCondLst>
                                        </p:cTn>
                                        <p:tgtEl>
                                          <p:spTgt spid="211"/>
                                        </p:tgtEl>
                                        <p:attrNameLst>
                                          <p:attrName>style.visibility</p:attrName>
                                        </p:attrNameLst>
                                      </p:cBhvr>
                                      <p:to>
                                        <p:strVal val="visible"/>
                                      </p:to>
                                    </p:set>
                                    <p:anim calcmode="lin" valueType="num">
                                      <p:cBhvr>
                                        <p:cTn id="20" dur="500" fill="hold"/>
                                        <p:tgtEl>
                                          <p:spTgt spid="211"/>
                                        </p:tgtEl>
                                        <p:attrNameLst>
                                          <p:attrName>ppt_w</p:attrName>
                                        </p:attrNameLst>
                                      </p:cBhvr>
                                      <p:tavLst>
                                        <p:tav tm="0">
                                          <p:val>
                                            <p:fltVal val="0"/>
                                          </p:val>
                                        </p:tav>
                                        <p:tav tm="100000">
                                          <p:val>
                                            <p:strVal val="#ppt_w"/>
                                          </p:val>
                                        </p:tav>
                                      </p:tavLst>
                                    </p:anim>
                                    <p:anim calcmode="lin" valueType="num">
                                      <p:cBhvr>
                                        <p:cTn id="21" dur="500" fill="hold"/>
                                        <p:tgtEl>
                                          <p:spTgt spid="211"/>
                                        </p:tgtEl>
                                        <p:attrNameLst>
                                          <p:attrName>ppt_h</p:attrName>
                                        </p:attrNameLst>
                                      </p:cBhvr>
                                      <p:tavLst>
                                        <p:tav tm="0">
                                          <p:val>
                                            <p:fltVal val="0"/>
                                          </p:val>
                                        </p:tav>
                                        <p:tav tm="100000">
                                          <p:val>
                                            <p:strVal val="#ppt_h"/>
                                          </p:val>
                                        </p:tav>
                                      </p:tavLst>
                                    </p:anim>
                                  </p:childTnLst>
                                </p:cTn>
                              </p:par>
                            </p:childTnLst>
                          </p:cTn>
                        </p:par>
                        <p:par>
                          <p:cTn id="22" fill="hold">
                            <p:stCondLst>
                              <p:cond delay="2000"/>
                            </p:stCondLst>
                            <p:childTnLst>
                              <p:par>
                                <p:cTn id="23" presetID="18" presetClass="entr" presetSubtype="3" fill="hold" nodeType="afterEffect">
                                  <p:stCondLst>
                                    <p:cond delay="0"/>
                                  </p:stCondLst>
                                  <p:childTnLst>
                                    <p:set>
                                      <p:cBhvr>
                                        <p:cTn id="24" dur="1" fill="hold">
                                          <p:stCondLst>
                                            <p:cond delay="0"/>
                                          </p:stCondLst>
                                        </p:cTn>
                                        <p:tgtEl>
                                          <p:spTgt spid="221"/>
                                        </p:tgtEl>
                                        <p:attrNameLst>
                                          <p:attrName>style.visibility</p:attrName>
                                        </p:attrNameLst>
                                      </p:cBhvr>
                                      <p:to>
                                        <p:strVal val="visible"/>
                                      </p:to>
                                    </p:set>
                                    <p:animEffect transition="in" filter="strips(upRight)">
                                      <p:cBhvr>
                                        <p:cTn id="25" dur="500"/>
                                        <p:tgtEl>
                                          <p:spTgt spid="221"/>
                                        </p:tgtEl>
                                      </p:cBhvr>
                                    </p:animEffect>
                                  </p:childTnLst>
                                </p:cTn>
                              </p:par>
                            </p:childTnLst>
                          </p:cTn>
                        </p:par>
                        <p:par>
                          <p:cTn id="26" fill="hold">
                            <p:stCondLst>
                              <p:cond delay="2500"/>
                            </p:stCondLst>
                            <p:childTnLst>
                              <p:par>
                                <p:cTn id="27" presetID="23" presetClass="entr" presetSubtype="16" fill="hold" nodeType="afterEffect">
                                  <p:stCondLst>
                                    <p:cond delay="0"/>
                                  </p:stCondLst>
                                  <p:childTnLst>
                                    <p:set>
                                      <p:cBhvr>
                                        <p:cTn id="28" dur="1" fill="hold">
                                          <p:stCondLst>
                                            <p:cond delay="0"/>
                                          </p:stCondLst>
                                        </p:cTn>
                                        <p:tgtEl>
                                          <p:spTgt spid="222"/>
                                        </p:tgtEl>
                                        <p:attrNameLst>
                                          <p:attrName>style.visibility</p:attrName>
                                        </p:attrNameLst>
                                      </p:cBhvr>
                                      <p:to>
                                        <p:strVal val="visible"/>
                                      </p:to>
                                    </p:set>
                                    <p:anim calcmode="lin" valueType="num">
                                      <p:cBhvr>
                                        <p:cTn id="29" dur="500" fill="hold"/>
                                        <p:tgtEl>
                                          <p:spTgt spid="222"/>
                                        </p:tgtEl>
                                        <p:attrNameLst>
                                          <p:attrName>ppt_w</p:attrName>
                                        </p:attrNameLst>
                                      </p:cBhvr>
                                      <p:tavLst>
                                        <p:tav tm="0">
                                          <p:val>
                                            <p:fltVal val="0"/>
                                          </p:val>
                                        </p:tav>
                                        <p:tav tm="100000">
                                          <p:val>
                                            <p:strVal val="#ppt_w"/>
                                          </p:val>
                                        </p:tav>
                                      </p:tavLst>
                                    </p:anim>
                                    <p:anim calcmode="lin" valueType="num">
                                      <p:cBhvr>
                                        <p:cTn id="30" dur="500" fill="hold"/>
                                        <p:tgtEl>
                                          <p:spTgt spid="222"/>
                                        </p:tgtEl>
                                        <p:attrNameLst>
                                          <p:attrName>ppt_h</p:attrName>
                                        </p:attrNameLst>
                                      </p:cBhvr>
                                      <p:tavLst>
                                        <p:tav tm="0">
                                          <p:val>
                                            <p:fltVal val="0"/>
                                          </p:val>
                                        </p:tav>
                                        <p:tav tm="100000">
                                          <p:val>
                                            <p:strVal val="#ppt_h"/>
                                          </p:val>
                                        </p:tav>
                                      </p:tavLst>
                                    </p:anim>
                                  </p:childTnLst>
                                </p:cTn>
                              </p:par>
                            </p:childTnLst>
                          </p:cTn>
                        </p:par>
                        <p:par>
                          <p:cTn id="31" fill="hold">
                            <p:stCondLst>
                              <p:cond delay="3000"/>
                            </p:stCondLst>
                            <p:childTnLst>
                              <p:par>
                                <p:cTn id="32" presetID="18" presetClass="entr" presetSubtype="12" fill="hold" nodeType="afterEffect">
                                  <p:stCondLst>
                                    <p:cond delay="0"/>
                                  </p:stCondLst>
                                  <p:childTnLst>
                                    <p:set>
                                      <p:cBhvr>
                                        <p:cTn id="33" dur="1" fill="hold">
                                          <p:stCondLst>
                                            <p:cond delay="0"/>
                                          </p:stCondLst>
                                        </p:cTn>
                                        <p:tgtEl>
                                          <p:spTgt spid="220"/>
                                        </p:tgtEl>
                                        <p:attrNameLst>
                                          <p:attrName>style.visibility</p:attrName>
                                        </p:attrNameLst>
                                      </p:cBhvr>
                                      <p:to>
                                        <p:strVal val="visible"/>
                                      </p:to>
                                    </p:set>
                                    <p:animEffect transition="in" filter="strips(downLeft)">
                                      <p:cBhvr>
                                        <p:cTn id="34" dur="500"/>
                                        <p:tgtEl>
                                          <p:spTgt spid="220"/>
                                        </p:tgtEl>
                                      </p:cBhvr>
                                    </p:animEffect>
                                  </p:childTnLst>
                                </p:cTn>
                              </p:par>
                            </p:childTnLst>
                          </p:cTn>
                        </p:par>
                        <p:par>
                          <p:cTn id="35" fill="hold">
                            <p:stCondLst>
                              <p:cond delay="3500"/>
                            </p:stCondLst>
                            <p:childTnLst>
                              <p:par>
                                <p:cTn id="36" presetID="23" presetClass="entr" presetSubtype="16" fill="hold" nodeType="afterEffect">
                                  <p:stCondLst>
                                    <p:cond delay="0"/>
                                  </p:stCondLst>
                                  <p:childTnLst>
                                    <p:set>
                                      <p:cBhvr>
                                        <p:cTn id="37" dur="1" fill="hold">
                                          <p:stCondLst>
                                            <p:cond delay="0"/>
                                          </p:stCondLst>
                                        </p:cTn>
                                        <p:tgtEl>
                                          <p:spTgt spid="212"/>
                                        </p:tgtEl>
                                        <p:attrNameLst>
                                          <p:attrName>style.visibility</p:attrName>
                                        </p:attrNameLst>
                                      </p:cBhvr>
                                      <p:to>
                                        <p:strVal val="visible"/>
                                      </p:to>
                                    </p:set>
                                    <p:anim calcmode="lin" valueType="num">
                                      <p:cBhvr>
                                        <p:cTn id="38" dur="500" fill="hold"/>
                                        <p:tgtEl>
                                          <p:spTgt spid="212"/>
                                        </p:tgtEl>
                                        <p:attrNameLst>
                                          <p:attrName>ppt_w</p:attrName>
                                        </p:attrNameLst>
                                      </p:cBhvr>
                                      <p:tavLst>
                                        <p:tav tm="0">
                                          <p:val>
                                            <p:fltVal val="0"/>
                                          </p:val>
                                        </p:tav>
                                        <p:tav tm="100000">
                                          <p:val>
                                            <p:strVal val="#ppt_w"/>
                                          </p:val>
                                        </p:tav>
                                      </p:tavLst>
                                    </p:anim>
                                    <p:anim calcmode="lin" valueType="num">
                                      <p:cBhvr>
                                        <p:cTn id="39" dur="500" fill="hold"/>
                                        <p:tgtEl>
                                          <p:spTgt spid="212"/>
                                        </p:tgtEl>
                                        <p:attrNameLst>
                                          <p:attrName>ppt_h</p:attrName>
                                        </p:attrNameLst>
                                      </p:cBhvr>
                                      <p:tavLst>
                                        <p:tav tm="0">
                                          <p:val>
                                            <p:fltVal val="0"/>
                                          </p:val>
                                        </p:tav>
                                        <p:tav tm="100000">
                                          <p:val>
                                            <p:strVal val="#ppt_h"/>
                                          </p:val>
                                        </p:tav>
                                      </p:tavLst>
                                    </p:anim>
                                  </p:childTnLst>
                                </p:cTn>
                              </p:par>
                            </p:childTnLst>
                          </p:cTn>
                        </p:par>
                        <p:par>
                          <p:cTn id="40" fill="hold">
                            <p:stCondLst>
                              <p:cond delay="4000"/>
                            </p:stCondLst>
                            <p:childTnLst>
                              <p:par>
                                <p:cTn id="41" presetID="18" presetClass="entr" presetSubtype="3" fill="hold" nodeType="afterEffect">
                                  <p:stCondLst>
                                    <p:cond delay="0"/>
                                  </p:stCondLst>
                                  <p:childTnLst>
                                    <p:set>
                                      <p:cBhvr>
                                        <p:cTn id="42" dur="1" fill="hold">
                                          <p:stCondLst>
                                            <p:cond delay="0"/>
                                          </p:stCondLst>
                                        </p:cTn>
                                        <p:tgtEl>
                                          <p:spTgt spid="225"/>
                                        </p:tgtEl>
                                        <p:attrNameLst>
                                          <p:attrName>style.visibility</p:attrName>
                                        </p:attrNameLst>
                                      </p:cBhvr>
                                      <p:to>
                                        <p:strVal val="visible"/>
                                      </p:to>
                                    </p:set>
                                    <p:animEffect transition="in" filter="strips(upRight)">
                                      <p:cBhvr>
                                        <p:cTn id="43" dur="500"/>
                                        <p:tgtEl>
                                          <p:spTgt spid="225"/>
                                        </p:tgtEl>
                                      </p:cBhvr>
                                    </p:animEffect>
                                  </p:childTnLst>
                                </p:cTn>
                              </p:par>
                            </p:childTnLst>
                          </p:cTn>
                        </p:par>
                        <p:par>
                          <p:cTn id="44" fill="hold">
                            <p:stCondLst>
                              <p:cond delay="4500"/>
                            </p:stCondLst>
                            <p:childTnLst>
                              <p:par>
                                <p:cTn id="45" presetID="23" presetClass="entr" presetSubtype="16" fill="hold" nodeType="afterEffect">
                                  <p:stCondLst>
                                    <p:cond delay="0"/>
                                  </p:stCondLst>
                                  <p:childTnLst>
                                    <p:set>
                                      <p:cBhvr>
                                        <p:cTn id="46" dur="1" fill="hold">
                                          <p:stCondLst>
                                            <p:cond delay="0"/>
                                          </p:stCondLst>
                                        </p:cTn>
                                        <p:tgtEl>
                                          <p:spTgt spid="226"/>
                                        </p:tgtEl>
                                        <p:attrNameLst>
                                          <p:attrName>style.visibility</p:attrName>
                                        </p:attrNameLst>
                                      </p:cBhvr>
                                      <p:to>
                                        <p:strVal val="visible"/>
                                      </p:to>
                                    </p:set>
                                    <p:anim calcmode="lin" valueType="num">
                                      <p:cBhvr>
                                        <p:cTn id="47" dur="500" fill="hold"/>
                                        <p:tgtEl>
                                          <p:spTgt spid="226"/>
                                        </p:tgtEl>
                                        <p:attrNameLst>
                                          <p:attrName>ppt_w</p:attrName>
                                        </p:attrNameLst>
                                      </p:cBhvr>
                                      <p:tavLst>
                                        <p:tav tm="0">
                                          <p:val>
                                            <p:fltVal val="0"/>
                                          </p:val>
                                        </p:tav>
                                        <p:tav tm="100000">
                                          <p:val>
                                            <p:strVal val="#ppt_w"/>
                                          </p:val>
                                        </p:tav>
                                      </p:tavLst>
                                    </p:anim>
                                    <p:anim calcmode="lin" valueType="num">
                                      <p:cBhvr>
                                        <p:cTn id="48" dur="500" fill="hold"/>
                                        <p:tgtEl>
                                          <p:spTgt spid="226"/>
                                        </p:tgtEl>
                                        <p:attrNameLst>
                                          <p:attrName>ppt_h</p:attrName>
                                        </p:attrNameLst>
                                      </p:cBhvr>
                                      <p:tavLst>
                                        <p:tav tm="0">
                                          <p:val>
                                            <p:fltVal val="0"/>
                                          </p:val>
                                        </p:tav>
                                        <p:tav tm="100000">
                                          <p:val>
                                            <p:strVal val="#ppt_h"/>
                                          </p:val>
                                        </p:tav>
                                      </p:tavLst>
                                    </p:anim>
                                  </p:childTnLst>
                                </p:cTn>
                              </p:par>
                            </p:childTnLst>
                          </p:cTn>
                        </p:par>
                        <p:par>
                          <p:cTn id="49" fill="hold">
                            <p:stCondLst>
                              <p:cond delay="5000"/>
                            </p:stCondLst>
                            <p:childTnLst>
                              <p:par>
                                <p:cTn id="50" presetID="18" presetClass="entr" presetSubtype="12" fill="hold" nodeType="afterEffect">
                                  <p:stCondLst>
                                    <p:cond delay="0"/>
                                  </p:stCondLst>
                                  <p:childTnLst>
                                    <p:set>
                                      <p:cBhvr>
                                        <p:cTn id="51" dur="1" fill="hold">
                                          <p:stCondLst>
                                            <p:cond delay="0"/>
                                          </p:stCondLst>
                                        </p:cTn>
                                        <p:tgtEl>
                                          <p:spTgt spid="239"/>
                                        </p:tgtEl>
                                        <p:attrNameLst>
                                          <p:attrName>style.visibility</p:attrName>
                                        </p:attrNameLst>
                                      </p:cBhvr>
                                      <p:to>
                                        <p:strVal val="visible"/>
                                      </p:to>
                                    </p:set>
                                    <p:animEffect transition="in" filter="strips(downLeft)">
                                      <p:cBhvr>
                                        <p:cTn id="52" dur="500"/>
                                        <p:tgtEl>
                                          <p:spTgt spid="239"/>
                                        </p:tgtEl>
                                      </p:cBhvr>
                                    </p:animEffect>
                                  </p:childTnLst>
                                </p:cTn>
                              </p:par>
                            </p:childTnLst>
                          </p:cTn>
                        </p:par>
                        <p:par>
                          <p:cTn id="53" fill="hold">
                            <p:stCondLst>
                              <p:cond delay="5500"/>
                            </p:stCondLst>
                            <p:childTnLst>
                              <p:par>
                                <p:cTn id="54" presetID="23" presetClass="entr" presetSubtype="16" fill="hold" nodeType="afterEffect">
                                  <p:stCondLst>
                                    <p:cond delay="0"/>
                                  </p:stCondLst>
                                  <p:childTnLst>
                                    <p:set>
                                      <p:cBhvr>
                                        <p:cTn id="55" dur="1" fill="hold">
                                          <p:stCondLst>
                                            <p:cond delay="0"/>
                                          </p:stCondLst>
                                        </p:cTn>
                                        <p:tgtEl>
                                          <p:spTgt spid="241"/>
                                        </p:tgtEl>
                                        <p:attrNameLst>
                                          <p:attrName>style.visibility</p:attrName>
                                        </p:attrNameLst>
                                      </p:cBhvr>
                                      <p:to>
                                        <p:strVal val="visible"/>
                                      </p:to>
                                    </p:set>
                                    <p:anim calcmode="lin" valueType="num">
                                      <p:cBhvr>
                                        <p:cTn id="56" dur="500" fill="hold"/>
                                        <p:tgtEl>
                                          <p:spTgt spid="241"/>
                                        </p:tgtEl>
                                        <p:attrNameLst>
                                          <p:attrName>ppt_w</p:attrName>
                                        </p:attrNameLst>
                                      </p:cBhvr>
                                      <p:tavLst>
                                        <p:tav tm="0">
                                          <p:val>
                                            <p:fltVal val="0"/>
                                          </p:val>
                                        </p:tav>
                                        <p:tav tm="100000">
                                          <p:val>
                                            <p:strVal val="#ppt_w"/>
                                          </p:val>
                                        </p:tav>
                                      </p:tavLst>
                                    </p:anim>
                                    <p:anim calcmode="lin" valueType="num">
                                      <p:cBhvr>
                                        <p:cTn id="57" dur="500" fill="hold"/>
                                        <p:tgtEl>
                                          <p:spTgt spid="241"/>
                                        </p:tgtEl>
                                        <p:attrNameLst>
                                          <p:attrName>ppt_h</p:attrName>
                                        </p:attrNameLst>
                                      </p:cBhvr>
                                      <p:tavLst>
                                        <p:tav tm="0">
                                          <p:val>
                                            <p:fltVal val="0"/>
                                          </p:val>
                                        </p:tav>
                                        <p:tav tm="100000">
                                          <p:val>
                                            <p:strVal val="#ppt_h"/>
                                          </p:val>
                                        </p:tav>
                                      </p:tavLst>
                                    </p:anim>
                                  </p:childTnLst>
                                </p:cTn>
                              </p:par>
                            </p:childTnLst>
                          </p:cTn>
                        </p:par>
                        <p:par>
                          <p:cTn id="58" fill="hold">
                            <p:stCondLst>
                              <p:cond delay="6000"/>
                            </p:stCondLst>
                            <p:childTnLst>
                              <p:par>
                                <p:cTn id="59" presetID="12" presetClass="entr" presetSubtype="8" fill="hold" grpId="0" nodeType="afterEffect">
                                  <p:stCondLst>
                                    <p:cond delay="0"/>
                                  </p:stCondLst>
                                  <p:childTnLst>
                                    <p:set>
                                      <p:cBhvr>
                                        <p:cTn id="60" dur="1" fill="hold">
                                          <p:stCondLst>
                                            <p:cond delay="0"/>
                                          </p:stCondLst>
                                        </p:cTn>
                                        <p:tgtEl>
                                          <p:spTgt spid="253"/>
                                        </p:tgtEl>
                                        <p:attrNameLst>
                                          <p:attrName>style.visibility</p:attrName>
                                        </p:attrNameLst>
                                      </p:cBhvr>
                                      <p:to>
                                        <p:strVal val="visible"/>
                                      </p:to>
                                    </p:set>
                                    <p:animEffect transition="in" filter="slide(fromLeft)">
                                      <p:cBhvr>
                                        <p:cTn id="61" dur="500"/>
                                        <p:tgtEl>
                                          <p:spTgt spid="253"/>
                                        </p:tgtEl>
                                      </p:cBhvr>
                                    </p:animEffect>
                                  </p:childTnLst>
                                </p:cTn>
                              </p:par>
                            </p:childTnLst>
                          </p:cTn>
                        </p:par>
                        <p:par>
                          <p:cTn id="62" fill="hold">
                            <p:stCondLst>
                              <p:cond delay="6500"/>
                            </p:stCondLst>
                            <p:childTnLst>
                              <p:par>
                                <p:cTn id="63" presetID="18" presetClass="entr" presetSubtype="3" fill="hold" nodeType="afterEffect">
                                  <p:stCondLst>
                                    <p:cond delay="0"/>
                                  </p:stCondLst>
                                  <p:childTnLst>
                                    <p:set>
                                      <p:cBhvr>
                                        <p:cTn id="64" dur="1" fill="hold">
                                          <p:stCondLst>
                                            <p:cond delay="0"/>
                                          </p:stCondLst>
                                        </p:cTn>
                                        <p:tgtEl>
                                          <p:spTgt spid="229"/>
                                        </p:tgtEl>
                                        <p:attrNameLst>
                                          <p:attrName>style.visibility</p:attrName>
                                        </p:attrNameLst>
                                      </p:cBhvr>
                                      <p:to>
                                        <p:strVal val="visible"/>
                                      </p:to>
                                    </p:set>
                                    <p:animEffect transition="in" filter="strips(upRight)">
                                      <p:cBhvr>
                                        <p:cTn id="65" dur="500"/>
                                        <p:tgtEl>
                                          <p:spTgt spid="229"/>
                                        </p:tgtEl>
                                      </p:cBhvr>
                                    </p:animEffect>
                                  </p:childTnLst>
                                </p:cTn>
                              </p:par>
                            </p:childTnLst>
                          </p:cTn>
                        </p:par>
                        <p:par>
                          <p:cTn id="66" fill="hold">
                            <p:stCondLst>
                              <p:cond delay="7000"/>
                            </p:stCondLst>
                            <p:childTnLst>
                              <p:par>
                                <p:cTn id="67" presetID="23" presetClass="entr" presetSubtype="16" fill="hold" nodeType="afterEffect">
                                  <p:stCondLst>
                                    <p:cond delay="0"/>
                                  </p:stCondLst>
                                  <p:childTnLst>
                                    <p:set>
                                      <p:cBhvr>
                                        <p:cTn id="68" dur="1" fill="hold">
                                          <p:stCondLst>
                                            <p:cond delay="0"/>
                                          </p:stCondLst>
                                        </p:cTn>
                                        <p:tgtEl>
                                          <p:spTgt spid="233"/>
                                        </p:tgtEl>
                                        <p:attrNameLst>
                                          <p:attrName>style.visibility</p:attrName>
                                        </p:attrNameLst>
                                      </p:cBhvr>
                                      <p:to>
                                        <p:strVal val="visible"/>
                                      </p:to>
                                    </p:set>
                                    <p:anim calcmode="lin" valueType="num">
                                      <p:cBhvr>
                                        <p:cTn id="69" dur="500" fill="hold"/>
                                        <p:tgtEl>
                                          <p:spTgt spid="233"/>
                                        </p:tgtEl>
                                        <p:attrNameLst>
                                          <p:attrName>ppt_w</p:attrName>
                                        </p:attrNameLst>
                                      </p:cBhvr>
                                      <p:tavLst>
                                        <p:tav tm="0">
                                          <p:val>
                                            <p:fltVal val="0"/>
                                          </p:val>
                                        </p:tav>
                                        <p:tav tm="100000">
                                          <p:val>
                                            <p:strVal val="#ppt_w"/>
                                          </p:val>
                                        </p:tav>
                                      </p:tavLst>
                                    </p:anim>
                                    <p:anim calcmode="lin" valueType="num">
                                      <p:cBhvr>
                                        <p:cTn id="70" dur="500" fill="hold"/>
                                        <p:tgtEl>
                                          <p:spTgt spid="233"/>
                                        </p:tgtEl>
                                        <p:attrNameLst>
                                          <p:attrName>ppt_h</p:attrName>
                                        </p:attrNameLst>
                                      </p:cBhvr>
                                      <p:tavLst>
                                        <p:tav tm="0">
                                          <p:val>
                                            <p:fltVal val="0"/>
                                          </p:val>
                                        </p:tav>
                                        <p:tav tm="100000">
                                          <p:val>
                                            <p:strVal val="#ppt_h"/>
                                          </p:val>
                                        </p:tav>
                                      </p:tavLst>
                                    </p:anim>
                                  </p:childTnLst>
                                </p:cTn>
                              </p:par>
                            </p:childTnLst>
                          </p:cTn>
                        </p:par>
                        <p:par>
                          <p:cTn id="71" fill="hold">
                            <p:stCondLst>
                              <p:cond delay="7500"/>
                            </p:stCondLst>
                            <p:childTnLst>
                              <p:par>
                                <p:cTn id="72" presetID="12" presetClass="entr" presetSubtype="8" fill="hold" grpId="0" nodeType="afterEffect">
                                  <p:stCondLst>
                                    <p:cond delay="0"/>
                                  </p:stCondLst>
                                  <p:childTnLst>
                                    <p:set>
                                      <p:cBhvr>
                                        <p:cTn id="73" dur="1" fill="hold">
                                          <p:stCondLst>
                                            <p:cond delay="0"/>
                                          </p:stCondLst>
                                        </p:cTn>
                                        <p:tgtEl>
                                          <p:spTgt spid="256"/>
                                        </p:tgtEl>
                                        <p:attrNameLst>
                                          <p:attrName>style.visibility</p:attrName>
                                        </p:attrNameLst>
                                      </p:cBhvr>
                                      <p:to>
                                        <p:strVal val="visible"/>
                                      </p:to>
                                    </p:set>
                                    <p:animEffect transition="in" filter="slide(fromLeft)">
                                      <p:cBhvr>
                                        <p:cTn id="74" dur="500"/>
                                        <p:tgtEl>
                                          <p:spTgt spid="256"/>
                                        </p:tgtEl>
                                      </p:cBhvr>
                                    </p:animEffect>
                                  </p:childTnLst>
                                </p:cTn>
                              </p:par>
                            </p:childTnLst>
                          </p:cTn>
                        </p:par>
                        <p:par>
                          <p:cTn id="75" fill="hold">
                            <p:stCondLst>
                              <p:cond delay="8000"/>
                            </p:stCondLst>
                            <p:childTnLst>
                              <p:par>
                                <p:cTn id="76" presetID="18" presetClass="entr" presetSubtype="12" fill="hold" nodeType="afterEffect">
                                  <p:stCondLst>
                                    <p:cond delay="0"/>
                                  </p:stCondLst>
                                  <p:childTnLst>
                                    <p:set>
                                      <p:cBhvr>
                                        <p:cTn id="77" dur="1" fill="hold">
                                          <p:stCondLst>
                                            <p:cond delay="0"/>
                                          </p:stCondLst>
                                        </p:cTn>
                                        <p:tgtEl>
                                          <p:spTgt spid="249"/>
                                        </p:tgtEl>
                                        <p:attrNameLst>
                                          <p:attrName>style.visibility</p:attrName>
                                        </p:attrNameLst>
                                      </p:cBhvr>
                                      <p:to>
                                        <p:strVal val="visible"/>
                                      </p:to>
                                    </p:set>
                                    <p:animEffect transition="in" filter="strips(downLeft)">
                                      <p:cBhvr>
                                        <p:cTn id="78" dur="500"/>
                                        <p:tgtEl>
                                          <p:spTgt spid="249"/>
                                        </p:tgtEl>
                                      </p:cBhvr>
                                    </p:animEffect>
                                  </p:childTnLst>
                                </p:cTn>
                              </p:par>
                            </p:childTnLst>
                          </p:cTn>
                        </p:par>
                        <p:par>
                          <p:cTn id="79" fill="hold">
                            <p:stCondLst>
                              <p:cond delay="8500"/>
                            </p:stCondLst>
                            <p:childTnLst>
                              <p:par>
                                <p:cTn id="80" presetID="23" presetClass="entr" presetSubtype="16" fill="hold" nodeType="afterEffect">
                                  <p:stCondLst>
                                    <p:cond delay="0"/>
                                  </p:stCondLst>
                                  <p:childTnLst>
                                    <p:set>
                                      <p:cBhvr>
                                        <p:cTn id="81" dur="1" fill="hold">
                                          <p:stCondLst>
                                            <p:cond delay="0"/>
                                          </p:stCondLst>
                                        </p:cTn>
                                        <p:tgtEl>
                                          <p:spTgt spid="250"/>
                                        </p:tgtEl>
                                        <p:attrNameLst>
                                          <p:attrName>style.visibility</p:attrName>
                                        </p:attrNameLst>
                                      </p:cBhvr>
                                      <p:to>
                                        <p:strVal val="visible"/>
                                      </p:to>
                                    </p:set>
                                    <p:anim calcmode="lin" valueType="num">
                                      <p:cBhvr>
                                        <p:cTn id="82" dur="500" fill="hold"/>
                                        <p:tgtEl>
                                          <p:spTgt spid="250"/>
                                        </p:tgtEl>
                                        <p:attrNameLst>
                                          <p:attrName>ppt_w</p:attrName>
                                        </p:attrNameLst>
                                      </p:cBhvr>
                                      <p:tavLst>
                                        <p:tav tm="0">
                                          <p:val>
                                            <p:fltVal val="0"/>
                                          </p:val>
                                        </p:tav>
                                        <p:tav tm="100000">
                                          <p:val>
                                            <p:strVal val="#ppt_w"/>
                                          </p:val>
                                        </p:tav>
                                      </p:tavLst>
                                    </p:anim>
                                    <p:anim calcmode="lin" valueType="num">
                                      <p:cBhvr>
                                        <p:cTn id="83" dur="500" fill="hold"/>
                                        <p:tgtEl>
                                          <p:spTgt spid="250"/>
                                        </p:tgtEl>
                                        <p:attrNameLst>
                                          <p:attrName>ppt_h</p:attrName>
                                        </p:attrNameLst>
                                      </p:cBhvr>
                                      <p:tavLst>
                                        <p:tav tm="0">
                                          <p:val>
                                            <p:fltVal val="0"/>
                                          </p:val>
                                        </p:tav>
                                        <p:tav tm="100000">
                                          <p:val>
                                            <p:strVal val="#ppt_h"/>
                                          </p:val>
                                        </p:tav>
                                      </p:tavLst>
                                    </p:anim>
                                  </p:childTnLst>
                                </p:cTn>
                              </p:par>
                            </p:childTnLst>
                          </p:cTn>
                        </p:par>
                        <p:par>
                          <p:cTn id="84" fill="hold">
                            <p:stCondLst>
                              <p:cond delay="9000"/>
                            </p:stCondLst>
                            <p:childTnLst>
                              <p:par>
                                <p:cTn id="85" presetID="12" presetClass="entr" presetSubtype="2" fill="hold" grpId="0" nodeType="afterEffect">
                                  <p:stCondLst>
                                    <p:cond delay="0"/>
                                  </p:stCondLst>
                                  <p:childTnLst>
                                    <p:set>
                                      <p:cBhvr>
                                        <p:cTn id="86" dur="1" fill="hold">
                                          <p:stCondLst>
                                            <p:cond delay="0"/>
                                          </p:stCondLst>
                                        </p:cTn>
                                        <p:tgtEl>
                                          <p:spTgt spid="254"/>
                                        </p:tgtEl>
                                        <p:attrNameLst>
                                          <p:attrName>style.visibility</p:attrName>
                                        </p:attrNameLst>
                                      </p:cBhvr>
                                      <p:to>
                                        <p:strVal val="visible"/>
                                      </p:to>
                                    </p:set>
                                    <p:animEffect transition="in" filter="slide(fromRight)">
                                      <p:cBhvr>
                                        <p:cTn id="87" dur="500"/>
                                        <p:tgtEl>
                                          <p:spTgt spid="254"/>
                                        </p:tgtEl>
                                      </p:cBhvr>
                                    </p:animEffect>
                                  </p:childTnLst>
                                </p:cTn>
                              </p:par>
                            </p:childTnLst>
                          </p:cTn>
                        </p:par>
                        <p:par>
                          <p:cTn id="88" fill="hold">
                            <p:stCondLst>
                              <p:cond delay="9500"/>
                            </p:stCondLst>
                            <p:childTnLst>
                              <p:par>
                                <p:cTn id="89" presetID="18" presetClass="entr" presetSubtype="3" fill="hold" nodeType="afterEffect">
                                  <p:stCondLst>
                                    <p:cond delay="0"/>
                                  </p:stCondLst>
                                  <p:childTnLst>
                                    <p:set>
                                      <p:cBhvr>
                                        <p:cTn id="90" dur="1" fill="hold">
                                          <p:stCondLst>
                                            <p:cond delay="0"/>
                                          </p:stCondLst>
                                        </p:cTn>
                                        <p:tgtEl>
                                          <p:spTgt spid="248"/>
                                        </p:tgtEl>
                                        <p:attrNameLst>
                                          <p:attrName>style.visibility</p:attrName>
                                        </p:attrNameLst>
                                      </p:cBhvr>
                                      <p:to>
                                        <p:strVal val="visible"/>
                                      </p:to>
                                    </p:set>
                                    <p:animEffect transition="in" filter="strips(upRight)">
                                      <p:cBhvr>
                                        <p:cTn id="91" dur="500"/>
                                        <p:tgtEl>
                                          <p:spTgt spid="248"/>
                                        </p:tgtEl>
                                      </p:cBhvr>
                                    </p:animEffect>
                                  </p:childTnLst>
                                </p:cTn>
                              </p:par>
                            </p:childTnLst>
                          </p:cTn>
                        </p:par>
                        <p:par>
                          <p:cTn id="92" fill="hold">
                            <p:stCondLst>
                              <p:cond delay="10000"/>
                            </p:stCondLst>
                            <p:childTnLst>
                              <p:par>
                                <p:cTn id="93" presetID="18" presetClass="entr" presetSubtype="3" fill="hold" nodeType="afterEffect">
                                  <p:stCondLst>
                                    <p:cond delay="0"/>
                                  </p:stCondLst>
                                  <p:childTnLst>
                                    <p:set>
                                      <p:cBhvr>
                                        <p:cTn id="94" dur="1" fill="hold">
                                          <p:stCondLst>
                                            <p:cond delay="0"/>
                                          </p:stCondLst>
                                        </p:cTn>
                                        <p:tgtEl>
                                          <p:spTgt spid="249"/>
                                        </p:tgtEl>
                                        <p:attrNameLst>
                                          <p:attrName>style.visibility</p:attrName>
                                        </p:attrNameLst>
                                      </p:cBhvr>
                                      <p:to>
                                        <p:strVal val="visible"/>
                                      </p:to>
                                    </p:set>
                                    <p:animEffect transition="in" filter="strips(upRight)">
                                      <p:cBhvr>
                                        <p:cTn id="95" dur="500"/>
                                        <p:tgtEl>
                                          <p:spTgt spid="249"/>
                                        </p:tgtEl>
                                      </p:cBhvr>
                                    </p:animEffect>
                                  </p:childTnLst>
                                </p:cTn>
                              </p:par>
                            </p:childTnLst>
                          </p:cTn>
                        </p:par>
                        <p:par>
                          <p:cTn id="96" fill="hold">
                            <p:stCondLst>
                              <p:cond delay="10500"/>
                            </p:stCondLst>
                            <p:childTnLst>
                              <p:par>
                                <p:cTn id="97" presetID="10" presetClass="entr" presetSubtype="0" fill="hold" grpId="0" nodeType="afterEffect">
                                  <p:stCondLst>
                                    <p:cond delay="0"/>
                                  </p:stCondLst>
                                  <p:childTnLst>
                                    <p:set>
                                      <p:cBhvr>
                                        <p:cTn id="98" dur="1" fill="hold">
                                          <p:stCondLst>
                                            <p:cond delay="0"/>
                                          </p:stCondLst>
                                        </p:cTn>
                                        <p:tgtEl>
                                          <p:spTgt spid="257"/>
                                        </p:tgtEl>
                                        <p:attrNameLst>
                                          <p:attrName>style.visibility</p:attrName>
                                        </p:attrNameLst>
                                      </p:cBhvr>
                                      <p:to>
                                        <p:strVal val="visible"/>
                                      </p:to>
                                    </p:set>
                                    <p:animEffect transition="in" filter="fade">
                                      <p:cBhvr>
                                        <p:cTn id="99" dur="500"/>
                                        <p:tgtEl>
                                          <p:spTgt spid="2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p:bldP spid="254" grpId="0"/>
      <p:bldP spid="256" grpId="0"/>
      <p:bldP spid="208" grpId="0" animBg="1"/>
      <p:bldP spid="215" grpId="0" animBg="1"/>
      <p:bldP spid="25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矩形 53"/>
          <p:cNvSpPr/>
          <p:nvPr/>
        </p:nvSpPr>
        <p:spPr>
          <a:xfrm>
            <a:off x="795" y="1797235"/>
            <a:ext cx="12190413" cy="3525751"/>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55" name="TextBox 11"/>
          <p:cNvSpPr txBox="1"/>
          <p:nvPr/>
        </p:nvSpPr>
        <p:spPr>
          <a:xfrm>
            <a:off x="5505947" y="2273830"/>
            <a:ext cx="4721265" cy="1272437"/>
          </a:xfrm>
          <a:prstGeom prst="rect">
            <a:avLst/>
          </a:prstGeom>
          <a:noFill/>
        </p:spPr>
        <p:txBody>
          <a:bodyPr wrap="square" lIns="121917" tIns="60958" rIns="121917" bIns="60958" rtlCol="0">
            <a:spAutoFit/>
          </a:bodyPr>
          <a:lstStyle/>
          <a:p>
            <a:pPr marL="0" lvl="1"/>
            <a:r>
              <a:rPr lang="zh-CN" altLang="en-US" sz="1900" b="1" dirty="0">
                <a:solidFill>
                  <a:schemeClr val="bg1"/>
                </a:solidFill>
                <a:latin typeface="方正正大黑简体" panose="02000000000000000000" pitchFamily="2" charset="-122"/>
                <a:ea typeface="方正正大黑简体" panose="02000000000000000000" pitchFamily="2" charset="-122"/>
              </a:rPr>
              <a:t> </a:t>
            </a:r>
            <a:r>
              <a:rPr lang="zh-CN" altLang="en-US" sz="2700" dirty="0" smtClean="0">
                <a:solidFill>
                  <a:schemeClr val="bg1"/>
                </a:solidFill>
                <a:latin typeface="方正正大黑简体" panose="02000000000000000000" pitchFamily="2" charset="-122"/>
                <a:ea typeface="方正正大黑简体" panose="02000000000000000000" pitchFamily="2" charset="-122"/>
              </a:rPr>
              <a:t>第三部分</a:t>
            </a:r>
            <a:endParaRPr lang="en-US" altLang="zh-CN" sz="2700" dirty="0">
              <a:solidFill>
                <a:schemeClr val="bg1"/>
              </a:solidFill>
              <a:latin typeface="方正正大黑简体" panose="02000000000000000000" pitchFamily="2" charset="-122"/>
              <a:ea typeface="方正正大黑简体" panose="02000000000000000000" pitchFamily="2" charset="-122"/>
            </a:endParaRPr>
          </a:p>
          <a:p>
            <a:pPr marL="0" lvl="1"/>
            <a:r>
              <a:rPr lang="zh-CN" altLang="en-US" sz="4800" b="1" spc="400" dirty="0" smtClean="0">
                <a:solidFill>
                  <a:schemeClr val="bg1"/>
                </a:solidFill>
                <a:latin typeface="微软雅黑" panose="020B0503020204020204" pitchFamily="34" charset="-122"/>
                <a:ea typeface="微软雅黑" panose="020B0503020204020204" pitchFamily="34" charset="-122"/>
              </a:rPr>
              <a:t>工作总结</a:t>
            </a:r>
            <a:endParaRPr lang="zh-CN" altLang="en-US" sz="4800" b="1" spc="400" dirty="0">
              <a:solidFill>
                <a:schemeClr val="bg1"/>
              </a:solidFill>
              <a:latin typeface="微软雅黑" panose="020B0503020204020204" pitchFamily="34" charset="-122"/>
              <a:ea typeface="微软雅黑" panose="020B0503020204020204" pitchFamily="34" charset="-122"/>
            </a:endParaRPr>
          </a:p>
        </p:txBody>
      </p:sp>
      <p:cxnSp>
        <p:nvCxnSpPr>
          <p:cNvPr id="56" name="直接连接符 55"/>
          <p:cNvCxnSpPr/>
          <p:nvPr/>
        </p:nvCxnSpPr>
        <p:spPr>
          <a:xfrm flipV="1">
            <a:off x="5241572" y="2276863"/>
            <a:ext cx="0" cy="2566493"/>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7" name="TextBox 13"/>
          <p:cNvSpPr txBox="1"/>
          <p:nvPr/>
        </p:nvSpPr>
        <p:spPr>
          <a:xfrm>
            <a:off x="3584676" y="4307305"/>
            <a:ext cx="1203638" cy="328371"/>
          </a:xfrm>
          <a:prstGeom prst="rect">
            <a:avLst/>
          </a:prstGeom>
          <a:noFill/>
        </p:spPr>
        <p:txBody>
          <a:bodyPr wrap="square" lIns="0" tIns="0" rIns="0" bIns="0" rtlCol="0">
            <a:spAutoFit/>
          </a:bodyPr>
          <a:lstStyle/>
          <a:p>
            <a:pPr algn="ctr"/>
            <a:r>
              <a:rPr lang="en-US" altLang="zh-CN" sz="2100" dirty="0">
                <a:solidFill>
                  <a:schemeClr val="bg1"/>
                </a:solidFill>
                <a:latin typeface="微软雅黑" panose="020B0503020204020204" pitchFamily="34" charset="-122"/>
                <a:ea typeface="微软雅黑" panose="020B0503020204020204" pitchFamily="34" charset="-122"/>
              </a:rPr>
              <a:t>PART </a:t>
            </a:r>
            <a:r>
              <a:rPr lang="en-US" altLang="zh-CN" sz="2100" dirty="0" smtClean="0">
                <a:solidFill>
                  <a:schemeClr val="bg1"/>
                </a:solidFill>
                <a:latin typeface="微软雅黑" panose="020B0503020204020204" pitchFamily="34" charset="-122"/>
                <a:ea typeface="微软雅黑" panose="020B0503020204020204" pitchFamily="34" charset="-122"/>
              </a:rPr>
              <a:t>03</a:t>
            </a:r>
            <a:endParaRPr lang="zh-CN" altLang="en-US" sz="2100" dirty="0">
              <a:solidFill>
                <a:schemeClr val="bg1"/>
              </a:solidFill>
              <a:latin typeface="微软雅黑" panose="020B0503020204020204" pitchFamily="34" charset="-122"/>
              <a:ea typeface="微软雅黑" panose="020B0503020204020204" pitchFamily="34" charset="-122"/>
            </a:endParaRPr>
          </a:p>
        </p:txBody>
      </p:sp>
      <p:grpSp>
        <p:nvGrpSpPr>
          <p:cNvPr id="58" name="组合 57"/>
          <p:cNvGrpSpPr/>
          <p:nvPr/>
        </p:nvGrpSpPr>
        <p:grpSpPr>
          <a:xfrm>
            <a:off x="3489725" y="2757564"/>
            <a:ext cx="1393540" cy="1394044"/>
            <a:chOff x="3688998" y="918307"/>
            <a:chExt cx="1146646" cy="1146646"/>
          </a:xfrm>
        </p:grpSpPr>
        <p:grpSp>
          <p:nvGrpSpPr>
            <p:cNvPr id="59" name="组合 3"/>
            <p:cNvGrpSpPr/>
            <p:nvPr/>
          </p:nvGrpSpPr>
          <p:grpSpPr bwMode="auto">
            <a:xfrm>
              <a:off x="3688998" y="918307"/>
              <a:ext cx="1146646" cy="1146646"/>
              <a:chOff x="13242434" y="4083685"/>
              <a:chExt cx="2642282" cy="2642282"/>
            </a:xfrm>
          </p:grpSpPr>
          <p:sp>
            <p:nvSpPr>
              <p:cNvPr id="61" name="椭圆 60"/>
              <p:cNvSpPr/>
              <p:nvPr/>
            </p:nvSpPr>
            <p:spPr>
              <a:xfrm>
                <a:off x="13242434" y="4083685"/>
                <a:ext cx="2642282" cy="2642282"/>
              </a:xfrm>
              <a:prstGeom prst="ellipse">
                <a:avLst/>
              </a:prstGeom>
              <a:gradFill flip="none" rotWithShape="1">
                <a:gsLst>
                  <a:gs pos="100000">
                    <a:srgbClr val="FFFFFF"/>
                  </a:gs>
                  <a:gs pos="0">
                    <a:srgbClr val="B8BBBC"/>
                  </a:gs>
                </a:gsLst>
                <a:lin ang="18900000" scaled="1"/>
                <a:tileRect/>
              </a:gradFill>
              <a:ln>
                <a:noFill/>
              </a:ln>
              <a:effectLst>
                <a:outerShdw blurRad="1524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2"/>
                  </a:solidFill>
                </a:endParaRPr>
              </a:p>
            </p:txBody>
          </p:sp>
          <p:sp>
            <p:nvSpPr>
              <p:cNvPr id="62" name="椭圆 69"/>
              <p:cNvSpPr>
                <a:spLocks noChangeArrowheads="1"/>
              </p:cNvSpPr>
              <p:nvPr/>
            </p:nvSpPr>
            <p:spPr bwMode="auto">
              <a:xfrm>
                <a:off x="13399325" y="4240576"/>
                <a:ext cx="2328502" cy="2328502"/>
              </a:xfrm>
              <a:prstGeom prst="ellipse">
                <a:avLst/>
              </a:prstGeom>
              <a:solidFill>
                <a:schemeClr val="tx2"/>
              </a:solidFill>
              <a:ln>
                <a:noFill/>
              </a:ln>
              <a:extLst>
                <a:ext uri="{91240B29-F687-4F45-9708-019B960494DF}">
                  <a14:hiddenLine xmlns:a14="http://schemas.microsoft.com/office/drawing/2010/main" xmlns="" w="2857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a:endParaRPr lang="zh-CN" altLang="en-US">
                  <a:solidFill>
                    <a:schemeClr val="tx2"/>
                  </a:solidFill>
                </a:endParaRPr>
              </a:p>
            </p:txBody>
          </p:sp>
          <p:sp>
            <p:nvSpPr>
              <p:cNvPr id="63" name="椭圆 62"/>
              <p:cNvSpPr/>
              <p:nvPr/>
            </p:nvSpPr>
            <p:spPr>
              <a:xfrm>
                <a:off x="13475990" y="4317243"/>
                <a:ext cx="2175164" cy="2175163"/>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2"/>
                  </a:solidFill>
                </a:endParaRPr>
              </a:p>
            </p:txBody>
          </p:sp>
        </p:grpSp>
        <p:sp>
          <p:nvSpPr>
            <p:cNvPr id="60" name="TextBox 76"/>
            <p:cNvSpPr txBox="1"/>
            <p:nvPr/>
          </p:nvSpPr>
          <p:spPr>
            <a:xfrm>
              <a:off x="3790353" y="1165389"/>
              <a:ext cx="943935" cy="709001"/>
            </a:xfrm>
            <a:prstGeom prst="rect">
              <a:avLst/>
            </a:prstGeom>
            <a:noFill/>
          </p:spPr>
          <p:txBody>
            <a:bodyPr wrap="square" rtlCol="0">
              <a:spAutoFit/>
            </a:bodyPr>
            <a:lstStyle/>
            <a:p>
              <a:pPr algn="ctr"/>
              <a:r>
                <a:rPr lang="en-US" altLang="zh-CN" sz="4800" dirty="0" smtClean="0">
                  <a:solidFill>
                    <a:schemeClr val="tx2"/>
                  </a:solidFill>
                  <a:latin typeface="方正正大黑简体" panose="02000000000000000000" pitchFamily="2" charset="-122"/>
                  <a:ea typeface="方正正大黑简体" panose="02000000000000000000" pitchFamily="2" charset="-122"/>
                </a:rPr>
                <a:t>3</a:t>
              </a:r>
              <a:endParaRPr lang="zh-CN" altLang="en-US" sz="4800" dirty="0">
                <a:solidFill>
                  <a:schemeClr val="tx2"/>
                </a:solidFill>
                <a:latin typeface="方正正大黑简体" panose="02000000000000000000" pitchFamily="2" charset="-122"/>
                <a:ea typeface="方正正大黑简体" panose="02000000000000000000" pitchFamily="2" charset="-122"/>
              </a:endParaRPr>
            </a:p>
          </p:txBody>
        </p:sp>
      </p:grpSp>
      <p:sp>
        <p:nvSpPr>
          <p:cNvPr id="64" name="文本框 9"/>
          <p:cNvSpPr txBox="1"/>
          <p:nvPr/>
        </p:nvSpPr>
        <p:spPr>
          <a:xfrm>
            <a:off x="5657325" y="3618288"/>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5" name="文本框 9"/>
          <p:cNvSpPr txBox="1"/>
          <p:nvPr/>
        </p:nvSpPr>
        <p:spPr>
          <a:xfrm>
            <a:off x="5657323" y="405230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6" name="文本框 9"/>
          <p:cNvSpPr txBox="1"/>
          <p:nvPr/>
        </p:nvSpPr>
        <p:spPr>
          <a:xfrm>
            <a:off x="5657325" y="448692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7" name="文本框 9"/>
          <p:cNvSpPr txBox="1"/>
          <p:nvPr/>
        </p:nvSpPr>
        <p:spPr>
          <a:xfrm>
            <a:off x="7436465" y="3622633"/>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8" name="文本框 9"/>
          <p:cNvSpPr txBox="1"/>
          <p:nvPr/>
        </p:nvSpPr>
        <p:spPr>
          <a:xfrm>
            <a:off x="7436466" y="4057254"/>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9" name="文本框 9"/>
          <p:cNvSpPr txBox="1"/>
          <p:nvPr/>
        </p:nvSpPr>
        <p:spPr>
          <a:xfrm>
            <a:off x="7436465" y="448585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barn(outHorizontal)">
                                      <p:cBhvr>
                                        <p:cTn id="7" dur="500"/>
                                        <p:tgtEl>
                                          <p:spTgt spid="5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wipe(down)">
                                      <p:cBhvr>
                                        <p:cTn id="11" dur="500"/>
                                        <p:tgtEl>
                                          <p:spTgt spid="5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47"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anim calcmode="lin" valueType="num">
                                      <p:cBhvr>
                                        <p:cTn id="19" dur="500" fill="hold"/>
                                        <p:tgtEl>
                                          <p:spTgt spid="57"/>
                                        </p:tgtEl>
                                        <p:attrNameLst>
                                          <p:attrName>ppt_x</p:attrName>
                                        </p:attrNameLst>
                                      </p:cBhvr>
                                      <p:tavLst>
                                        <p:tav tm="0">
                                          <p:val>
                                            <p:strVal val="#ppt_x"/>
                                          </p:val>
                                        </p:tav>
                                        <p:tav tm="100000">
                                          <p:val>
                                            <p:strVal val="#ppt_x"/>
                                          </p:val>
                                        </p:tav>
                                      </p:tavLst>
                                    </p:anim>
                                    <p:anim calcmode="lin" valueType="num">
                                      <p:cBhvr>
                                        <p:cTn id="20" dur="500" fill="hold"/>
                                        <p:tgtEl>
                                          <p:spTgt spid="57"/>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12" presetClass="entr" presetSubtype="8" fill="hold" grpId="0" nodeType="afterEffect">
                                  <p:stCondLst>
                                    <p:cond delay="0"/>
                                  </p:stCondLst>
                                  <p:childTnLst>
                                    <p:set>
                                      <p:cBhvr>
                                        <p:cTn id="23" dur="1" fill="hold">
                                          <p:stCondLst>
                                            <p:cond delay="0"/>
                                          </p:stCondLst>
                                        </p:cTn>
                                        <p:tgtEl>
                                          <p:spTgt spid="55"/>
                                        </p:tgtEl>
                                        <p:attrNameLst>
                                          <p:attrName>style.visibility</p:attrName>
                                        </p:attrNameLst>
                                      </p:cBhvr>
                                      <p:to>
                                        <p:strVal val="visible"/>
                                      </p:to>
                                    </p:set>
                                    <p:anim calcmode="lin" valueType="num">
                                      <p:cBhvr additive="base">
                                        <p:cTn id="24" dur="500"/>
                                        <p:tgtEl>
                                          <p:spTgt spid="55"/>
                                        </p:tgtEl>
                                        <p:attrNameLst>
                                          <p:attrName>ppt_x</p:attrName>
                                        </p:attrNameLst>
                                      </p:cBhvr>
                                      <p:tavLst>
                                        <p:tav tm="0">
                                          <p:val>
                                            <p:strVal val="#ppt_x-#ppt_w*1.125000"/>
                                          </p:val>
                                        </p:tav>
                                        <p:tav tm="100000">
                                          <p:val>
                                            <p:strVal val="#ppt_x"/>
                                          </p:val>
                                        </p:tav>
                                      </p:tavLst>
                                    </p:anim>
                                    <p:animEffect transition="in" filter="wipe(right)">
                                      <p:cBhvr>
                                        <p:cTn id="25" dur="500"/>
                                        <p:tgtEl>
                                          <p:spTgt spid="55"/>
                                        </p:tgtEl>
                                      </p:cBhvr>
                                    </p:animEffect>
                                  </p:childTnLst>
                                </p:cTn>
                              </p:par>
                            </p:childTnLst>
                          </p:cTn>
                        </p:par>
                        <p:par>
                          <p:cTn id="26" fill="hold">
                            <p:stCondLst>
                              <p:cond delay="2000"/>
                            </p:stCondLst>
                            <p:childTnLst>
                              <p:par>
                                <p:cTn id="27" presetID="2" presetClass="entr" presetSubtype="4" fill="hold" grpId="0" nodeType="afterEffect">
                                  <p:stCondLst>
                                    <p:cond delay="0"/>
                                  </p:stCondLst>
                                  <p:childTnLst>
                                    <p:set>
                                      <p:cBhvr>
                                        <p:cTn id="28" dur="1" fill="hold">
                                          <p:stCondLst>
                                            <p:cond delay="0"/>
                                          </p:stCondLst>
                                        </p:cTn>
                                        <p:tgtEl>
                                          <p:spTgt spid="64"/>
                                        </p:tgtEl>
                                        <p:attrNameLst>
                                          <p:attrName>style.visibility</p:attrName>
                                        </p:attrNameLst>
                                      </p:cBhvr>
                                      <p:to>
                                        <p:strVal val="visible"/>
                                      </p:to>
                                    </p:set>
                                    <p:anim calcmode="lin" valueType="num">
                                      <p:cBhvr additive="base">
                                        <p:cTn id="29" dur="500" fill="hold"/>
                                        <p:tgtEl>
                                          <p:spTgt spid="64"/>
                                        </p:tgtEl>
                                        <p:attrNameLst>
                                          <p:attrName>ppt_x</p:attrName>
                                        </p:attrNameLst>
                                      </p:cBhvr>
                                      <p:tavLst>
                                        <p:tav tm="0">
                                          <p:val>
                                            <p:strVal val="#ppt_x"/>
                                          </p:val>
                                        </p:tav>
                                        <p:tav tm="100000">
                                          <p:val>
                                            <p:strVal val="#ppt_x"/>
                                          </p:val>
                                        </p:tav>
                                      </p:tavLst>
                                    </p:anim>
                                    <p:anim calcmode="lin" valueType="num">
                                      <p:cBhvr additive="base">
                                        <p:cTn id="30" dur="500" fill="hold"/>
                                        <p:tgtEl>
                                          <p:spTgt spid="64"/>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200"/>
                                  </p:stCondLst>
                                  <p:childTnLst>
                                    <p:set>
                                      <p:cBhvr>
                                        <p:cTn id="32" dur="1" fill="hold">
                                          <p:stCondLst>
                                            <p:cond delay="0"/>
                                          </p:stCondLst>
                                        </p:cTn>
                                        <p:tgtEl>
                                          <p:spTgt spid="65"/>
                                        </p:tgtEl>
                                        <p:attrNameLst>
                                          <p:attrName>style.visibility</p:attrName>
                                        </p:attrNameLst>
                                      </p:cBhvr>
                                      <p:to>
                                        <p:strVal val="visible"/>
                                      </p:to>
                                    </p:set>
                                    <p:anim calcmode="lin" valueType="num">
                                      <p:cBhvr additive="base">
                                        <p:cTn id="33" dur="500" fill="hold"/>
                                        <p:tgtEl>
                                          <p:spTgt spid="65"/>
                                        </p:tgtEl>
                                        <p:attrNameLst>
                                          <p:attrName>ppt_x</p:attrName>
                                        </p:attrNameLst>
                                      </p:cBhvr>
                                      <p:tavLst>
                                        <p:tav tm="0">
                                          <p:val>
                                            <p:strVal val="#ppt_x"/>
                                          </p:val>
                                        </p:tav>
                                        <p:tav tm="100000">
                                          <p:val>
                                            <p:strVal val="#ppt_x"/>
                                          </p:val>
                                        </p:tav>
                                      </p:tavLst>
                                    </p:anim>
                                    <p:anim calcmode="lin" valueType="num">
                                      <p:cBhvr additive="base">
                                        <p:cTn id="34" dur="500" fill="hold"/>
                                        <p:tgtEl>
                                          <p:spTgt spid="6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400"/>
                                  </p:stCondLst>
                                  <p:childTnLst>
                                    <p:set>
                                      <p:cBhvr>
                                        <p:cTn id="36" dur="1" fill="hold">
                                          <p:stCondLst>
                                            <p:cond delay="0"/>
                                          </p:stCondLst>
                                        </p:cTn>
                                        <p:tgtEl>
                                          <p:spTgt spid="66"/>
                                        </p:tgtEl>
                                        <p:attrNameLst>
                                          <p:attrName>style.visibility</p:attrName>
                                        </p:attrNameLst>
                                      </p:cBhvr>
                                      <p:to>
                                        <p:strVal val="visible"/>
                                      </p:to>
                                    </p:set>
                                    <p:anim calcmode="lin" valueType="num">
                                      <p:cBhvr additive="base">
                                        <p:cTn id="37" dur="500" fill="hold"/>
                                        <p:tgtEl>
                                          <p:spTgt spid="66"/>
                                        </p:tgtEl>
                                        <p:attrNameLst>
                                          <p:attrName>ppt_x</p:attrName>
                                        </p:attrNameLst>
                                      </p:cBhvr>
                                      <p:tavLst>
                                        <p:tav tm="0">
                                          <p:val>
                                            <p:strVal val="#ppt_x"/>
                                          </p:val>
                                        </p:tav>
                                        <p:tav tm="100000">
                                          <p:val>
                                            <p:strVal val="#ppt_x"/>
                                          </p:val>
                                        </p:tav>
                                      </p:tavLst>
                                    </p:anim>
                                    <p:anim calcmode="lin" valueType="num">
                                      <p:cBhvr additive="base">
                                        <p:cTn id="38" dur="500" fill="hold"/>
                                        <p:tgtEl>
                                          <p:spTgt spid="66"/>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200"/>
                                  </p:stCondLst>
                                  <p:childTnLst>
                                    <p:set>
                                      <p:cBhvr>
                                        <p:cTn id="40" dur="1" fill="hold">
                                          <p:stCondLst>
                                            <p:cond delay="0"/>
                                          </p:stCondLst>
                                        </p:cTn>
                                        <p:tgtEl>
                                          <p:spTgt spid="67"/>
                                        </p:tgtEl>
                                        <p:attrNameLst>
                                          <p:attrName>style.visibility</p:attrName>
                                        </p:attrNameLst>
                                      </p:cBhvr>
                                      <p:to>
                                        <p:strVal val="visible"/>
                                      </p:to>
                                    </p:set>
                                    <p:anim calcmode="lin" valueType="num">
                                      <p:cBhvr additive="base">
                                        <p:cTn id="41" dur="500" fill="hold"/>
                                        <p:tgtEl>
                                          <p:spTgt spid="67"/>
                                        </p:tgtEl>
                                        <p:attrNameLst>
                                          <p:attrName>ppt_x</p:attrName>
                                        </p:attrNameLst>
                                      </p:cBhvr>
                                      <p:tavLst>
                                        <p:tav tm="0">
                                          <p:val>
                                            <p:strVal val="#ppt_x"/>
                                          </p:val>
                                        </p:tav>
                                        <p:tav tm="100000">
                                          <p:val>
                                            <p:strVal val="#ppt_x"/>
                                          </p:val>
                                        </p:tav>
                                      </p:tavLst>
                                    </p:anim>
                                    <p:anim calcmode="lin" valueType="num">
                                      <p:cBhvr additive="base">
                                        <p:cTn id="42" dur="500" fill="hold"/>
                                        <p:tgtEl>
                                          <p:spTgt spid="67"/>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400"/>
                                  </p:stCondLst>
                                  <p:childTnLst>
                                    <p:set>
                                      <p:cBhvr>
                                        <p:cTn id="44" dur="1" fill="hold">
                                          <p:stCondLst>
                                            <p:cond delay="0"/>
                                          </p:stCondLst>
                                        </p:cTn>
                                        <p:tgtEl>
                                          <p:spTgt spid="68"/>
                                        </p:tgtEl>
                                        <p:attrNameLst>
                                          <p:attrName>style.visibility</p:attrName>
                                        </p:attrNameLst>
                                      </p:cBhvr>
                                      <p:to>
                                        <p:strVal val="visible"/>
                                      </p:to>
                                    </p:set>
                                    <p:anim calcmode="lin" valueType="num">
                                      <p:cBhvr additive="base">
                                        <p:cTn id="45" dur="500" fill="hold"/>
                                        <p:tgtEl>
                                          <p:spTgt spid="68"/>
                                        </p:tgtEl>
                                        <p:attrNameLst>
                                          <p:attrName>ppt_x</p:attrName>
                                        </p:attrNameLst>
                                      </p:cBhvr>
                                      <p:tavLst>
                                        <p:tav tm="0">
                                          <p:val>
                                            <p:strVal val="#ppt_x"/>
                                          </p:val>
                                        </p:tav>
                                        <p:tav tm="100000">
                                          <p:val>
                                            <p:strVal val="#ppt_x"/>
                                          </p:val>
                                        </p:tav>
                                      </p:tavLst>
                                    </p:anim>
                                    <p:anim calcmode="lin" valueType="num">
                                      <p:cBhvr additive="base">
                                        <p:cTn id="46" dur="500" fill="hold"/>
                                        <p:tgtEl>
                                          <p:spTgt spid="6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600"/>
                                  </p:stCondLst>
                                  <p:childTnLst>
                                    <p:set>
                                      <p:cBhvr>
                                        <p:cTn id="48" dur="1" fill="hold">
                                          <p:stCondLst>
                                            <p:cond delay="0"/>
                                          </p:stCondLst>
                                        </p:cTn>
                                        <p:tgtEl>
                                          <p:spTgt spid="69"/>
                                        </p:tgtEl>
                                        <p:attrNameLst>
                                          <p:attrName>style.visibility</p:attrName>
                                        </p:attrNameLst>
                                      </p:cBhvr>
                                      <p:to>
                                        <p:strVal val="visible"/>
                                      </p:to>
                                    </p:set>
                                    <p:anim calcmode="lin" valueType="num">
                                      <p:cBhvr additive="base">
                                        <p:cTn id="49" dur="500" fill="hold"/>
                                        <p:tgtEl>
                                          <p:spTgt spid="69"/>
                                        </p:tgtEl>
                                        <p:attrNameLst>
                                          <p:attrName>ppt_x</p:attrName>
                                        </p:attrNameLst>
                                      </p:cBhvr>
                                      <p:tavLst>
                                        <p:tav tm="0">
                                          <p:val>
                                            <p:strVal val="#ppt_x"/>
                                          </p:val>
                                        </p:tav>
                                        <p:tav tm="100000">
                                          <p:val>
                                            <p:strVal val="#ppt_x"/>
                                          </p:val>
                                        </p:tav>
                                      </p:tavLst>
                                    </p:anim>
                                    <p:anim calcmode="lin" valueType="num">
                                      <p:cBhvr additive="base">
                                        <p:cTn id="5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p:bldP spid="57" grpId="0"/>
      <p:bldP spid="64" grpId="0"/>
      <p:bldP spid="65" grpId="0"/>
      <p:bldP spid="66" grpId="0"/>
      <p:bldP spid="67" grpId="0"/>
      <p:bldP spid="68" grpId="0"/>
      <p:bldP spid="6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83" name="TextBox 4"/>
          <p:cNvSpPr txBox="1">
            <a:spLocks noChangeArrowheads="1"/>
          </p:cNvSpPr>
          <p:nvPr/>
        </p:nvSpPr>
        <p:spPr bwMode="auto">
          <a:xfrm>
            <a:off x="8297578" y="5563980"/>
            <a:ext cx="3034905"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defRPr/>
            </a:pPr>
            <a:r>
              <a:rPr lang="zh-CN" altLang="en-US" sz="1100" dirty="0">
                <a:solidFill>
                  <a:schemeClr val="tx1">
                    <a:lumMod val="50000"/>
                    <a:lumOff val="50000"/>
                  </a:schemeClr>
                </a:solidFill>
                <a:ea typeface="微软雅黑" panose="020B0503020204020204" pitchFamily="34" charset="-122"/>
              </a:rPr>
              <a:t>所有文字都可以随意更改成您的文字内容</a:t>
            </a:r>
            <a:endParaRPr lang="en-US" altLang="zh-CN" sz="1100" dirty="0">
              <a:solidFill>
                <a:schemeClr val="tx1">
                  <a:lumMod val="50000"/>
                  <a:lumOff val="50000"/>
                </a:schemeClr>
              </a:solidFill>
              <a:ea typeface="微软雅黑" panose="020B0503020204020204" pitchFamily="34" charset="-122"/>
            </a:endParaRPr>
          </a:p>
        </p:txBody>
      </p:sp>
      <p:sp>
        <p:nvSpPr>
          <p:cNvPr id="99381" name="TextBox 7"/>
          <p:cNvSpPr txBox="1">
            <a:spLocks noChangeArrowheads="1"/>
          </p:cNvSpPr>
          <p:nvPr/>
        </p:nvSpPr>
        <p:spPr bwMode="auto">
          <a:xfrm>
            <a:off x="565871" y="3696758"/>
            <a:ext cx="2996810"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defRPr/>
            </a:pPr>
            <a:r>
              <a:rPr lang="zh-CN" altLang="en-US" sz="1100" dirty="0">
                <a:solidFill>
                  <a:schemeClr val="tx1">
                    <a:lumMod val="50000"/>
                    <a:lumOff val="50000"/>
                  </a:schemeClr>
                </a:solidFill>
                <a:latin typeface="微软雅黑" panose="020B0503020204020204" pitchFamily="34" charset="-122"/>
                <a:ea typeface="微软雅黑" panose="020B0503020204020204" pitchFamily="34" charset="-122"/>
              </a:rPr>
              <a:t>所有文字都可以随意更改成您的文字内容</a:t>
            </a:r>
            <a:endParaRPr lang="en-US" altLang="zh-CN" sz="11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1" name="TextBox 10"/>
          <p:cNvSpPr txBox="1"/>
          <p:nvPr/>
        </p:nvSpPr>
        <p:spPr bwMode="auto">
          <a:xfrm>
            <a:off x="8297578" y="1932025"/>
            <a:ext cx="3034905" cy="169277"/>
          </a:xfrm>
          <a:prstGeom prst="rect">
            <a:avLst/>
          </a:prstGeom>
          <a:noFill/>
        </p:spPr>
        <p:txBody>
          <a:bodyPr lIns="0" tIns="0" rIns="0" bIns="0">
            <a:spAutoFit/>
          </a:bodyPr>
          <a:lstStyle/>
          <a:p>
            <a:pPr>
              <a:defRPr/>
            </a:pPr>
            <a:r>
              <a:rPr lang="zh-CN" altLang="en-US" sz="1100" dirty="0">
                <a:solidFill>
                  <a:schemeClr val="tx1">
                    <a:lumMod val="50000"/>
                    <a:lumOff val="50000"/>
                  </a:schemeClr>
                </a:solidFill>
                <a:ea typeface="微软雅黑" panose="020B0503020204020204" pitchFamily="34" charset="-122"/>
              </a:rPr>
              <a:t>所有文字都可以随意更改成您的文字内容</a:t>
            </a:r>
            <a:endParaRPr lang="en-US" altLang="zh-CN" sz="1100" dirty="0">
              <a:solidFill>
                <a:schemeClr val="tx1">
                  <a:lumMod val="50000"/>
                  <a:lumOff val="50000"/>
                </a:schemeClr>
              </a:solidFill>
              <a:ea typeface="微软雅黑" panose="020B0503020204020204" pitchFamily="34" charset="-122"/>
            </a:endParaRPr>
          </a:p>
        </p:txBody>
      </p:sp>
      <p:sp>
        <p:nvSpPr>
          <p:cNvPr id="99377" name="TextBox 13"/>
          <p:cNvSpPr txBox="1">
            <a:spLocks noChangeArrowheads="1"/>
          </p:cNvSpPr>
          <p:nvPr/>
        </p:nvSpPr>
        <p:spPr bwMode="auto">
          <a:xfrm>
            <a:off x="783331" y="1901277"/>
            <a:ext cx="3034248"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defRPr/>
            </a:pPr>
            <a:r>
              <a:rPr lang="zh-CN" altLang="en-US" sz="1100" dirty="0">
                <a:solidFill>
                  <a:schemeClr val="tx1">
                    <a:lumMod val="50000"/>
                    <a:lumOff val="50000"/>
                  </a:schemeClr>
                </a:solidFill>
                <a:latin typeface="微软雅黑" panose="020B0503020204020204" pitchFamily="34" charset="-122"/>
                <a:ea typeface="微软雅黑" panose="020B0503020204020204" pitchFamily="34" charset="-122"/>
              </a:rPr>
              <a:t>所有文字都可以随意更改成您的文字内容</a:t>
            </a:r>
            <a:endParaRPr lang="en-US" altLang="zh-CN" sz="11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99375" name="TextBox 16"/>
          <p:cNvSpPr txBox="1">
            <a:spLocks noChangeArrowheads="1"/>
          </p:cNvSpPr>
          <p:nvPr/>
        </p:nvSpPr>
        <p:spPr bwMode="auto">
          <a:xfrm>
            <a:off x="733791" y="5461422"/>
            <a:ext cx="3034558"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defRPr/>
            </a:pPr>
            <a:r>
              <a:rPr lang="zh-CN" altLang="en-US" sz="1100" dirty="0">
                <a:solidFill>
                  <a:schemeClr val="tx1">
                    <a:lumMod val="50000"/>
                    <a:lumOff val="50000"/>
                  </a:schemeClr>
                </a:solidFill>
                <a:latin typeface="微软雅黑" panose="020B0503020204020204" pitchFamily="34" charset="-122"/>
                <a:ea typeface="微软雅黑" panose="020B0503020204020204" pitchFamily="34" charset="-122"/>
              </a:rPr>
              <a:t>所有文字都可以随意更改成您的文字内容</a:t>
            </a:r>
            <a:endParaRPr lang="en-US" altLang="zh-CN" sz="11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99373" name="TextBox 19"/>
          <p:cNvSpPr txBox="1">
            <a:spLocks noChangeArrowheads="1"/>
          </p:cNvSpPr>
          <p:nvPr/>
        </p:nvSpPr>
        <p:spPr bwMode="auto">
          <a:xfrm>
            <a:off x="8551546" y="3696758"/>
            <a:ext cx="2780937"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defRPr/>
            </a:pPr>
            <a:r>
              <a:rPr lang="zh-CN" altLang="en-US" sz="1100" dirty="0">
                <a:solidFill>
                  <a:schemeClr val="tx1">
                    <a:lumMod val="50000"/>
                    <a:lumOff val="50000"/>
                  </a:schemeClr>
                </a:solidFill>
                <a:ea typeface="微软雅黑" panose="020B0503020204020204" pitchFamily="34" charset="-122"/>
              </a:rPr>
              <a:t>所有文字都可以随意更改成您的文字内容</a:t>
            </a:r>
            <a:endParaRPr lang="en-US" altLang="zh-CN" sz="1100" dirty="0">
              <a:solidFill>
                <a:schemeClr val="tx1">
                  <a:lumMod val="50000"/>
                  <a:lumOff val="50000"/>
                </a:schemeClr>
              </a:solidFill>
              <a:ea typeface="微软雅黑" panose="020B0503020204020204" pitchFamily="34" charset="-122"/>
            </a:endParaRPr>
          </a:p>
        </p:txBody>
      </p:sp>
      <p:grpSp>
        <p:nvGrpSpPr>
          <p:cNvPr id="22" name="Group 21"/>
          <p:cNvGrpSpPr/>
          <p:nvPr/>
        </p:nvGrpSpPr>
        <p:grpSpPr bwMode="auto">
          <a:xfrm>
            <a:off x="3869029" y="2014580"/>
            <a:ext cx="1239676" cy="287338"/>
            <a:chOff x="2901397" y="1460250"/>
            <a:chExt cx="930338" cy="220268"/>
          </a:xfrm>
        </p:grpSpPr>
        <p:cxnSp>
          <p:nvCxnSpPr>
            <p:cNvPr id="23" name="Straight Connector 22"/>
            <p:cNvCxnSpPr/>
            <p:nvPr/>
          </p:nvCxnSpPr>
          <p:spPr>
            <a:xfrm flipH="1" flipV="1">
              <a:off x="3592301" y="1460250"/>
              <a:ext cx="239434" cy="220268"/>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2901397" y="1463901"/>
              <a:ext cx="690904"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bwMode="auto">
          <a:xfrm flipH="1">
            <a:off x="6995997" y="2008230"/>
            <a:ext cx="1239676" cy="293688"/>
            <a:chOff x="2901397" y="1460250"/>
            <a:chExt cx="930338" cy="220268"/>
          </a:xfrm>
        </p:grpSpPr>
        <p:cxnSp>
          <p:nvCxnSpPr>
            <p:cNvPr id="26" name="Straight Connector 25"/>
            <p:cNvCxnSpPr/>
            <p:nvPr/>
          </p:nvCxnSpPr>
          <p:spPr>
            <a:xfrm flipH="1" flipV="1">
              <a:off x="3592301" y="1460250"/>
              <a:ext cx="239434" cy="220268"/>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2901397" y="1463822"/>
              <a:ext cx="690904"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bwMode="auto">
          <a:xfrm flipV="1">
            <a:off x="3869029" y="5302295"/>
            <a:ext cx="1239676" cy="288925"/>
            <a:chOff x="2901397" y="1460250"/>
            <a:chExt cx="930338" cy="220268"/>
          </a:xfrm>
        </p:grpSpPr>
        <p:cxnSp>
          <p:nvCxnSpPr>
            <p:cNvPr id="29" name="Straight Connector 28"/>
            <p:cNvCxnSpPr/>
            <p:nvPr/>
          </p:nvCxnSpPr>
          <p:spPr>
            <a:xfrm flipH="1" flipV="1">
              <a:off x="3592301" y="1460250"/>
              <a:ext cx="239434" cy="220268"/>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2901397" y="1463881"/>
              <a:ext cx="690904"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bwMode="auto">
          <a:xfrm flipH="1" flipV="1">
            <a:off x="6995997" y="5348330"/>
            <a:ext cx="1239676" cy="293688"/>
            <a:chOff x="2901397" y="1460250"/>
            <a:chExt cx="930338" cy="220268"/>
          </a:xfrm>
        </p:grpSpPr>
        <p:cxnSp>
          <p:nvCxnSpPr>
            <p:cNvPr id="32" name="Straight Connector 31"/>
            <p:cNvCxnSpPr/>
            <p:nvPr/>
          </p:nvCxnSpPr>
          <p:spPr>
            <a:xfrm flipH="1" flipV="1">
              <a:off x="3592301" y="1460250"/>
              <a:ext cx="239434" cy="220268"/>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2901397" y="1463822"/>
              <a:ext cx="690904"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cxnSp>
        <p:nvCxnSpPr>
          <p:cNvPr id="34" name="Straight Connector 33"/>
          <p:cNvCxnSpPr/>
          <p:nvPr/>
        </p:nvCxnSpPr>
        <p:spPr>
          <a:xfrm flipH="1">
            <a:off x="3691254" y="3798931"/>
            <a:ext cx="61269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7888058" y="3798931"/>
            <a:ext cx="61269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9" name="组合 8"/>
          <p:cNvGrpSpPr/>
          <p:nvPr/>
        </p:nvGrpSpPr>
        <p:grpSpPr>
          <a:xfrm>
            <a:off x="4291250" y="2008232"/>
            <a:ext cx="3609505" cy="3621087"/>
            <a:chOff x="3218260" y="1460157"/>
            <a:chExt cx="2707481" cy="2716654"/>
          </a:xfrm>
        </p:grpSpPr>
        <p:grpSp>
          <p:nvGrpSpPr>
            <p:cNvPr id="48" name="Group 47"/>
            <p:cNvGrpSpPr/>
            <p:nvPr/>
          </p:nvGrpSpPr>
          <p:grpSpPr bwMode="auto">
            <a:xfrm>
              <a:off x="5105400" y="2162843"/>
              <a:ext cx="820341" cy="1286272"/>
              <a:chOff x="6807477" y="2883411"/>
              <a:chExt cx="1092888" cy="1713903"/>
            </a:xfrm>
          </p:grpSpPr>
          <p:sp>
            <p:nvSpPr>
              <p:cNvPr id="49" name="Freeform 58"/>
              <p:cNvSpPr/>
              <p:nvPr/>
            </p:nvSpPr>
            <p:spPr bwMode="auto">
              <a:xfrm>
                <a:off x="6807477" y="2883411"/>
                <a:ext cx="1092888" cy="1713903"/>
              </a:xfrm>
              <a:custGeom>
                <a:avLst/>
                <a:gdLst/>
                <a:ahLst/>
                <a:cxnLst>
                  <a:cxn ang="0">
                    <a:pos x="38" y="293"/>
                  </a:cxn>
                  <a:cxn ang="0">
                    <a:pos x="171" y="365"/>
                  </a:cxn>
                  <a:cxn ang="0">
                    <a:pos x="219" y="308"/>
                  </a:cxn>
                  <a:cxn ang="0">
                    <a:pos x="208" y="47"/>
                  </a:cxn>
                  <a:cxn ang="0">
                    <a:pos x="163" y="17"/>
                  </a:cxn>
                  <a:cxn ang="0">
                    <a:pos x="26" y="101"/>
                  </a:cxn>
                  <a:cxn ang="0">
                    <a:pos x="8" y="135"/>
                  </a:cxn>
                  <a:cxn ang="0">
                    <a:pos x="14" y="233"/>
                  </a:cxn>
                  <a:cxn ang="0">
                    <a:pos x="38" y="293"/>
                  </a:cxn>
                </a:cxnLst>
                <a:rect l="0" t="0" r="r" b="b"/>
                <a:pathLst>
                  <a:path w="246" h="385">
                    <a:moveTo>
                      <a:pt x="38" y="293"/>
                    </a:moveTo>
                    <a:cubicBezTo>
                      <a:pt x="60" y="304"/>
                      <a:pt x="171" y="365"/>
                      <a:pt x="171" y="365"/>
                    </a:cubicBezTo>
                    <a:cubicBezTo>
                      <a:pt x="171" y="365"/>
                      <a:pt x="197" y="385"/>
                      <a:pt x="219" y="308"/>
                    </a:cubicBezTo>
                    <a:cubicBezTo>
                      <a:pt x="241" y="232"/>
                      <a:pt x="246" y="140"/>
                      <a:pt x="208" y="47"/>
                    </a:cubicBezTo>
                    <a:cubicBezTo>
                      <a:pt x="203" y="35"/>
                      <a:pt x="191" y="0"/>
                      <a:pt x="163" y="17"/>
                    </a:cubicBezTo>
                    <a:cubicBezTo>
                      <a:pt x="136" y="35"/>
                      <a:pt x="26" y="101"/>
                      <a:pt x="26" y="101"/>
                    </a:cubicBezTo>
                    <a:cubicBezTo>
                      <a:pt x="26" y="101"/>
                      <a:pt x="4" y="114"/>
                      <a:pt x="8" y="135"/>
                    </a:cubicBezTo>
                    <a:cubicBezTo>
                      <a:pt x="13" y="156"/>
                      <a:pt x="21" y="200"/>
                      <a:pt x="14" y="233"/>
                    </a:cubicBezTo>
                    <a:cubicBezTo>
                      <a:pt x="8" y="263"/>
                      <a:pt x="0" y="273"/>
                      <a:pt x="38" y="293"/>
                    </a:cubicBezTo>
                  </a:path>
                </a:pathLst>
              </a:custGeom>
              <a:solidFill>
                <a:schemeClr val="accent4"/>
              </a:solidFill>
              <a:ln w="9525">
                <a:noFill/>
                <a:round/>
              </a:ln>
            </p:spPr>
            <p:txBody>
              <a:bodyPr lIns="121920" tIns="60960" rIns="121920" bIns="60960"/>
              <a:lstStyle/>
              <a:p>
                <a:pPr>
                  <a:defRPr/>
                </a:pPr>
                <a:endParaRPr lang="en-US" sz="2400">
                  <a:solidFill>
                    <a:schemeClr val="tx1">
                      <a:lumMod val="50000"/>
                      <a:lumOff val="50000"/>
                    </a:schemeClr>
                  </a:solidFill>
                </a:endParaRPr>
              </a:p>
            </p:txBody>
          </p:sp>
          <p:sp>
            <p:nvSpPr>
              <p:cNvPr id="50" name="Freeform 141"/>
              <p:cNvSpPr>
                <a:spLocks noChangeArrowheads="1"/>
              </p:cNvSpPr>
              <p:nvPr/>
            </p:nvSpPr>
            <p:spPr bwMode="auto">
              <a:xfrm>
                <a:off x="7126463" y="3502271"/>
                <a:ext cx="517182" cy="526333"/>
              </a:xfrm>
              <a:custGeom>
                <a:avLst/>
                <a:gdLst>
                  <a:gd name="T0" fmla="*/ 498451 w 497"/>
                  <a:gd name="T1" fmla="*/ 193474 h 506"/>
                  <a:gd name="T2" fmla="*/ 498451 w 497"/>
                  <a:gd name="T3" fmla="*/ 193474 h 506"/>
                  <a:gd name="T4" fmla="*/ 303857 w 497"/>
                  <a:gd name="T5" fmla="*/ 147706 h 506"/>
                  <a:gd name="T6" fmla="*/ 276802 w 497"/>
                  <a:gd name="T7" fmla="*/ 17683 h 506"/>
                  <a:gd name="T8" fmla="*/ 248705 w 497"/>
                  <a:gd name="T9" fmla="*/ 0 h 506"/>
                  <a:gd name="T10" fmla="*/ 17690 w 497"/>
                  <a:gd name="T11" fmla="*/ 63451 h 506"/>
                  <a:gd name="T12" fmla="*/ 0 w 497"/>
                  <a:gd name="T13" fmla="*/ 92576 h 506"/>
                  <a:gd name="T14" fmla="*/ 82208 w 497"/>
                  <a:gd name="T15" fmla="*/ 405672 h 506"/>
                  <a:gd name="T16" fmla="*/ 111345 w 497"/>
                  <a:gd name="T17" fmla="*/ 415033 h 506"/>
                  <a:gd name="T18" fmla="*/ 202918 w 497"/>
                  <a:gd name="T19" fmla="*/ 386948 h 506"/>
                  <a:gd name="T20" fmla="*/ 184188 w 497"/>
                  <a:gd name="T21" fmla="*/ 442078 h 506"/>
                  <a:gd name="T22" fmla="*/ 202918 w 497"/>
                  <a:gd name="T23" fmla="*/ 460801 h 506"/>
                  <a:gd name="T24" fmla="*/ 414162 w 497"/>
                  <a:gd name="T25" fmla="*/ 515931 h 506"/>
                  <a:gd name="T26" fmla="*/ 443299 w 497"/>
                  <a:gd name="T27" fmla="*/ 506570 h 506"/>
                  <a:gd name="T28" fmla="*/ 516141 w 497"/>
                  <a:gd name="T29" fmla="*/ 220519 h 506"/>
                  <a:gd name="T30" fmla="*/ 498451 w 497"/>
                  <a:gd name="T31" fmla="*/ 193474 h 506"/>
                  <a:gd name="T32" fmla="*/ 36421 w 497"/>
                  <a:gd name="T33" fmla="*/ 100898 h 506"/>
                  <a:gd name="T34" fmla="*/ 36421 w 497"/>
                  <a:gd name="T35" fmla="*/ 100898 h 506"/>
                  <a:gd name="T36" fmla="*/ 239340 w 497"/>
                  <a:gd name="T37" fmla="*/ 45768 h 506"/>
                  <a:gd name="T38" fmla="*/ 322588 w 497"/>
                  <a:gd name="T39" fmla="*/ 322457 h 506"/>
                  <a:gd name="T40" fmla="*/ 120710 w 497"/>
                  <a:gd name="T41" fmla="*/ 378627 h 506"/>
                  <a:gd name="T42" fmla="*/ 36421 w 497"/>
                  <a:gd name="T43" fmla="*/ 100898 h 506"/>
                  <a:gd name="T44" fmla="*/ 404796 w 497"/>
                  <a:gd name="T45" fmla="*/ 479525 h 506"/>
                  <a:gd name="T46" fmla="*/ 404796 w 497"/>
                  <a:gd name="T47" fmla="*/ 479525 h 506"/>
                  <a:gd name="T48" fmla="*/ 231015 w 497"/>
                  <a:gd name="T49" fmla="*/ 433757 h 506"/>
                  <a:gd name="T50" fmla="*/ 239340 w 497"/>
                  <a:gd name="T51" fmla="*/ 378627 h 506"/>
                  <a:gd name="T52" fmla="*/ 341319 w 497"/>
                  <a:gd name="T53" fmla="*/ 349502 h 506"/>
                  <a:gd name="T54" fmla="*/ 359010 w 497"/>
                  <a:gd name="T55" fmla="*/ 331819 h 506"/>
                  <a:gd name="T56" fmla="*/ 322588 w 497"/>
                  <a:gd name="T57" fmla="*/ 184113 h 506"/>
                  <a:gd name="T58" fmla="*/ 469314 w 497"/>
                  <a:gd name="T59" fmla="*/ 220519 h 506"/>
                  <a:gd name="T60" fmla="*/ 404796 w 497"/>
                  <a:gd name="T61" fmla="*/ 479525 h 5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506">
                    <a:moveTo>
                      <a:pt x="479" y="186"/>
                    </a:moveTo>
                    <a:lnTo>
                      <a:pt x="479" y="186"/>
                    </a:lnTo>
                    <a:cubicBezTo>
                      <a:pt x="292" y="142"/>
                      <a:pt x="292" y="142"/>
                      <a:pt x="292" y="142"/>
                    </a:cubicBezTo>
                    <a:cubicBezTo>
                      <a:pt x="266" y="17"/>
                      <a:pt x="266" y="17"/>
                      <a:pt x="266" y="17"/>
                    </a:cubicBezTo>
                    <a:cubicBezTo>
                      <a:pt x="257" y="8"/>
                      <a:pt x="248" y="0"/>
                      <a:pt x="239" y="0"/>
                    </a:cubicBezTo>
                    <a:cubicBezTo>
                      <a:pt x="17" y="61"/>
                      <a:pt x="17" y="61"/>
                      <a:pt x="17" y="61"/>
                    </a:cubicBezTo>
                    <a:cubicBezTo>
                      <a:pt x="0" y="71"/>
                      <a:pt x="0" y="80"/>
                      <a:pt x="0" y="89"/>
                    </a:cubicBezTo>
                    <a:cubicBezTo>
                      <a:pt x="79" y="390"/>
                      <a:pt x="79" y="390"/>
                      <a:pt x="79" y="390"/>
                    </a:cubicBezTo>
                    <a:cubicBezTo>
                      <a:pt x="79" y="399"/>
                      <a:pt x="97" y="399"/>
                      <a:pt x="107" y="399"/>
                    </a:cubicBezTo>
                    <a:cubicBezTo>
                      <a:pt x="195" y="372"/>
                      <a:pt x="195" y="372"/>
                      <a:pt x="195" y="372"/>
                    </a:cubicBezTo>
                    <a:cubicBezTo>
                      <a:pt x="177" y="425"/>
                      <a:pt x="177" y="425"/>
                      <a:pt x="177" y="425"/>
                    </a:cubicBezTo>
                    <a:cubicBezTo>
                      <a:pt x="177" y="434"/>
                      <a:pt x="186" y="443"/>
                      <a:pt x="195" y="443"/>
                    </a:cubicBezTo>
                    <a:cubicBezTo>
                      <a:pt x="398" y="496"/>
                      <a:pt x="398" y="496"/>
                      <a:pt x="398" y="496"/>
                    </a:cubicBezTo>
                    <a:cubicBezTo>
                      <a:pt x="407" y="505"/>
                      <a:pt x="416" y="496"/>
                      <a:pt x="426" y="487"/>
                    </a:cubicBezTo>
                    <a:cubicBezTo>
                      <a:pt x="496" y="212"/>
                      <a:pt x="496" y="212"/>
                      <a:pt x="496" y="212"/>
                    </a:cubicBezTo>
                    <a:cubicBezTo>
                      <a:pt x="496" y="204"/>
                      <a:pt x="488" y="186"/>
                      <a:pt x="479" y="186"/>
                    </a:cubicBezTo>
                    <a:close/>
                    <a:moveTo>
                      <a:pt x="35" y="97"/>
                    </a:moveTo>
                    <a:lnTo>
                      <a:pt x="35" y="97"/>
                    </a:lnTo>
                    <a:cubicBezTo>
                      <a:pt x="230" y="44"/>
                      <a:pt x="230" y="44"/>
                      <a:pt x="230" y="44"/>
                    </a:cubicBezTo>
                    <a:cubicBezTo>
                      <a:pt x="310" y="310"/>
                      <a:pt x="310" y="310"/>
                      <a:pt x="310" y="310"/>
                    </a:cubicBezTo>
                    <a:cubicBezTo>
                      <a:pt x="116" y="364"/>
                      <a:pt x="116" y="364"/>
                      <a:pt x="116" y="364"/>
                    </a:cubicBezTo>
                    <a:lnTo>
                      <a:pt x="35" y="97"/>
                    </a:lnTo>
                    <a:close/>
                    <a:moveTo>
                      <a:pt x="389" y="461"/>
                    </a:moveTo>
                    <a:lnTo>
                      <a:pt x="389" y="461"/>
                    </a:lnTo>
                    <a:cubicBezTo>
                      <a:pt x="222" y="417"/>
                      <a:pt x="222" y="417"/>
                      <a:pt x="222" y="417"/>
                    </a:cubicBezTo>
                    <a:cubicBezTo>
                      <a:pt x="230" y="364"/>
                      <a:pt x="230" y="364"/>
                      <a:pt x="230" y="364"/>
                    </a:cubicBezTo>
                    <a:cubicBezTo>
                      <a:pt x="328" y="336"/>
                      <a:pt x="328" y="336"/>
                      <a:pt x="328" y="336"/>
                    </a:cubicBezTo>
                    <a:cubicBezTo>
                      <a:pt x="336" y="336"/>
                      <a:pt x="345" y="327"/>
                      <a:pt x="345" y="319"/>
                    </a:cubicBezTo>
                    <a:cubicBezTo>
                      <a:pt x="310" y="177"/>
                      <a:pt x="310" y="177"/>
                      <a:pt x="310" y="177"/>
                    </a:cubicBezTo>
                    <a:cubicBezTo>
                      <a:pt x="451" y="212"/>
                      <a:pt x="451" y="212"/>
                      <a:pt x="451" y="212"/>
                    </a:cubicBezTo>
                    <a:lnTo>
                      <a:pt x="389" y="461"/>
                    </a:lnTo>
                    <a:close/>
                  </a:path>
                </a:pathLst>
              </a:custGeom>
              <a:solidFill>
                <a:schemeClr val="bg1"/>
              </a:solidFill>
              <a:ln>
                <a:noFill/>
              </a:ln>
              <a:effectLst/>
              <a:extLst>
                <a:ext uri="{91240B29-F687-4F45-9708-019B960494DF}">
                  <a14:hiddenLine xmlns:a14="http://schemas.microsoft.com/office/drawing/2010/main" xmlns="" w="9525">
                    <a:solidFill>
                      <a:srgbClr val="808080"/>
                    </a:solidFill>
                    <a:bevel/>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anchor="ctr"/>
              <a:lstStyle/>
              <a:p>
                <a:endParaRPr lang="zh-CN" altLang="en-US">
                  <a:solidFill>
                    <a:schemeClr val="tx1">
                      <a:lumMod val="50000"/>
                      <a:lumOff val="50000"/>
                    </a:schemeClr>
                  </a:solidFill>
                </a:endParaRPr>
              </a:p>
            </p:txBody>
          </p:sp>
        </p:grpSp>
        <p:grpSp>
          <p:nvGrpSpPr>
            <p:cNvPr id="8" name="组合 7"/>
            <p:cNvGrpSpPr/>
            <p:nvPr/>
          </p:nvGrpSpPr>
          <p:grpSpPr>
            <a:xfrm>
              <a:off x="3218260" y="1460157"/>
              <a:ext cx="2514600" cy="2716654"/>
              <a:chOff x="3218260" y="1460157"/>
              <a:chExt cx="2514600" cy="2716654"/>
            </a:xfrm>
          </p:grpSpPr>
          <p:grpSp>
            <p:nvGrpSpPr>
              <p:cNvPr id="39" name="Group 38"/>
              <p:cNvGrpSpPr/>
              <p:nvPr/>
            </p:nvGrpSpPr>
            <p:grpSpPr bwMode="auto">
              <a:xfrm>
                <a:off x="3218260" y="2165225"/>
                <a:ext cx="820340" cy="1287463"/>
                <a:chOff x="4291635" y="2885856"/>
                <a:chExt cx="1092888" cy="1716347"/>
              </a:xfrm>
            </p:grpSpPr>
            <p:sp>
              <p:nvSpPr>
                <p:cNvPr id="99361" name="Freeform 62"/>
                <p:cNvSpPr/>
                <p:nvPr/>
              </p:nvSpPr>
              <p:spPr bwMode="auto">
                <a:xfrm>
                  <a:off x="4291635" y="2885856"/>
                  <a:ext cx="1092888" cy="1716347"/>
                </a:xfrm>
                <a:custGeom>
                  <a:avLst/>
                  <a:gdLst>
                    <a:gd name="T0" fmla="*/ 209 w 246"/>
                    <a:gd name="T1" fmla="*/ 93 h 385"/>
                    <a:gd name="T2" fmla="*/ 75 w 246"/>
                    <a:gd name="T3" fmla="*/ 20 h 385"/>
                    <a:gd name="T4" fmla="*/ 27 w 246"/>
                    <a:gd name="T5" fmla="*/ 77 h 385"/>
                    <a:gd name="T6" fmla="*/ 38 w 246"/>
                    <a:gd name="T7" fmla="*/ 338 h 385"/>
                    <a:gd name="T8" fmla="*/ 83 w 246"/>
                    <a:gd name="T9" fmla="*/ 368 h 385"/>
                    <a:gd name="T10" fmla="*/ 221 w 246"/>
                    <a:gd name="T11" fmla="*/ 284 h 385"/>
                    <a:gd name="T12" fmla="*/ 238 w 246"/>
                    <a:gd name="T13" fmla="*/ 250 h 385"/>
                    <a:gd name="T14" fmla="*/ 232 w 246"/>
                    <a:gd name="T15" fmla="*/ 152 h 385"/>
                    <a:gd name="T16" fmla="*/ 209 w 246"/>
                    <a:gd name="T17" fmla="*/ 93 h 3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6" h="385">
                      <a:moveTo>
                        <a:pt x="209" y="93"/>
                      </a:moveTo>
                      <a:cubicBezTo>
                        <a:pt x="187" y="81"/>
                        <a:pt x="75" y="20"/>
                        <a:pt x="75" y="20"/>
                      </a:cubicBezTo>
                      <a:cubicBezTo>
                        <a:pt x="75" y="20"/>
                        <a:pt x="49" y="0"/>
                        <a:pt x="27" y="77"/>
                      </a:cubicBezTo>
                      <a:cubicBezTo>
                        <a:pt x="6" y="153"/>
                        <a:pt x="0" y="245"/>
                        <a:pt x="38" y="338"/>
                      </a:cubicBezTo>
                      <a:cubicBezTo>
                        <a:pt x="43" y="350"/>
                        <a:pt x="56" y="385"/>
                        <a:pt x="83" y="368"/>
                      </a:cubicBezTo>
                      <a:cubicBezTo>
                        <a:pt x="110" y="351"/>
                        <a:pt x="221" y="284"/>
                        <a:pt x="221" y="284"/>
                      </a:cubicBezTo>
                      <a:cubicBezTo>
                        <a:pt x="221" y="284"/>
                        <a:pt x="242" y="271"/>
                        <a:pt x="238" y="250"/>
                      </a:cubicBezTo>
                      <a:cubicBezTo>
                        <a:pt x="234" y="229"/>
                        <a:pt x="226" y="186"/>
                        <a:pt x="232" y="152"/>
                      </a:cubicBezTo>
                      <a:cubicBezTo>
                        <a:pt x="238" y="122"/>
                        <a:pt x="246" y="112"/>
                        <a:pt x="209" y="93"/>
                      </a:cubicBezTo>
                    </a:path>
                  </a:pathLst>
                </a:custGeom>
                <a:solidFill>
                  <a:schemeClr val="accent1"/>
                </a:solidFill>
                <a:ln>
                  <a:noFill/>
                </a:ln>
                <a:extLst>
                  <a:ext uri="{91240B29-F687-4F45-9708-019B960494DF}">
                    <a14:hiddenLine xmlns:a14="http://schemas.microsoft.com/office/drawing/2010/main" xmlns="" w="9525">
                      <a:solidFill>
                        <a:srgbClr val="000000"/>
                      </a:solidFill>
                      <a:round/>
                    </a14:hiddenLine>
                  </a:ext>
                </a:extLst>
              </p:spPr>
              <p:txBody>
                <a:bodyPr lIns="121920" tIns="60960" rIns="121920" bIns="60960"/>
                <a:lstStyle/>
                <a:p>
                  <a:endParaRPr lang="zh-CN" altLang="en-US">
                    <a:solidFill>
                      <a:schemeClr val="tx1">
                        <a:lumMod val="50000"/>
                        <a:lumOff val="50000"/>
                      </a:schemeClr>
                    </a:solidFill>
                  </a:endParaRPr>
                </a:p>
              </p:txBody>
            </p:sp>
            <p:sp>
              <p:nvSpPr>
                <p:cNvPr id="41" name="Freeform 124"/>
                <p:cNvSpPr>
                  <a:spLocks noChangeArrowheads="1"/>
                </p:cNvSpPr>
                <p:nvPr/>
              </p:nvSpPr>
              <p:spPr bwMode="auto">
                <a:xfrm>
                  <a:off x="4627776" y="3615446"/>
                  <a:ext cx="377650" cy="364739"/>
                </a:xfrm>
                <a:custGeom>
                  <a:avLst/>
                  <a:gdLst>
                    <a:gd name="T0" fmla="*/ 57931 w 515"/>
                    <a:gd name="T1" fmla="*/ 246821 h 498"/>
                    <a:gd name="T2" fmla="*/ 57931 w 515"/>
                    <a:gd name="T3" fmla="*/ 246821 h 498"/>
                    <a:gd name="T4" fmla="*/ 13199 w 515"/>
                    <a:gd name="T5" fmla="*/ 344232 h 498"/>
                    <a:gd name="T6" fmla="*/ 123928 w 515"/>
                    <a:gd name="T7" fmla="*/ 317865 h 498"/>
                    <a:gd name="T8" fmla="*/ 117328 w 515"/>
                    <a:gd name="T9" fmla="*/ 253413 h 498"/>
                    <a:gd name="T10" fmla="*/ 57931 w 515"/>
                    <a:gd name="T11" fmla="*/ 246821 h 498"/>
                    <a:gd name="T12" fmla="*/ 363717 w 515"/>
                    <a:gd name="T13" fmla="*/ 13183 h 498"/>
                    <a:gd name="T14" fmla="*/ 363717 w 515"/>
                    <a:gd name="T15" fmla="*/ 13183 h 498"/>
                    <a:gd name="T16" fmla="*/ 142994 w 515"/>
                    <a:gd name="T17" fmla="*/ 169186 h 498"/>
                    <a:gd name="T18" fmla="*/ 103395 w 515"/>
                    <a:gd name="T19" fmla="*/ 214595 h 498"/>
                    <a:gd name="T20" fmla="*/ 109995 w 515"/>
                    <a:gd name="T21" fmla="*/ 220455 h 498"/>
                    <a:gd name="T22" fmla="*/ 136394 w 515"/>
                    <a:gd name="T23" fmla="*/ 240230 h 498"/>
                    <a:gd name="T24" fmla="*/ 149593 w 515"/>
                    <a:gd name="T25" fmla="*/ 259272 h 498"/>
                    <a:gd name="T26" fmla="*/ 156193 w 515"/>
                    <a:gd name="T27" fmla="*/ 265864 h 498"/>
                    <a:gd name="T28" fmla="*/ 201658 w 515"/>
                    <a:gd name="T29" fmla="*/ 227046 h 498"/>
                    <a:gd name="T30" fmla="*/ 363717 w 515"/>
                    <a:gd name="T31" fmla="*/ 13183 h 4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15" h="498">
                      <a:moveTo>
                        <a:pt x="79" y="337"/>
                      </a:moveTo>
                      <a:lnTo>
                        <a:pt x="79" y="337"/>
                      </a:lnTo>
                      <a:cubicBezTo>
                        <a:pt x="44" y="372"/>
                        <a:pt x="71" y="416"/>
                        <a:pt x="18" y="470"/>
                      </a:cubicBezTo>
                      <a:cubicBezTo>
                        <a:pt x="0" y="497"/>
                        <a:pt x="116" y="487"/>
                        <a:pt x="169" y="434"/>
                      </a:cubicBezTo>
                      <a:cubicBezTo>
                        <a:pt x="195" y="407"/>
                        <a:pt x="186" y="372"/>
                        <a:pt x="160" y="346"/>
                      </a:cubicBezTo>
                      <a:cubicBezTo>
                        <a:pt x="132" y="319"/>
                        <a:pt x="97" y="319"/>
                        <a:pt x="79" y="337"/>
                      </a:cubicBezTo>
                      <a:close/>
                      <a:moveTo>
                        <a:pt x="496" y="18"/>
                      </a:moveTo>
                      <a:lnTo>
                        <a:pt x="496" y="18"/>
                      </a:lnTo>
                      <a:cubicBezTo>
                        <a:pt x="479" y="0"/>
                        <a:pt x="257" y="168"/>
                        <a:pt x="195" y="231"/>
                      </a:cubicBezTo>
                      <a:cubicBezTo>
                        <a:pt x="169" y="266"/>
                        <a:pt x="160" y="284"/>
                        <a:pt x="141" y="293"/>
                      </a:cubicBezTo>
                      <a:cubicBezTo>
                        <a:pt x="141" y="301"/>
                        <a:pt x="150" y="301"/>
                        <a:pt x="150" y="301"/>
                      </a:cubicBezTo>
                      <a:cubicBezTo>
                        <a:pt x="160" y="310"/>
                        <a:pt x="169" y="310"/>
                        <a:pt x="186" y="328"/>
                      </a:cubicBezTo>
                      <a:cubicBezTo>
                        <a:pt x="195" y="337"/>
                        <a:pt x="204" y="346"/>
                        <a:pt x="204" y="354"/>
                      </a:cubicBezTo>
                      <a:cubicBezTo>
                        <a:pt x="204" y="363"/>
                        <a:pt x="213" y="363"/>
                        <a:pt x="213" y="363"/>
                      </a:cubicBezTo>
                      <a:cubicBezTo>
                        <a:pt x="230" y="354"/>
                        <a:pt x="248" y="337"/>
                        <a:pt x="275" y="310"/>
                      </a:cubicBezTo>
                      <a:cubicBezTo>
                        <a:pt x="336" y="248"/>
                        <a:pt x="514" y="35"/>
                        <a:pt x="496" y="18"/>
                      </a:cubicBezTo>
                      <a:close/>
                    </a:path>
                  </a:pathLst>
                </a:custGeom>
                <a:solidFill>
                  <a:schemeClr val="bg1"/>
                </a:solidFill>
                <a:ln>
                  <a:noFill/>
                </a:ln>
                <a:effectLst/>
                <a:extLst>
                  <a:ext uri="{91240B29-F687-4F45-9708-019B960494DF}">
                    <a14:hiddenLine xmlns:a14="http://schemas.microsoft.com/office/drawing/2010/main" xmlns="" w="9525">
                      <a:solidFill>
                        <a:srgbClr val="808080"/>
                      </a:solidFill>
                      <a:bevel/>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anchor="ctr"/>
                <a:lstStyle/>
                <a:p>
                  <a:endParaRPr lang="zh-CN" altLang="en-US">
                    <a:solidFill>
                      <a:schemeClr val="tx1">
                        <a:lumMod val="50000"/>
                        <a:lumOff val="50000"/>
                      </a:schemeClr>
                    </a:solidFill>
                  </a:endParaRPr>
                </a:p>
              </p:txBody>
            </p:sp>
          </p:grpSp>
          <p:grpSp>
            <p:nvGrpSpPr>
              <p:cNvPr id="5" name="组合 4"/>
              <p:cNvGrpSpPr/>
              <p:nvPr/>
            </p:nvGrpSpPr>
            <p:grpSpPr>
              <a:xfrm>
                <a:off x="3414712" y="1460157"/>
                <a:ext cx="2318148" cy="2716654"/>
                <a:chOff x="3414712" y="1460157"/>
                <a:chExt cx="2318148" cy="2716654"/>
              </a:xfrm>
            </p:grpSpPr>
            <p:grpSp>
              <p:nvGrpSpPr>
                <p:cNvPr id="36" name="Group 35"/>
                <p:cNvGrpSpPr/>
                <p:nvPr/>
              </p:nvGrpSpPr>
              <p:grpSpPr bwMode="auto">
                <a:xfrm>
                  <a:off x="3425429" y="1460157"/>
                  <a:ext cx="1116806" cy="1000434"/>
                  <a:chOff x="4567913" y="1947001"/>
                  <a:chExt cx="1488968" cy="1332492"/>
                </a:xfrm>
              </p:grpSpPr>
              <p:sp>
                <p:nvSpPr>
                  <p:cNvPr id="99363" name="Freeform 64"/>
                  <p:cNvSpPr/>
                  <p:nvPr/>
                </p:nvSpPr>
                <p:spPr bwMode="auto">
                  <a:xfrm>
                    <a:off x="4567913" y="1947001"/>
                    <a:ext cx="1488968" cy="1332492"/>
                  </a:xfrm>
                  <a:custGeom>
                    <a:avLst/>
                    <a:gdLst>
                      <a:gd name="T0" fmla="*/ 330 w 335"/>
                      <a:gd name="T1" fmla="*/ 184 h 299"/>
                      <a:gd name="T2" fmla="*/ 330 w 335"/>
                      <a:gd name="T3" fmla="*/ 32 h 299"/>
                      <a:gd name="T4" fmla="*/ 257 w 335"/>
                      <a:gd name="T5" fmla="*/ 18 h 299"/>
                      <a:gd name="T6" fmla="*/ 33 w 335"/>
                      <a:gd name="T7" fmla="*/ 152 h 299"/>
                      <a:gd name="T8" fmla="*/ 28 w 335"/>
                      <a:gd name="T9" fmla="*/ 206 h 299"/>
                      <a:gd name="T10" fmla="*/ 168 w 335"/>
                      <a:gd name="T11" fmla="*/ 287 h 299"/>
                      <a:gd name="T12" fmla="*/ 206 w 335"/>
                      <a:gd name="T13" fmla="*/ 286 h 299"/>
                      <a:gd name="T14" fmla="*/ 289 w 335"/>
                      <a:gd name="T15" fmla="*/ 233 h 299"/>
                      <a:gd name="T16" fmla="*/ 330 w 335"/>
                      <a:gd name="T17" fmla="*/ 184 h 2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 h="299">
                        <a:moveTo>
                          <a:pt x="330" y="184"/>
                        </a:moveTo>
                        <a:cubicBezTo>
                          <a:pt x="330" y="159"/>
                          <a:pt x="330" y="32"/>
                          <a:pt x="330" y="32"/>
                        </a:cubicBezTo>
                        <a:cubicBezTo>
                          <a:pt x="330" y="32"/>
                          <a:pt x="335" y="0"/>
                          <a:pt x="257" y="18"/>
                        </a:cubicBezTo>
                        <a:cubicBezTo>
                          <a:pt x="180" y="35"/>
                          <a:pt x="96" y="74"/>
                          <a:pt x="33" y="152"/>
                        </a:cubicBezTo>
                        <a:cubicBezTo>
                          <a:pt x="25" y="163"/>
                          <a:pt x="0" y="190"/>
                          <a:pt x="28" y="206"/>
                        </a:cubicBezTo>
                        <a:cubicBezTo>
                          <a:pt x="57" y="222"/>
                          <a:pt x="168" y="287"/>
                          <a:pt x="168" y="287"/>
                        </a:cubicBezTo>
                        <a:cubicBezTo>
                          <a:pt x="168" y="287"/>
                          <a:pt x="189" y="299"/>
                          <a:pt x="206" y="286"/>
                        </a:cubicBezTo>
                        <a:cubicBezTo>
                          <a:pt x="222" y="272"/>
                          <a:pt x="257" y="244"/>
                          <a:pt x="289" y="233"/>
                        </a:cubicBezTo>
                        <a:cubicBezTo>
                          <a:pt x="319" y="224"/>
                          <a:pt x="331" y="226"/>
                          <a:pt x="330" y="184"/>
                        </a:cubicBezTo>
                      </a:path>
                    </a:pathLst>
                  </a:custGeom>
                  <a:solidFill>
                    <a:schemeClr val="accent2"/>
                  </a:solidFill>
                  <a:ln>
                    <a:noFill/>
                  </a:ln>
                  <a:extLst>
                    <a:ext uri="{91240B29-F687-4F45-9708-019B960494DF}">
                      <a14:hiddenLine xmlns:a14="http://schemas.microsoft.com/office/drawing/2010/main" xmlns="" w="9525">
                        <a:solidFill>
                          <a:srgbClr val="000000"/>
                        </a:solidFill>
                        <a:round/>
                      </a14:hiddenLine>
                    </a:ext>
                  </a:extLst>
                </p:spPr>
                <p:txBody>
                  <a:bodyPr lIns="121920" tIns="60960" rIns="121920" bIns="60960"/>
                  <a:lstStyle/>
                  <a:p>
                    <a:endParaRPr lang="zh-CN" altLang="en-US">
                      <a:solidFill>
                        <a:schemeClr val="tx1">
                          <a:lumMod val="50000"/>
                          <a:lumOff val="50000"/>
                        </a:schemeClr>
                      </a:solidFill>
                    </a:endParaRPr>
                  </a:p>
                </p:txBody>
              </p:sp>
              <p:sp>
                <p:nvSpPr>
                  <p:cNvPr id="38" name="Freeform 154"/>
                  <p:cNvSpPr>
                    <a:spLocks noChangeArrowheads="1"/>
                  </p:cNvSpPr>
                  <p:nvPr/>
                </p:nvSpPr>
                <p:spPr bwMode="auto">
                  <a:xfrm>
                    <a:off x="5300173" y="2465272"/>
                    <a:ext cx="309705" cy="420584"/>
                  </a:xfrm>
                  <a:custGeom>
                    <a:avLst/>
                    <a:gdLst>
                      <a:gd name="T0" fmla="*/ 301853 w 355"/>
                      <a:gd name="T1" fmla="*/ 113998 h 487"/>
                      <a:gd name="T2" fmla="*/ 301853 w 355"/>
                      <a:gd name="T3" fmla="*/ 113998 h 487"/>
                      <a:gd name="T4" fmla="*/ 101199 w 355"/>
                      <a:gd name="T5" fmla="*/ 14682 h 487"/>
                      <a:gd name="T6" fmla="*/ 7852 w 355"/>
                      <a:gd name="T7" fmla="*/ 45772 h 487"/>
                      <a:gd name="T8" fmla="*/ 0 w 355"/>
                      <a:gd name="T9" fmla="*/ 68226 h 487"/>
                      <a:gd name="T10" fmla="*/ 7852 w 355"/>
                      <a:gd name="T11" fmla="*/ 297950 h 487"/>
                      <a:gd name="T12" fmla="*/ 15703 w 355"/>
                      <a:gd name="T13" fmla="*/ 313495 h 487"/>
                      <a:gd name="T14" fmla="*/ 193675 w 355"/>
                      <a:gd name="T15" fmla="*/ 419720 h 487"/>
                      <a:gd name="T16" fmla="*/ 201526 w 355"/>
                      <a:gd name="T17" fmla="*/ 419720 h 487"/>
                      <a:gd name="T18" fmla="*/ 209378 w 355"/>
                      <a:gd name="T19" fmla="*/ 419720 h 487"/>
                      <a:gd name="T20" fmla="*/ 216357 w 355"/>
                      <a:gd name="T21" fmla="*/ 412811 h 487"/>
                      <a:gd name="T22" fmla="*/ 216357 w 355"/>
                      <a:gd name="T23" fmla="*/ 175315 h 487"/>
                      <a:gd name="T24" fmla="*/ 209378 w 355"/>
                      <a:gd name="T25" fmla="*/ 159770 h 487"/>
                      <a:gd name="T26" fmla="*/ 38386 w 355"/>
                      <a:gd name="T27" fmla="*/ 60454 h 487"/>
                      <a:gd name="T28" fmla="*/ 61941 w 355"/>
                      <a:gd name="T29" fmla="*/ 45772 h 487"/>
                      <a:gd name="T30" fmla="*/ 93348 w 355"/>
                      <a:gd name="T31" fmla="*/ 37999 h 487"/>
                      <a:gd name="T32" fmla="*/ 262595 w 355"/>
                      <a:gd name="T33" fmla="*/ 129543 h 487"/>
                      <a:gd name="T34" fmla="*/ 270447 w 355"/>
                      <a:gd name="T35" fmla="*/ 137316 h 487"/>
                      <a:gd name="T36" fmla="*/ 270447 w 355"/>
                      <a:gd name="T37" fmla="*/ 367039 h 487"/>
                      <a:gd name="T38" fmla="*/ 286150 w 355"/>
                      <a:gd name="T39" fmla="*/ 381721 h 487"/>
                      <a:gd name="T40" fmla="*/ 308833 w 355"/>
                      <a:gd name="T41" fmla="*/ 367039 h 487"/>
                      <a:gd name="T42" fmla="*/ 308833 w 355"/>
                      <a:gd name="T43" fmla="*/ 121771 h 487"/>
                      <a:gd name="T44" fmla="*/ 301853 w 355"/>
                      <a:gd name="T45" fmla="*/ 113998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55" h="487">
                        <a:moveTo>
                          <a:pt x="346" y="132"/>
                        </a:moveTo>
                        <a:lnTo>
                          <a:pt x="346" y="132"/>
                        </a:lnTo>
                        <a:cubicBezTo>
                          <a:pt x="116" y="17"/>
                          <a:pt x="116" y="17"/>
                          <a:pt x="116" y="17"/>
                        </a:cubicBezTo>
                        <a:cubicBezTo>
                          <a:pt x="89" y="0"/>
                          <a:pt x="27" y="25"/>
                          <a:pt x="9" y="53"/>
                        </a:cubicBezTo>
                        <a:cubicBezTo>
                          <a:pt x="0" y="70"/>
                          <a:pt x="0" y="79"/>
                          <a:pt x="0" y="79"/>
                        </a:cubicBezTo>
                        <a:cubicBezTo>
                          <a:pt x="9" y="345"/>
                          <a:pt x="9" y="345"/>
                          <a:pt x="9" y="345"/>
                        </a:cubicBezTo>
                        <a:cubicBezTo>
                          <a:pt x="9" y="345"/>
                          <a:pt x="18" y="354"/>
                          <a:pt x="18" y="363"/>
                        </a:cubicBezTo>
                        <a:cubicBezTo>
                          <a:pt x="36" y="363"/>
                          <a:pt x="222" y="486"/>
                          <a:pt x="222" y="486"/>
                        </a:cubicBezTo>
                        <a:cubicBezTo>
                          <a:pt x="231" y="486"/>
                          <a:pt x="231" y="486"/>
                          <a:pt x="231" y="486"/>
                        </a:cubicBezTo>
                        <a:cubicBezTo>
                          <a:pt x="240" y="486"/>
                          <a:pt x="240" y="486"/>
                          <a:pt x="240" y="486"/>
                        </a:cubicBezTo>
                        <a:cubicBezTo>
                          <a:pt x="248" y="486"/>
                          <a:pt x="248" y="478"/>
                          <a:pt x="248" y="478"/>
                        </a:cubicBezTo>
                        <a:cubicBezTo>
                          <a:pt x="248" y="203"/>
                          <a:pt x="248" y="203"/>
                          <a:pt x="248" y="203"/>
                        </a:cubicBezTo>
                        <a:cubicBezTo>
                          <a:pt x="248" y="194"/>
                          <a:pt x="248" y="194"/>
                          <a:pt x="240" y="185"/>
                        </a:cubicBezTo>
                        <a:cubicBezTo>
                          <a:pt x="44" y="70"/>
                          <a:pt x="44" y="70"/>
                          <a:pt x="44" y="70"/>
                        </a:cubicBezTo>
                        <a:cubicBezTo>
                          <a:pt x="44" y="70"/>
                          <a:pt x="53" y="61"/>
                          <a:pt x="71" y="53"/>
                        </a:cubicBezTo>
                        <a:cubicBezTo>
                          <a:pt x="89" y="44"/>
                          <a:pt x="97" y="44"/>
                          <a:pt x="107" y="44"/>
                        </a:cubicBezTo>
                        <a:cubicBezTo>
                          <a:pt x="107" y="44"/>
                          <a:pt x="293" y="150"/>
                          <a:pt x="301" y="150"/>
                        </a:cubicBezTo>
                        <a:cubicBezTo>
                          <a:pt x="310" y="159"/>
                          <a:pt x="310" y="159"/>
                          <a:pt x="310" y="159"/>
                        </a:cubicBezTo>
                        <a:cubicBezTo>
                          <a:pt x="310" y="168"/>
                          <a:pt x="310" y="425"/>
                          <a:pt x="310" y="425"/>
                        </a:cubicBezTo>
                        <a:cubicBezTo>
                          <a:pt x="310" y="433"/>
                          <a:pt x="319" y="442"/>
                          <a:pt x="328" y="442"/>
                        </a:cubicBezTo>
                        <a:cubicBezTo>
                          <a:pt x="337" y="442"/>
                          <a:pt x="354" y="433"/>
                          <a:pt x="354" y="425"/>
                        </a:cubicBezTo>
                        <a:cubicBezTo>
                          <a:pt x="354" y="141"/>
                          <a:pt x="354" y="141"/>
                          <a:pt x="354" y="141"/>
                        </a:cubicBezTo>
                        <a:lnTo>
                          <a:pt x="346" y="132"/>
                        </a:lnTo>
                      </a:path>
                    </a:pathLst>
                  </a:custGeom>
                  <a:solidFill>
                    <a:schemeClr val="bg1"/>
                  </a:solidFill>
                  <a:ln>
                    <a:noFill/>
                  </a:ln>
                  <a:effectLst/>
                  <a:extLst>
                    <a:ext uri="{91240B29-F687-4F45-9708-019B960494DF}">
                      <a14:hiddenLine xmlns:a14="http://schemas.microsoft.com/office/drawing/2010/main" xmlns="" w="9525">
                        <a:solidFill>
                          <a:srgbClr val="808080"/>
                        </a:solidFill>
                        <a:bevel/>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anchor="ctr"/>
                  <a:lstStyle/>
                  <a:p>
                    <a:endParaRPr lang="zh-CN" altLang="en-US">
                      <a:solidFill>
                        <a:schemeClr val="tx1">
                          <a:lumMod val="50000"/>
                          <a:lumOff val="50000"/>
                        </a:schemeClr>
                      </a:solidFill>
                    </a:endParaRPr>
                  </a:p>
                </p:txBody>
              </p:sp>
            </p:grpSp>
            <p:grpSp>
              <p:nvGrpSpPr>
                <p:cNvPr id="42" name="Group 41"/>
                <p:cNvGrpSpPr/>
                <p:nvPr/>
              </p:nvGrpSpPr>
              <p:grpSpPr bwMode="auto">
                <a:xfrm>
                  <a:off x="3414712" y="3147794"/>
                  <a:ext cx="1120379" cy="1008770"/>
                  <a:chOff x="4553244" y="4196345"/>
                  <a:chExt cx="1493859" cy="1344716"/>
                </a:xfrm>
              </p:grpSpPr>
              <p:sp>
                <p:nvSpPr>
                  <p:cNvPr id="43" name="Freeform 61"/>
                  <p:cNvSpPr/>
                  <p:nvPr/>
                </p:nvSpPr>
                <p:spPr bwMode="auto">
                  <a:xfrm>
                    <a:off x="4553244" y="4196345"/>
                    <a:ext cx="1493859" cy="1344716"/>
                  </a:xfrm>
                  <a:custGeom>
                    <a:avLst/>
                    <a:gdLst/>
                    <a:ahLst/>
                    <a:cxnLst>
                      <a:cxn ang="0">
                        <a:pos x="161" y="22"/>
                      </a:cxn>
                      <a:cxn ang="0">
                        <a:pos x="31" y="100"/>
                      </a:cxn>
                      <a:cxn ang="0">
                        <a:pos x="56" y="171"/>
                      </a:cxn>
                      <a:cxn ang="0">
                        <a:pos x="287" y="293"/>
                      </a:cxn>
                      <a:cxn ang="0">
                        <a:pos x="335" y="270"/>
                      </a:cxn>
                      <a:cxn ang="0">
                        <a:pos x="332" y="108"/>
                      </a:cxn>
                      <a:cxn ang="0">
                        <a:pos x="312" y="77"/>
                      </a:cxn>
                      <a:cxn ang="0">
                        <a:pos x="224" y="32"/>
                      </a:cxn>
                      <a:cxn ang="0">
                        <a:pos x="161" y="22"/>
                      </a:cxn>
                    </a:cxnLst>
                    <a:rect l="0" t="0" r="r" b="b"/>
                    <a:pathLst>
                      <a:path w="336" h="302">
                        <a:moveTo>
                          <a:pt x="161" y="22"/>
                        </a:moveTo>
                        <a:cubicBezTo>
                          <a:pt x="140" y="35"/>
                          <a:pt x="31" y="100"/>
                          <a:pt x="31" y="100"/>
                        </a:cubicBezTo>
                        <a:cubicBezTo>
                          <a:pt x="31" y="100"/>
                          <a:pt x="0" y="113"/>
                          <a:pt x="56" y="171"/>
                        </a:cubicBezTo>
                        <a:cubicBezTo>
                          <a:pt x="111" y="228"/>
                          <a:pt x="187" y="280"/>
                          <a:pt x="287" y="293"/>
                        </a:cubicBezTo>
                        <a:cubicBezTo>
                          <a:pt x="300" y="295"/>
                          <a:pt x="336" y="302"/>
                          <a:pt x="335" y="270"/>
                        </a:cubicBezTo>
                        <a:cubicBezTo>
                          <a:pt x="334" y="237"/>
                          <a:pt x="332" y="108"/>
                          <a:pt x="332" y="108"/>
                        </a:cubicBezTo>
                        <a:cubicBezTo>
                          <a:pt x="332" y="108"/>
                          <a:pt x="332" y="84"/>
                          <a:pt x="312" y="77"/>
                        </a:cubicBezTo>
                        <a:cubicBezTo>
                          <a:pt x="292" y="70"/>
                          <a:pt x="250" y="54"/>
                          <a:pt x="224" y="32"/>
                        </a:cubicBezTo>
                        <a:cubicBezTo>
                          <a:pt x="201" y="12"/>
                          <a:pt x="196" y="0"/>
                          <a:pt x="161" y="22"/>
                        </a:cubicBezTo>
                      </a:path>
                    </a:pathLst>
                  </a:custGeom>
                  <a:solidFill>
                    <a:schemeClr val="accent4"/>
                  </a:solidFill>
                  <a:ln w="9525">
                    <a:noFill/>
                    <a:round/>
                  </a:ln>
                </p:spPr>
                <p:txBody>
                  <a:bodyPr lIns="121920" tIns="60960" rIns="121920" bIns="60960"/>
                  <a:lstStyle/>
                  <a:p>
                    <a:pPr>
                      <a:defRPr/>
                    </a:pPr>
                    <a:endParaRPr lang="en-US" sz="2400">
                      <a:solidFill>
                        <a:schemeClr val="tx1">
                          <a:lumMod val="50000"/>
                          <a:lumOff val="50000"/>
                        </a:schemeClr>
                      </a:solidFill>
                    </a:endParaRPr>
                  </a:p>
                </p:txBody>
              </p:sp>
              <p:sp>
                <p:nvSpPr>
                  <p:cNvPr id="44" name="Freeform 116"/>
                  <p:cNvSpPr>
                    <a:spLocks noChangeArrowheads="1"/>
                  </p:cNvSpPr>
                  <p:nvPr/>
                </p:nvSpPr>
                <p:spPr bwMode="auto">
                  <a:xfrm>
                    <a:off x="5239213" y="4686290"/>
                    <a:ext cx="370665" cy="385342"/>
                  </a:xfrm>
                  <a:custGeom>
                    <a:avLst/>
                    <a:gdLst>
                      <a:gd name="T0" fmla="*/ 333182 w 445"/>
                      <a:gd name="T1" fmla="*/ 132618 h 462"/>
                      <a:gd name="T2" fmla="*/ 333182 w 445"/>
                      <a:gd name="T3" fmla="*/ 132618 h 462"/>
                      <a:gd name="T4" fmla="*/ 221566 w 445"/>
                      <a:gd name="T5" fmla="*/ 6673 h 462"/>
                      <a:gd name="T6" fmla="*/ 29986 w 445"/>
                      <a:gd name="T7" fmla="*/ 206850 h 462"/>
                      <a:gd name="T8" fmla="*/ 7497 w 445"/>
                      <a:gd name="T9" fmla="*/ 266069 h 462"/>
                      <a:gd name="T10" fmla="*/ 67469 w 445"/>
                      <a:gd name="T11" fmla="*/ 296096 h 462"/>
                      <a:gd name="T12" fmla="*/ 81630 w 445"/>
                      <a:gd name="T13" fmla="*/ 288589 h 462"/>
                      <a:gd name="T14" fmla="*/ 111616 w 445"/>
                      <a:gd name="T15" fmla="*/ 310275 h 462"/>
                      <a:gd name="T16" fmla="*/ 133273 w 445"/>
                      <a:gd name="T17" fmla="*/ 361988 h 462"/>
                      <a:gd name="T18" fmla="*/ 155763 w 445"/>
                      <a:gd name="T19" fmla="*/ 377001 h 462"/>
                      <a:gd name="T20" fmla="*/ 199909 w 445"/>
                      <a:gd name="T21" fmla="*/ 361988 h 462"/>
                      <a:gd name="T22" fmla="*/ 207406 w 445"/>
                      <a:gd name="T23" fmla="*/ 346975 h 462"/>
                      <a:gd name="T24" fmla="*/ 192413 w 445"/>
                      <a:gd name="T25" fmla="*/ 325289 h 462"/>
                      <a:gd name="T26" fmla="*/ 169923 w 445"/>
                      <a:gd name="T27" fmla="*/ 281083 h 462"/>
                      <a:gd name="T28" fmla="*/ 192413 w 445"/>
                      <a:gd name="T29" fmla="*/ 258563 h 462"/>
                      <a:gd name="T30" fmla="*/ 347342 w 445"/>
                      <a:gd name="T31" fmla="*/ 296096 h 462"/>
                      <a:gd name="T32" fmla="*/ 333182 w 445"/>
                      <a:gd name="T33" fmla="*/ 132618 h 462"/>
                      <a:gd name="T34" fmla="*/ 324852 w 445"/>
                      <a:gd name="T35" fmla="*/ 258563 h 462"/>
                      <a:gd name="T36" fmla="*/ 324852 w 445"/>
                      <a:gd name="T37" fmla="*/ 258563 h 462"/>
                      <a:gd name="T38" fmla="*/ 251552 w 445"/>
                      <a:gd name="T39" fmla="*/ 170151 h 462"/>
                      <a:gd name="T40" fmla="*/ 236559 w 445"/>
                      <a:gd name="T41" fmla="*/ 51713 h 462"/>
                      <a:gd name="T42" fmla="*/ 303196 w 445"/>
                      <a:gd name="T43" fmla="*/ 147631 h 462"/>
                      <a:gd name="T44" fmla="*/ 324852 w 445"/>
                      <a:gd name="T45" fmla="*/ 258563 h 46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45" h="462">
                        <a:moveTo>
                          <a:pt x="400" y="159"/>
                        </a:moveTo>
                        <a:lnTo>
                          <a:pt x="400" y="159"/>
                        </a:lnTo>
                        <a:cubicBezTo>
                          <a:pt x="364" y="71"/>
                          <a:pt x="302" y="0"/>
                          <a:pt x="266" y="8"/>
                        </a:cubicBezTo>
                        <a:cubicBezTo>
                          <a:pt x="213" y="36"/>
                          <a:pt x="302" y="142"/>
                          <a:pt x="36" y="248"/>
                        </a:cubicBezTo>
                        <a:cubicBezTo>
                          <a:pt x="9" y="257"/>
                          <a:pt x="0" y="292"/>
                          <a:pt x="9" y="319"/>
                        </a:cubicBezTo>
                        <a:cubicBezTo>
                          <a:pt x="18" y="337"/>
                          <a:pt x="53" y="363"/>
                          <a:pt x="81" y="355"/>
                        </a:cubicBezTo>
                        <a:lnTo>
                          <a:pt x="98" y="346"/>
                        </a:lnTo>
                        <a:cubicBezTo>
                          <a:pt x="116" y="372"/>
                          <a:pt x="134" y="355"/>
                          <a:pt x="134" y="372"/>
                        </a:cubicBezTo>
                        <a:cubicBezTo>
                          <a:pt x="143" y="390"/>
                          <a:pt x="160" y="425"/>
                          <a:pt x="160" y="434"/>
                        </a:cubicBezTo>
                        <a:cubicBezTo>
                          <a:pt x="169" y="443"/>
                          <a:pt x="178" y="461"/>
                          <a:pt x="187" y="452"/>
                        </a:cubicBezTo>
                        <a:cubicBezTo>
                          <a:pt x="196" y="452"/>
                          <a:pt x="231" y="443"/>
                          <a:pt x="240" y="434"/>
                        </a:cubicBezTo>
                        <a:cubicBezTo>
                          <a:pt x="257" y="434"/>
                          <a:pt x="257" y="425"/>
                          <a:pt x="249" y="416"/>
                        </a:cubicBezTo>
                        <a:cubicBezTo>
                          <a:pt x="249" y="408"/>
                          <a:pt x="231" y="399"/>
                          <a:pt x="231" y="390"/>
                        </a:cubicBezTo>
                        <a:cubicBezTo>
                          <a:pt x="222" y="381"/>
                          <a:pt x="213" y="346"/>
                          <a:pt x="204" y="337"/>
                        </a:cubicBezTo>
                        <a:cubicBezTo>
                          <a:pt x="196" y="328"/>
                          <a:pt x="213" y="310"/>
                          <a:pt x="231" y="310"/>
                        </a:cubicBezTo>
                        <a:cubicBezTo>
                          <a:pt x="355" y="302"/>
                          <a:pt x="373" y="372"/>
                          <a:pt x="417" y="355"/>
                        </a:cubicBezTo>
                        <a:cubicBezTo>
                          <a:pt x="444" y="346"/>
                          <a:pt x="444" y="248"/>
                          <a:pt x="400" y="159"/>
                        </a:cubicBezTo>
                        <a:close/>
                        <a:moveTo>
                          <a:pt x="390" y="310"/>
                        </a:moveTo>
                        <a:lnTo>
                          <a:pt x="390" y="310"/>
                        </a:lnTo>
                        <a:cubicBezTo>
                          <a:pt x="381" y="310"/>
                          <a:pt x="328" y="275"/>
                          <a:pt x="302" y="204"/>
                        </a:cubicBezTo>
                        <a:cubicBezTo>
                          <a:pt x="275" y="133"/>
                          <a:pt x="275" y="62"/>
                          <a:pt x="284" y="62"/>
                        </a:cubicBezTo>
                        <a:cubicBezTo>
                          <a:pt x="293" y="62"/>
                          <a:pt x="337" y="106"/>
                          <a:pt x="364" y="177"/>
                        </a:cubicBezTo>
                        <a:cubicBezTo>
                          <a:pt x="400" y="248"/>
                          <a:pt x="390" y="302"/>
                          <a:pt x="390" y="310"/>
                        </a:cubicBezTo>
                        <a:close/>
                      </a:path>
                    </a:pathLst>
                  </a:custGeom>
                  <a:solidFill>
                    <a:schemeClr val="bg1"/>
                  </a:solidFill>
                  <a:ln>
                    <a:noFill/>
                  </a:ln>
                  <a:effectLst/>
                  <a:extLst>
                    <a:ext uri="{91240B29-F687-4F45-9708-019B960494DF}">
                      <a14:hiddenLine xmlns:a14="http://schemas.microsoft.com/office/drawing/2010/main" xmlns="" w="9525">
                        <a:solidFill>
                          <a:srgbClr val="808080"/>
                        </a:solidFill>
                        <a:bevel/>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anchor="ctr"/>
                  <a:lstStyle/>
                  <a:p>
                    <a:endParaRPr lang="zh-CN" altLang="en-US">
                      <a:solidFill>
                        <a:schemeClr val="tx1">
                          <a:lumMod val="50000"/>
                          <a:lumOff val="50000"/>
                        </a:schemeClr>
                      </a:solidFill>
                    </a:endParaRPr>
                  </a:p>
                </p:txBody>
              </p:sp>
            </p:grpSp>
            <p:grpSp>
              <p:nvGrpSpPr>
                <p:cNvPr id="45" name="Group 44"/>
                <p:cNvGrpSpPr/>
                <p:nvPr/>
              </p:nvGrpSpPr>
              <p:grpSpPr bwMode="auto">
                <a:xfrm>
                  <a:off x="4616054" y="1464921"/>
                  <a:ext cx="1116806" cy="1015917"/>
                  <a:chOff x="6154677" y="1951889"/>
                  <a:chExt cx="1488968" cy="1354496"/>
                </a:xfrm>
              </p:grpSpPr>
              <p:sp>
                <p:nvSpPr>
                  <p:cNvPr id="46" name="Freeform 59"/>
                  <p:cNvSpPr/>
                  <p:nvPr/>
                </p:nvSpPr>
                <p:spPr bwMode="auto">
                  <a:xfrm>
                    <a:off x="6154677" y="1951889"/>
                    <a:ext cx="1488968" cy="1354496"/>
                  </a:xfrm>
                  <a:custGeom>
                    <a:avLst/>
                    <a:gdLst/>
                    <a:ahLst/>
                    <a:cxnLst>
                      <a:cxn ang="0">
                        <a:pos x="174" y="281"/>
                      </a:cxn>
                      <a:cxn ang="0">
                        <a:pos x="305" y="204"/>
                      </a:cxn>
                      <a:cxn ang="0">
                        <a:pos x="280" y="133"/>
                      </a:cxn>
                      <a:cxn ang="0">
                        <a:pos x="49" y="9"/>
                      </a:cxn>
                      <a:cxn ang="0">
                        <a:pos x="1" y="33"/>
                      </a:cxn>
                      <a:cxn ang="0">
                        <a:pos x="3" y="194"/>
                      </a:cxn>
                      <a:cxn ang="0">
                        <a:pos x="23" y="226"/>
                      </a:cxn>
                      <a:cxn ang="0">
                        <a:pos x="110" y="271"/>
                      </a:cxn>
                      <a:cxn ang="0">
                        <a:pos x="174" y="281"/>
                      </a:cxn>
                    </a:cxnLst>
                    <a:rect l="0" t="0" r="r" b="b"/>
                    <a:pathLst>
                      <a:path w="335" h="304">
                        <a:moveTo>
                          <a:pt x="174" y="281"/>
                        </a:moveTo>
                        <a:cubicBezTo>
                          <a:pt x="195" y="268"/>
                          <a:pt x="305" y="204"/>
                          <a:pt x="305" y="204"/>
                        </a:cubicBezTo>
                        <a:cubicBezTo>
                          <a:pt x="305" y="204"/>
                          <a:pt x="335" y="192"/>
                          <a:pt x="280" y="133"/>
                        </a:cubicBezTo>
                        <a:cubicBezTo>
                          <a:pt x="225" y="76"/>
                          <a:pt x="149" y="24"/>
                          <a:pt x="49" y="9"/>
                        </a:cubicBezTo>
                        <a:cubicBezTo>
                          <a:pt x="36" y="7"/>
                          <a:pt x="0" y="0"/>
                          <a:pt x="1" y="33"/>
                        </a:cubicBezTo>
                        <a:cubicBezTo>
                          <a:pt x="2" y="65"/>
                          <a:pt x="3" y="194"/>
                          <a:pt x="3" y="194"/>
                        </a:cubicBezTo>
                        <a:cubicBezTo>
                          <a:pt x="3" y="194"/>
                          <a:pt x="3" y="219"/>
                          <a:pt x="23" y="226"/>
                        </a:cubicBezTo>
                        <a:cubicBezTo>
                          <a:pt x="43" y="233"/>
                          <a:pt x="85" y="249"/>
                          <a:pt x="110" y="271"/>
                        </a:cubicBezTo>
                        <a:cubicBezTo>
                          <a:pt x="133" y="292"/>
                          <a:pt x="138" y="304"/>
                          <a:pt x="174" y="281"/>
                        </a:cubicBezTo>
                      </a:path>
                    </a:pathLst>
                  </a:custGeom>
                  <a:solidFill>
                    <a:schemeClr val="accent3"/>
                  </a:solidFill>
                  <a:ln w="9525">
                    <a:noFill/>
                    <a:round/>
                  </a:ln>
                </p:spPr>
                <p:txBody>
                  <a:bodyPr lIns="121920" tIns="60960" rIns="121920" bIns="60960"/>
                  <a:lstStyle/>
                  <a:p>
                    <a:pPr>
                      <a:defRPr/>
                    </a:pPr>
                    <a:endParaRPr lang="en-US" sz="2400">
                      <a:solidFill>
                        <a:schemeClr val="tx1">
                          <a:lumMod val="50000"/>
                          <a:lumOff val="50000"/>
                        </a:schemeClr>
                      </a:solidFill>
                    </a:endParaRPr>
                  </a:p>
                </p:txBody>
              </p:sp>
              <p:sp>
                <p:nvSpPr>
                  <p:cNvPr id="47" name="Freeform 100"/>
                  <p:cNvSpPr>
                    <a:spLocks noChangeArrowheads="1"/>
                  </p:cNvSpPr>
                  <p:nvPr/>
                </p:nvSpPr>
                <p:spPr bwMode="auto">
                  <a:xfrm>
                    <a:off x="6523752" y="2465272"/>
                    <a:ext cx="530778" cy="342894"/>
                  </a:xfrm>
                  <a:custGeom>
                    <a:avLst/>
                    <a:gdLst>
                      <a:gd name="T0" fmla="*/ 406077 w 498"/>
                      <a:gd name="T1" fmla="*/ 95367 h 320"/>
                      <a:gd name="T2" fmla="*/ 406077 w 498"/>
                      <a:gd name="T3" fmla="*/ 95367 h 320"/>
                      <a:gd name="T4" fmla="*/ 378366 w 498"/>
                      <a:gd name="T5" fmla="*/ 95367 h 320"/>
                      <a:gd name="T6" fmla="*/ 246204 w 498"/>
                      <a:gd name="T7" fmla="*/ 0 h 320"/>
                      <a:gd name="T8" fmla="*/ 104450 w 498"/>
                      <a:gd name="T9" fmla="*/ 143587 h 320"/>
                      <a:gd name="T10" fmla="*/ 104450 w 498"/>
                      <a:gd name="T11" fmla="*/ 160732 h 320"/>
                      <a:gd name="T12" fmla="*/ 94858 w 498"/>
                      <a:gd name="T13" fmla="*/ 160732 h 320"/>
                      <a:gd name="T14" fmla="*/ 0 w 498"/>
                      <a:gd name="T15" fmla="*/ 257171 h 320"/>
                      <a:gd name="T16" fmla="*/ 94858 w 498"/>
                      <a:gd name="T17" fmla="*/ 341822 h 320"/>
                      <a:gd name="T18" fmla="*/ 406077 w 498"/>
                      <a:gd name="T19" fmla="*/ 341822 h 320"/>
                      <a:gd name="T20" fmla="*/ 529712 w 498"/>
                      <a:gd name="T21" fmla="*/ 218595 h 320"/>
                      <a:gd name="T22" fmla="*/ 406077 w 498"/>
                      <a:gd name="T23" fmla="*/ 95367 h 320"/>
                      <a:gd name="T24" fmla="*/ 302693 w 498"/>
                      <a:gd name="T25" fmla="*/ 208951 h 320"/>
                      <a:gd name="T26" fmla="*/ 302693 w 498"/>
                      <a:gd name="T27" fmla="*/ 208951 h 320"/>
                      <a:gd name="T28" fmla="*/ 227020 w 498"/>
                      <a:gd name="T29" fmla="*/ 294675 h 320"/>
                      <a:gd name="T30" fmla="*/ 207835 w 498"/>
                      <a:gd name="T31" fmla="*/ 294675 h 320"/>
                      <a:gd name="T32" fmla="*/ 207835 w 498"/>
                      <a:gd name="T33" fmla="*/ 285031 h 320"/>
                      <a:gd name="T34" fmla="*/ 207835 w 498"/>
                      <a:gd name="T35" fmla="*/ 275387 h 320"/>
                      <a:gd name="T36" fmla="*/ 236612 w 498"/>
                      <a:gd name="T37" fmla="*/ 218595 h 320"/>
                      <a:gd name="T38" fmla="*/ 217427 w 498"/>
                      <a:gd name="T39" fmla="*/ 208951 h 320"/>
                      <a:gd name="T40" fmla="*/ 217427 w 498"/>
                      <a:gd name="T41" fmla="*/ 208951 h 320"/>
                      <a:gd name="T42" fmla="*/ 198242 w 498"/>
                      <a:gd name="T43" fmla="*/ 190735 h 320"/>
                      <a:gd name="T44" fmla="*/ 207835 w 498"/>
                      <a:gd name="T45" fmla="*/ 171447 h 320"/>
                      <a:gd name="T46" fmla="*/ 274981 w 498"/>
                      <a:gd name="T47" fmla="*/ 95367 h 320"/>
                      <a:gd name="T48" fmla="*/ 293100 w 498"/>
                      <a:gd name="T49" fmla="*/ 85724 h 320"/>
                      <a:gd name="T50" fmla="*/ 302693 w 498"/>
                      <a:gd name="T51" fmla="*/ 95367 h 320"/>
                      <a:gd name="T52" fmla="*/ 293100 w 498"/>
                      <a:gd name="T53" fmla="*/ 113584 h 320"/>
                      <a:gd name="T54" fmla="*/ 265389 w 498"/>
                      <a:gd name="T55" fmla="*/ 171447 h 320"/>
                      <a:gd name="T56" fmla="*/ 293100 w 498"/>
                      <a:gd name="T57" fmla="*/ 181091 h 320"/>
                      <a:gd name="T58" fmla="*/ 293100 w 498"/>
                      <a:gd name="T59" fmla="*/ 181091 h 320"/>
                      <a:gd name="T60" fmla="*/ 312285 w 498"/>
                      <a:gd name="T61" fmla="*/ 200379 h 320"/>
                      <a:gd name="T62" fmla="*/ 302693 w 498"/>
                      <a:gd name="T63" fmla="*/ 208951 h 32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98" h="320">
                        <a:moveTo>
                          <a:pt x="381" y="89"/>
                        </a:moveTo>
                        <a:lnTo>
                          <a:pt x="381" y="89"/>
                        </a:lnTo>
                        <a:cubicBezTo>
                          <a:pt x="372" y="89"/>
                          <a:pt x="364" y="89"/>
                          <a:pt x="355" y="89"/>
                        </a:cubicBezTo>
                        <a:cubicBezTo>
                          <a:pt x="337" y="36"/>
                          <a:pt x="293" y="0"/>
                          <a:pt x="231" y="0"/>
                        </a:cubicBezTo>
                        <a:cubicBezTo>
                          <a:pt x="160" y="0"/>
                          <a:pt x="98" y="62"/>
                          <a:pt x="98" y="134"/>
                        </a:cubicBezTo>
                        <a:cubicBezTo>
                          <a:pt x="98" y="134"/>
                          <a:pt x="98" y="142"/>
                          <a:pt x="98" y="150"/>
                        </a:cubicBezTo>
                        <a:cubicBezTo>
                          <a:pt x="98" y="150"/>
                          <a:pt x="98" y="150"/>
                          <a:pt x="89" y="150"/>
                        </a:cubicBezTo>
                        <a:cubicBezTo>
                          <a:pt x="45" y="150"/>
                          <a:pt x="0" y="187"/>
                          <a:pt x="0" y="240"/>
                        </a:cubicBezTo>
                        <a:cubicBezTo>
                          <a:pt x="0" y="284"/>
                          <a:pt x="45" y="319"/>
                          <a:pt x="89" y="319"/>
                        </a:cubicBezTo>
                        <a:cubicBezTo>
                          <a:pt x="381" y="319"/>
                          <a:pt x="381" y="319"/>
                          <a:pt x="381" y="319"/>
                        </a:cubicBezTo>
                        <a:cubicBezTo>
                          <a:pt x="443" y="319"/>
                          <a:pt x="497" y="275"/>
                          <a:pt x="497" y="204"/>
                        </a:cubicBezTo>
                        <a:cubicBezTo>
                          <a:pt x="497" y="142"/>
                          <a:pt x="443" y="89"/>
                          <a:pt x="381" y="89"/>
                        </a:cubicBezTo>
                        <a:close/>
                        <a:moveTo>
                          <a:pt x="284" y="195"/>
                        </a:moveTo>
                        <a:lnTo>
                          <a:pt x="284" y="195"/>
                        </a:lnTo>
                        <a:cubicBezTo>
                          <a:pt x="266" y="213"/>
                          <a:pt x="222" y="266"/>
                          <a:pt x="213" y="275"/>
                        </a:cubicBezTo>
                        <a:cubicBezTo>
                          <a:pt x="213" y="275"/>
                          <a:pt x="204" y="284"/>
                          <a:pt x="195" y="275"/>
                        </a:cubicBezTo>
                        <a:cubicBezTo>
                          <a:pt x="195" y="275"/>
                          <a:pt x="195" y="275"/>
                          <a:pt x="195" y="266"/>
                        </a:cubicBezTo>
                        <a:lnTo>
                          <a:pt x="195" y="257"/>
                        </a:lnTo>
                        <a:cubicBezTo>
                          <a:pt x="222" y="204"/>
                          <a:pt x="222" y="204"/>
                          <a:pt x="222" y="204"/>
                        </a:cubicBezTo>
                        <a:cubicBezTo>
                          <a:pt x="222" y="195"/>
                          <a:pt x="213" y="195"/>
                          <a:pt x="204" y="195"/>
                        </a:cubicBezTo>
                        <a:cubicBezTo>
                          <a:pt x="195" y="187"/>
                          <a:pt x="186" y="187"/>
                          <a:pt x="186" y="178"/>
                        </a:cubicBezTo>
                        <a:cubicBezTo>
                          <a:pt x="186" y="169"/>
                          <a:pt x="186" y="169"/>
                          <a:pt x="195" y="160"/>
                        </a:cubicBezTo>
                        <a:cubicBezTo>
                          <a:pt x="204" y="142"/>
                          <a:pt x="258" y="89"/>
                          <a:pt x="258" y="89"/>
                        </a:cubicBezTo>
                        <a:cubicBezTo>
                          <a:pt x="266" y="80"/>
                          <a:pt x="266" y="80"/>
                          <a:pt x="275" y="80"/>
                        </a:cubicBezTo>
                        <a:cubicBezTo>
                          <a:pt x="275" y="89"/>
                          <a:pt x="284" y="89"/>
                          <a:pt x="284" y="89"/>
                        </a:cubicBezTo>
                        <a:cubicBezTo>
                          <a:pt x="284" y="97"/>
                          <a:pt x="275" y="97"/>
                          <a:pt x="275" y="106"/>
                        </a:cubicBezTo>
                        <a:cubicBezTo>
                          <a:pt x="249" y="160"/>
                          <a:pt x="249" y="160"/>
                          <a:pt x="249" y="160"/>
                        </a:cubicBezTo>
                        <a:cubicBezTo>
                          <a:pt x="258" y="160"/>
                          <a:pt x="266" y="169"/>
                          <a:pt x="275" y="169"/>
                        </a:cubicBezTo>
                        <a:cubicBezTo>
                          <a:pt x="284" y="169"/>
                          <a:pt x="293" y="178"/>
                          <a:pt x="293" y="187"/>
                        </a:cubicBezTo>
                        <a:lnTo>
                          <a:pt x="284" y="195"/>
                        </a:lnTo>
                        <a:close/>
                      </a:path>
                    </a:pathLst>
                  </a:custGeom>
                  <a:solidFill>
                    <a:schemeClr val="bg1"/>
                  </a:solidFill>
                  <a:ln>
                    <a:noFill/>
                  </a:ln>
                  <a:effectLst/>
                  <a:extLst>
                    <a:ext uri="{91240B29-F687-4F45-9708-019B960494DF}">
                      <a14:hiddenLine xmlns:a14="http://schemas.microsoft.com/office/drawing/2010/main" xmlns="" w="9525">
                        <a:solidFill>
                          <a:srgbClr val="808080"/>
                        </a:solidFill>
                        <a:bevel/>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anchor="ctr"/>
                  <a:lstStyle/>
                  <a:p>
                    <a:endParaRPr lang="zh-CN" altLang="en-US">
                      <a:solidFill>
                        <a:schemeClr val="tx1">
                          <a:lumMod val="50000"/>
                          <a:lumOff val="50000"/>
                        </a:schemeClr>
                      </a:solidFill>
                    </a:endParaRPr>
                  </a:p>
                </p:txBody>
              </p:sp>
            </p:grpSp>
            <p:grpSp>
              <p:nvGrpSpPr>
                <p:cNvPr id="51" name="Group 50"/>
                <p:cNvGrpSpPr/>
                <p:nvPr/>
              </p:nvGrpSpPr>
              <p:grpSpPr bwMode="auto">
                <a:xfrm>
                  <a:off x="4608910" y="3160894"/>
                  <a:ext cx="1107281" cy="1015917"/>
                  <a:chOff x="6144898" y="4213457"/>
                  <a:chExt cx="1476743" cy="1354496"/>
                </a:xfrm>
              </p:grpSpPr>
              <p:sp>
                <p:nvSpPr>
                  <p:cNvPr id="52" name="Freeform 60"/>
                  <p:cNvSpPr/>
                  <p:nvPr/>
                </p:nvSpPr>
                <p:spPr bwMode="auto">
                  <a:xfrm>
                    <a:off x="6144898" y="4213457"/>
                    <a:ext cx="1476743" cy="1354496"/>
                  </a:xfrm>
                  <a:custGeom>
                    <a:avLst/>
                    <a:gdLst/>
                    <a:ahLst/>
                    <a:cxnLst>
                      <a:cxn ang="0">
                        <a:pos x="2" y="120"/>
                      </a:cxn>
                      <a:cxn ang="0">
                        <a:pos x="7" y="272"/>
                      </a:cxn>
                      <a:cxn ang="0">
                        <a:pos x="81" y="284"/>
                      </a:cxn>
                      <a:cxn ang="0">
                        <a:pos x="300" y="141"/>
                      </a:cxn>
                      <a:cxn ang="0">
                        <a:pos x="303" y="88"/>
                      </a:cxn>
                      <a:cxn ang="0">
                        <a:pos x="160" y="12"/>
                      </a:cxn>
                      <a:cxn ang="0">
                        <a:pos x="123" y="14"/>
                      </a:cxn>
                      <a:cxn ang="0">
                        <a:pos x="41" y="69"/>
                      </a:cxn>
                      <a:cxn ang="0">
                        <a:pos x="2" y="120"/>
                      </a:cxn>
                    </a:cxnLst>
                    <a:rect l="0" t="0" r="r" b="b"/>
                    <a:pathLst>
                      <a:path w="332" h="304">
                        <a:moveTo>
                          <a:pt x="2" y="120"/>
                        </a:moveTo>
                        <a:cubicBezTo>
                          <a:pt x="3" y="145"/>
                          <a:pt x="7" y="272"/>
                          <a:pt x="7" y="272"/>
                        </a:cubicBezTo>
                        <a:cubicBezTo>
                          <a:pt x="7" y="272"/>
                          <a:pt x="4" y="304"/>
                          <a:pt x="81" y="284"/>
                        </a:cubicBezTo>
                        <a:cubicBezTo>
                          <a:pt x="158" y="264"/>
                          <a:pt x="240" y="222"/>
                          <a:pt x="300" y="141"/>
                        </a:cubicBezTo>
                        <a:cubicBezTo>
                          <a:pt x="308" y="131"/>
                          <a:pt x="332" y="102"/>
                          <a:pt x="303" y="88"/>
                        </a:cubicBezTo>
                        <a:cubicBezTo>
                          <a:pt x="274" y="73"/>
                          <a:pt x="160" y="12"/>
                          <a:pt x="160" y="12"/>
                        </a:cubicBezTo>
                        <a:cubicBezTo>
                          <a:pt x="160" y="12"/>
                          <a:pt x="139" y="0"/>
                          <a:pt x="123" y="14"/>
                        </a:cubicBezTo>
                        <a:cubicBezTo>
                          <a:pt x="107" y="29"/>
                          <a:pt x="73" y="58"/>
                          <a:pt x="41" y="69"/>
                        </a:cubicBezTo>
                        <a:cubicBezTo>
                          <a:pt x="12" y="80"/>
                          <a:pt x="0" y="78"/>
                          <a:pt x="2" y="120"/>
                        </a:cubicBezTo>
                      </a:path>
                    </a:pathLst>
                  </a:custGeom>
                  <a:solidFill>
                    <a:schemeClr val="accent5"/>
                  </a:solidFill>
                  <a:ln w="9525">
                    <a:noFill/>
                    <a:round/>
                  </a:ln>
                </p:spPr>
                <p:txBody>
                  <a:bodyPr lIns="121920" tIns="60960" rIns="121920" bIns="60960"/>
                  <a:lstStyle/>
                  <a:p>
                    <a:pPr>
                      <a:defRPr/>
                    </a:pPr>
                    <a:endParaRPr lang="en-US" sz="2400">
                      <a:solidFill>
                        <a:schemeClr val="tx1">
                          <a:lumMod val="50000"/>
                          <a:lumOff val="50000"/>
                        </a:schemeClr>
                      </a:solidFill>
                    </a:endParaRPr>
                  </a:p>
                </p:txBody>
              </p:sp>
              <p:sp>
                <p:nvSpPr>
                  <p:cNvPr id="53" name="Freeform 123"/>
                  <p:cNvSpPr>
                    <a:spLocks noChangeArrowheads="1"/>
                  </p:cNvSpPr>
                  <p:nvPr/>
                </p:nvSpPr>
                <p:spPr bwMode="auto">
                  <a:xfrm>
                    <a:off x="6531183" y="4687484"/>
                    <a:ext cx="401270" cy="409061"/>
                  </a:xfrm>
                  <a:custGeom>
                    <a:avLst/>
                    <a:gdLst>
                      <a:gd name="T0" fmla="*/ 244136 w 452"/>
                      <a:gd name="T1" fmla="*/ 266509 h 462"/>
                      <a:gd name="T2" fmla="*/ 244136 w 452"/>
                      <a:gd name="T3" fmla="*/ 266509 h 462"/>
                      <a:gd name="T4" fmla="*/ 385290 w 452"/>
                      <a:gd name="T5" fmla="*/ 23021 h 462"/>
                      <a:gd name="T6" fmla="*/ 385290 w 452"/>
                      <a:gd name="T7" fmla="*/ 15937 h 462"/>
                      <a:gd name="T8" fmla="*/ 377300 w 452"/>
                      <a:gd name="T9" fmla="*/ 15937 h 462"/>
                      <a:gd name="T10" fmla="*/ 141155 w 452"/>
                      <a:gd name="T11" fmla="*/ 157604 h 462"/>
                      <a:gd name="T12" fmla="*/ 7990 w 452"/>
                      <a:gd name="T13" fmla="*/ 266509 h 462"/>
                      <a:gd name="T14" fmla="*/ 31072 w 452"/>
                      <a:gd name="T15" fmla="*/ 290416 h 462"/>
                      <a:gd name="T16" fmla="*/ 78123 w 452"/>
                      <a:gd name="T17" fmla="*/ 274478 h 462"/>
                      <a:gd name="T18" fmla="*/ 134053 w 452"/>
                      <a:gd name="T19" fmla="*/ 329374 h 462"/>
                      <a:gd name="T20" fmla="*/ 118073 w 452"/>
                      <a:gd name="T21" fmla="*/ 376301 h 462"/>
                      <a:gd name="T22" fmla="*/ 134053 w 452"/>
                      <a:gd name="T23" fmla="*/ 400207 h 462"/>
                      <a:gd name="T24" fmla="*/ 244136 w 452"/>
                      <a:gd name="T25" fmla="*/ 266509 h 462"/>
                      <a:gd name="T26" fmla="*/ 267217 w 452"/>
                      <a:gd name="T27" fmla="*/ 132812 h 462"/>
                      <a:gd name="T28" fmla="*/ 267217 w 452"/>
                      <a:gd name="T29" fmla="*/ 132812 h 462"/>
                      <a:gd name="T30" fmla="*/ 267217 w 452"/>
                      <a:gd name="T31" fmla="*/ 85885 h 462"/>
                      <a:gd name="T32" fmla="*/ 314269 w 452"/>
                      <a:gd name="T33" fmla="*/ 85885 h 462"/>
                      <a:gd name="T34" fmla="*/ 314269 w 452"/>
                      <a:gd name="T35" fmla="*/ 132812 h 462"/>
                      <a:gd name="T36" fmla="*/ 267217 w 452"/>
                      <a:gd name="T37" fmla="*/ 132812 h 4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52" h="462">
                        <a:moveTo>
                          <a:pt x="275" y="301"/>
                        </a:moveTo>
                        <a:lnTo>
                          <a:pt x="275" y="301"/>
                        </a:lnTo>
                        <a:cubicBezTo>
                          <a:pt x="275" y="301"/>
                          <a:pt x="451" y="169"/>
                          <a:pt x="434" y="26"/>
                        </a:cubicBezTo>
                        <a:lnTo>
                          <a:pt x="434" y="18"/>
                        </a:lnTo>
                        <a:cubicBezTo>
                          <a:pt x="425" y="18"/>
                          <a:pt x="425" y="18"/>
                          <a:pt x="425" y="18"/>
                        </a:cubicBezTo>
                        <a:cubicBezTo>
                          <a:pt x="284" y="0"/>
                          <a:pt x="159" y="178"/>
                          <a:pt x="159" y="178"/>
                        </a:cubicBezTo>
                        <a:cubicBezTo>
                          <a:pt x="53" y="159"/>
                          <a:pt x="62" y="186"/>
                          <a:pt x="9" y="301"/>
                        </a:cubicBezTo>
                        <a:cubicBezTo>
                          <a:pt x="0" y="328"/>
                          <a:pt x="18" y="328"/>
                          <a:pt x="35" y="328"/>
                        </a:cubicBezTo>
                        <a:cubicBezTo>
                          <a:pt x="53" y="319"/>
                          <a:pt x="88" y="310"/>
                          <a:pt x="88" y="310"/>
                        </a:cubicBezTo>
                        <a:cubicBezTo>
                          <a:pt x="151" y="372"/>
                          <a:pt x="151" y="372"/>
                          <a:pt x="151" y="372"/>
                        </a:cubicBezTo>
                        <a:cubicBezTo>
                          <a:pt x="151" y="372"/>
                          <a:pt x="141" y="407"/>
                          <a:pt x="133" y="425"/>
                        </a:cubicBezTo>
                        <a:cubicBezTo>
                          <a:pt x="124" y="443"/>
                          <a:pt x="133" y="461"/>
                          <a:pt x="151" y="452"/>
                        </a:cubicBezTo>
                        <a:cubicBezTo>
                          <a:pt x="266" y="398"/>
                          <a:pt x="292" y="407"/>
                          <a:pt x="275" y="301"/>
                        </a:cubicBezTo>
                        <a:close/>
                        <a:moveTo>
                          <a:pt x="301" y="150"/>
                        </a:moveTo>
                        <a:lnTo>
                          <a:pt x="301" y="150"/>
                        </a:lnTo>
                        <a:cubicBezTo>
                          <a:pt x="284" y="133"/>
                          <a:pt x="284" y="115"/>
                          <a:pt x="301" y="97"/>
                        </a:cubicBezTo>
                        <a:cubicBezTo>
                          <a:pt x="319" y="80"/>
                          <a:pt x="345" y="80"/>
                          <a:pt x="354" y="97"/>
                        </a:cubicBezTo>
                        <a:cubicBezTo>
                          <a:pt x="372" y="115"/>
                          <a:pt x="372" y="133"/>
                          <a:pt x="354" y="150"/>
                        </a:cubicBezTo>
                        <a:cubicBezTo>
                          <a:pt x="345" y="169"/>
                          <a:pt x="319" y="169"/>
                          <a:pt x="301" y="150"/>
                        </a:cubicBezTo>
                        <a:close/>
                      </a:path>
                    </a:pathLst>
                  </a:custGeom>
                  <a:solidFill>
                    <a:schemeClr val="bg1"/>
                  </a:solidFill>
                  <a:ln>
                    <a:noFill/>
                  </a:ln>
                  <a:effectLst/>
                  <a:extLst>
                    <a:ext uri="{91240B29-F687-4F45-9708-019B960494DF}">
                      <a14:hiddenLine xmlns:a14="http://schemas.microsoft.com/office/drawing/2010/main" xmlns="" w="9525">
                        <a:solidFill>
                          <a:srgbClr val="808080"/>
                        </a:solidFill>
                        <a:bevel/>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anchor="ctr"/>
                  <a:lstStyle/>
                  <a:p>
                    <a:endParaRPr lang="zh-CN" altLang="en-US">
                      <a:solidFill>
                        <a:schemeClr val="tx1">
                          <a:lumMod val="50000"/>
                          <a:lumOff val="50000"/>
                        </a:schemeClr>
                      </a:solidFill>
                    </a:endParaRPr>
                  </a:p>
                </p:txBody>
              </p:sp>
            </p:grpSp>
            <p:grpSp>
              <p:nvGrpSpPr>
                <p:cNvPr id="54" name="Group 53"/>
                <p:cNvGrpSpPr/>
                <p:nvPr/>
              </p:nvGrpSpPr>
              <p:grpSpPr bwMode="auto">
                <a:xfrm>
                  <a:off x="4065985" y="2310526"/>
                  <a:ext cx="1006078" cy="1005198"/>
                  <a:chOff x="5421196" y="3079005"/>
                  <a:chExt cx="1342272" cy="1339827"/>
                </a:xfrm>
              </p:grpSpPr>
              <p:sp>
                <p:nvSpPr>
                  <p:cNvPr id="55" name="Oval 63"/>
                  <p:cNvSpPr>
                    <a:spLocks noChangeArrowheads="1"/>
                  </p:cNvSpPr>
                  <p:nvPr/>
                </p:nvSpPr>
                <p:spPr bwMode="auto">
                  <a:xfrm>
                    <a:off x="5421196" y="3079005"/>
                    <a:ext cx="1342272" cy="1339827"/>
                  </a:xfrm>
                  <a:prstGeom prst="ellipse">
                    <a:avLst/>
                  </a:prstGeom>
                  <a:solidFill>
                    <a:schemeClr val="accent2"/>
                  </a:solidFill>
                  <a:ln w="9525">
                    <a:noFill/>
                    <a:round/>
                  </a:ln>
                </p:spPr>
                <p:txBody>
                  <a:bodyPr lIns="121920" tIns="60960" rIns="121920" bIns="6096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endParaRPr lang="zh-CN" altLang="zh-CN" sz="2400">
                      <a:solidFill>
                        <a:schemeClr val="tx1">
                          <a:lumMod val="50000"/>
                          <a:lumOff val="50000"/>
                        </a:schemeClr>
                      </a:solidFill>
                    </a:endParaRPr>
                  </a:p>
                </p:txBody>
              </p:sp>
              <p:sp>
                <p:nvSpPr>
                  <p:cNvPr id="56" name="Freeform 65"/>
                  <p:cNvSpPr>
                    <a:spLocks noChangeArrowheads="1"/>
                  </p:cNvSpPr>
                  <p:nvPr/>
                </p:nvSpPr>
                <p:spPr bwMode="auto">
                  <a:xfrm>
                    <a:off x="5860487" y="3528208"/>
                    <a:ext cx="463689" cy="463689"/>
                  </a:xfrm>
                  <a:custGeom>
                    <a:avLst/>
                    <a:gdLst>
                      <a:gd name="T0" fmla="*/ 423658 w 417"/>
                      <a:gd name="T1" fmla="*/ 225729 h 417"/>
                      <a:gd name="T2" fmla="*/ 423658 w 417"/>
                      <a:gd name="T3" fmla="*/ 225729 h 417"/>
                      <a:gd name="T4" fmla="*/ 462577 w 417"/>
                      <a:gd name="T5" fmla="*/ 156787 h 417"/>
                      <a:gd name="T6" fmla="*/ 453681 w 417"/>
                      <a:gd name="T7" fmla="*/ 117868 h 417"/>
                      <a:gd name="T8" fmla="*/ 374732 w 417"/>
                      <a:gd name="T9" fmla="*/ 87845 h 417"/>
                      <a:gd name="T10" fmla="*/ 354717 w 417"/>
                      <a:gd name="T11" fmla="*/ 18903 h 417"/>
                      <a:gd name="T12" fmla="*/ 305790 w 417"/>
                      <a:gd name="T13" fmla="*/ 0 h 417"/>
                      <a:gd name="T14" fmla="*/ 236848 w 417"/>
                      <a:gd name="T15" fmla="*/ 38919 h 417"/>
                      <a:gd name="T16" fmla="*/ 167907 w 417"/>
                      <a:gd name="T17" fmla="*/ 0 h 417"/>
                      <a:gd name="T18" fmla="*/ 118980 w 417"/>
                      <a:gd name="T19" fmla="*/ 18903 h 417"/>
                      <a:gd name="T20" fmla="*/ 98965 w 417"/>
                      <a:gd name="T21" fmla="*/ 87845 h 417"/>
                      <a:gd name="T22" fmla="*/ 20015 w 417"/>
                      <a:gd name="T23" fmla="*/ 117868 h 417"/>
                      <a:gd name="T24" fmla="*/ 0 w 417"/>
                      <a:gd name="T25" fmla="*/ 156787 h 417"/>
                      <a:gd name="T26" fmla="*/ 48926 w 417"/>
                      <a:gd name="T27" fmla="*/ 225729 h 417"/>
                      <a:gd name="T28" fmla="*/ 0 w 417"/>
                      <a:gd name="T29" fmla="*/ 305790 h 417"/>
                      <a:gd name="T30" fmla="*/ 20015 w 417"/>
                      <a:gd name="T31" fmla="*/ 344709 h 417"/>
                      <a:gd name="T32" fmla="*/ 98965 w 417"/>
                      <a:gd name="T33" fmla="*/ 364724 h 417"/>
                      <a:gd name="T34" fmla="*/ 118980 w 417"/>
                      <a:gd name="T35" fmla="*/ 442562 h 417"/>
                      <a:gd name="T36" fmla="*/ 167907 w 417"/>
                      <a:gd name="T37" fmla="*/ 462577 h 417"/>
                      <a:gd name="T38" fmla="*/ 236848 w 417"/>
                      <a:gd name="T39" fmla="*/ 413651 h 417"/>
                      <a:gd name="T40" fmla="*/ 305790 w 417"/>
                      <a:gd name="T41" fmla="*/ 462577 h 417"/>
                      <a:gd name="T42" fmla="*/ 354717 w 417"/>
                      <a:gd name="T43" fmla="*/ 442562 h 417"/>
                      <a:gd name="T44" fmla="*/ 374732 w 417"/>
                      <a:gd name="T45" fmla="*/ 364724 h 417"/>
                      <a:gd name="T46" fmla="*/ 453681 w 417"/>
                      <a:gd name="T47" fmla="*/ 344709 h 417"/>
                      <a:gd name="T48" fmla="*/ 462577 w 417"/>
                      <a:gd name="T49" fmla="*/ 294670 h 417"/>
                      <a:gd name="T50" fmla="*/ 423658 w 417"/>
                      <a:gd name="T51" fmla="*/ 225729 h 417"/>
                      <a:gd name="T52" fmla="*/ 236848 w 417"/>
                      <a:gd name="T53" fmla="*/ 324693 h 417"/>
                      <a:gd name="T54" fmla="*/ 236848 w 417"/>
                      <a:gd name="T55" fmla="*/ 324693 h 417"/>
                      <a:gd name="T56" fmla="*/ 138996 w 417"/>
                      <a:gd name="T57" fmla="*/ 225729 h 417"/>
                      <a:gd name="T58" fmla="*/ 236848 w 417"/>
                      <a:gd name="T59" fmla="*/ 127876 h 417"/>
                      <a:gd name="T60" fmla="*/ 334701 w 417"/>
                      <a:gd name="T61" fmla="*/ 225729 h 417"/>
                      <a:gd name="T62" fmla="*/ 236848 w 417"/>
                      <a:gd name="T63" fmla="*/ 324693 h 4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17" h="417">
                        <a:moveTo>
                          <a:pt x="381" y="203"/>
                        </a:moveTo>
                        <a:lnTo>
                          <a:pt x="381" y="203"/>
                        </a:lnTo>
                        <a:cubicBezTo>
                          <a:pt x="381" y="177"/>
                          <a:pt x="399" y="159"/>
                          <a:pt x="416" y="141"/>
                        </a:cubicBezTo>
                        <a:cubicBezTo>
                          <a:pt x="416" y="132"/>
                          <a:pt x="408" y="115"/>
                          <a:pt x="408" y="106"/>
                        </a:cubicBezTo>
                        <a:cubicBezTo>
                          <a:pt x="372" y="115"/>
                          <a:pt x="354" y="97"/>
                          <a:pt x="337" y="79"/>
                        </a:cubicBezTo>
                        <a:cubicBezTo>
                          <a:pt x="319" y="62"/>
                          <a:pt x="310" y="44"/>
                          <a:pt x="319" y="17"/>
                        </a:cubicBezTo>
                        <a:cubicBezTo>
                          <a:pt x="310" y="9"/>
                          <a:pt x="293" y="0"/>
                          <a:pt x="275" y="0"/>
                        </a:cubicBezTo>
                        <a:cubicBezTo>
                          <a:pt x="266" y="17"/>
                          <a:pt x="240" y="35"/>
                          <a:pt x="213" y="35"/>
                        </a:cubicBezTo>
                        <a:cubicBezTo>
                          <a:pt x="187" y="35"/>
                          <a:pt x="160" y="17"/>
                          <a:pt x="151" y="0"/>
                        </a:cubicBezTo>
                        <a:cubicBezTo>
                          <a:pt x="133" y="0"/>
                          <a:pt x="116" y="9"/>
                          <a:pt x="107" y="17"/>
                        </a:cubicBezTo>
                        <a:cubicBezTo>
                          <a:pt x="116" y="44"/>
                          <a:pt x="107" y="62"/>
                          <a:pt x="89" y="79"/>
                        </a:cubicBezTo>
                        <a:cubicBezTo>
                          <a:pt x="72" y="97"/>
                          <a:pt x="44" y="115"/>
                          <a:pt x="18" y="106"/>
                        </a:cubicBezTo>
                        <a:cubicBezTo>
                          <a:pt x="18" y="115"/>
                          <a:pt x="9" y="132"/>
                          <a:pt x="0" y="141"/>
                        </a:cubicBezTo>
                        <a:cubicBezTo>
                          <a:pt x="27" y="159"/>
                          <a:pt x="44" y="177"/>
                          <a:pt x="44" y="203"/>
                        </a:cubicBezTo>
                        <a:cubicBezTo>
                          <a:pt x="44" y="230"/>
                          <a:pt x="27" y="256"/>
                          <a:pt x="0" y="275"/>
                        </a:cubicBezTo>
                        <a:cubicBezTo>
                          <a:pt x="9" y="283"/>
                          <a:pt x="18" y="301"/>
                          <a:pt x="18" y="310"/>
                        </a:cubicBezTo>
                        <a:cubicBezTo>
                          <a:pt x="44" y="310"/>
                          <a:pt x="72" y="310"/>
                          <a:pt x="89" y="328"/>
                        </a:cubicBezTo>
                        <a:cubicBezTo>
                          <a:pt x="107" y="345"/>
                          <a:pt x="116" y="372"/>
                          <a:pt x="107" y="398"/>
                        </a:cubicBezTo>
                        <a:cubicBezTo>
                          <a:pt x="116" y="407"/>
                          <a:pt x="133" y="407"/>
                          <a:pt x="151" y="416"/>
                        </a:cubicBezTo>
                        <a:cubicBezTo>
                          <a:pt x="160" y="389"/>
                          <a:pt x="187" y="372"/>
                          <a:pt x="213" y="372"/>
                        </a:cubicBezTo>
                        <a:cubicBezTo>
                          <a:pt x="240" y="372"/>
                          <a:pt x="266" y="389"/>
                          <a:pt x="275" y="416"/>
                        </a:cubicBezTo>
                        <a:cubicBezTo>
                          <a:pt x="293" y="407"/>
                          <a:pt x="310" y="407"/>
                          <a:pt x="319" y="398"/>
                        </a:cubicBezTo>
                        <a:cubicBezTo>
                          <a:pt x="310" y="372"/>
                          <a:pt x="319" y="345"/>
                          <a:pt x="337" y="328"/>
                        </a:cubicBezTo>
                        <a:cubicBezTo>
                          <a:pt x="354" y="310"/>
                          <a:pt x="372" y="301"/>
                          <a:pt x="408" y="310"/>
                        </a:cubicBezTo>
                        <a:cubicBezTo>
                          <a:pt x="408" y="292"/>
                          <a:pt x="416" y="283"/>
                          <a:pt x="416" y="265"/>
                        </a:cubicBezTo>
                        <a:cubicBezTo>
                          <a:pt x="399" y="256"/>
                          <a:pt x="381" y="230"/>
                          <a:pt x="381" y="203"/>
                        </a:cubicBezTo>
                        <a:close/>
                        <a:moveTo>
                          <a:pt x="213" y="292"/>
                        </a:moveTo>
                        <a:lnTo>
                          <a:pt x="213" y="292"/>
                        </a:lnTo>
                        <a:cubicBezTo>
                          <a:pt x="160" y="292"/>
                          <a:pt x="125" y="256"/>
                          <a:pt x="125" y="203"/>
                        </a:cubicBezTo>
                        <a:cubicBezTo>
                          <a:pt x="125" y="159"/>
                          <a:pt x="160" y="115"/>
                          <a:pt x="213" y="115"/>
                        </a:cubicBezTo>
                        <a:cubicBezTo>
                          <a:pt x="266" y="115"/>
                          <a:pt x="301" y="159"/>
                          <a:pt x="301" y="203"/>
                        </a:cubicBezTo>
                        <a:cubicBezTo>
                          <a:pt x="301" y="256"/>
                          <a:pt x="266" y="292"/>
                          <a:pt x="213" y="292"/>
                        </a:cubicBezTo>
                        <a:close/>
                      </a:path>
                    </a:pathLst>
                  </a:custGeom>
                  <a:solidFill>
                    <a:schemeClr val="bg1"/>
                  </a:solidFill>
                  <a:ln>
                    <a:noFill/>
                  </a:ln>
                  <a:effectLst/>
                  <a:extLst>
                    <a:ext uri="{91240B29-F687-4F45-9708-019B960494DF}">
                      <a14:hiddenLine xmlns:a14="http://schemas.microsoft.com/office/drawing/2010/main" xmlns="" w="9525">
                        <a:solidFill>
                          <a:srgbClr val="808080"/>
                        </a:solidFill>
                        <a:bevel/>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anchor="ctr"/>
                  <a:lstStyle/>
                  <a:p>
                    <a:endParaRPr lang="zh-CN" altLang="en-US">
                      <a:solidFill>
                        <a:schemeClr val="tx1">
                          <a:lumMod val="50000"/>
                          <a:lumOff val="50000"/>
                        </a:schemeClr>
                      </a:solidFill>
                    </a:endParaRPr>
                  </a:p>
                </p:txBody>
              </p:sp>
            </p:grpSp>
          </p:grpSp>
        </p:grpSp>
      </p:gr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style.rotation</p:attrName>
                                        </p:attrNameLst>
                                      </p:cBhvr>
                                      <p:tavLst>
                                        <p:tav tm="0">
                                          <p:val>
                                            <p:fltVal val="90"/>
                                          </p:val>
                                        </p:tav>
                                        <p:tav tm="100000">
                                          <p:val>
                                            <p:fltVal val="0"/>
                                          </p:val>
                                        </p:tav>
                                      </p:tavLst>
                                    </p:anim>
                                    <p:animEffect transition="in" filter="fade">
                                      <p:cBhvr>
                                        <p:cTn id="10" dur="1000"/>
                                        <p:tgtEl>
                                          <p:spTgt spid="9"/>
                                        </p:tgtEl>
                                      </p:cBhvr>
                                    </p:animEffect>
                                  </p:childTnLst>
                                </p:cTn>
                              </p:par>
                            </p:childTnLst>
                          </p:cTn>
                        </p:par>
                        <p:par>
                          <p:cTn id="11" fill="hold">
                            <p:stCondLst>
                              <p:cond delay="1000"/>
                            </p:stCondLst>
                            <p:childTnLst>
                              <p:par>
                                <p:cTn id="12" presetID="18" presetClass="entr" presetSubtype="12"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strips(downLeft)">
                                      <p:cBhvr>
                                        <p:cTn id="14" dur="500"/>
                                        <p:tgtEl>
                                          <p:spTgt spid="22"/>
                                        </p:tgtEl>
                                      </p:cBhvr>
                                    </p:animEffect>
                                  </p:childTnLst>
                                </p:cTn>
                              </p:par>
                            </p:childTnLst>
                          </p:cTn>
                        </p:par>
                        <p:par>
                          <p:cTn id="15" fill="hold">
                            <p:stCondLst>
                              <p:cond delay="1500"/>
                            </p:stCondLst>
                            <p:childTnLst>
                              <p:par>
                                <p:cTn id="16" presetID="53" presetClass="entr" presetSubtype="16" fill="hold" grpId="0" nodeType="afterEffect">
                                  <p:stCondLst>
                                    <p:cond delay="0"/>
                                  </p:stCondLst>
                                  <p:childTnLst>
                                    <p:set>
                                      <p:cBhvr>
                                        <p:cTn id="17" dur="1" fill="hold">
                                          <p:stCondLst>
                                            <p:cond delay="0"/>
                                          </p:stCondLst>
                                        </p:cTn>
                                        <p:tgtEl>
                                          <p:spTgt spid="99377"/>
                                        </p:tgtEl>
                                        <p:attrNameLst>
                                          <p:attrName>style.visibility</p:attrName>
                                        </p:attrNameLst>
                                      </p:cBhvr>
                                      <p:to>
                                        <p:strVal val="visible"/>
                                      </p:to>
                                    </p:set>
                                    <p:anim calcmode="lin" valueType="num">
                                      <p:cBhvr>
                                        <p:cTn id="18" dur="500" fill="hold"/>
                                        <p:tgtEl>
                                          <p:spTgt spid="99377"/>
                                        </p:tgtEl>
                                        <p:attrNameLst>
                                          <p:attrName>ppt_w</p:attrName>
                                        </p:attrNameLst>
                                      </p:cBhvr>
                                      <p:tavLst>
                                        <p:tav tm="0">
                                          <p:val>
                                            <p:fltVal val="0"/>
                                          </p:val>
                                        </p:tav>
                                        <p:tav tm="100000">
                                          <p:val>
                                            <p:strVal val="#ppt_w"/>
                                          </p:val>
                                        </p:tav>
                                      </p:tavLst>
                                    </p:anim>
                                    <p:anim calcmode="lin" valueType="num">
                                      <p:cBhvr>
                                        <p:cTn id="19" dur="500" fill="hold"/>
                                        <p:tgtEl>
                                          <p:spTgt spid="99377"/>
                                        </p:tgtEl>
                                        <p:attrNameLst>
                                          <p:attrName>ppt_h</p:attrName>
                                        </p:attrNameLst>
                                      </p:cBhvr>
                                      <p:tavLst>
                                        <p:tav tm="0">
                                          <p:val>
                                            <p:fltVal val="0"/>
                                          </p:val>
                                        </p:tav>
                                        <p:tav tm="100000">
                                          <p:val>
                                            <p:strVal val="#ppt_h"/>
                                          </p:val>
                                        </p:tav>
                                      </p:tavLst>
                                    </p:anim>
                                    <p:animEffect transition="in" filter="fade">
                                      <p:cBhvr>
                                        <p:cTn id="20" dur="500"/>
                                        <p:tgtEl>
                                          <p:spTgt spid="99377"/>
                                        </p:tgtEl>
                                      </p:cBhvr>
                                    </p:animEffect>
                                  </p:childTnLst>
                                </p:cTn>
                              </p:par>
                            </p:childTnLst>
                          </p:cTn>
                        </p:par>
                        <p:par>
                          <p:cTn id="21" fill="hold">
                            <p:stCondLst>
                              <p:cond delay="2000"/>
                            </p:stCondLst>
                            <p:childTnLst>
                              <p:par>
                                <p:cTn id="22" presetID="18" presetClass="entr" presetSubtype="6" fill="hold" nodeType="after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strips(downRight)">
                                      <p:cBhvr>
                                        <p:cTn id="24" dur="500"/>
                                        <p:tgtEl>
                                          <p:spTgt spid="25"/>
                                        </p:tgtEl>
                                      </p:cBhvr>
                                    </p:animEffect>
                                  </p:childTnLst>
                                </p:cTn>
                              </p:par>
                            </p:childTnLst>
                          </p:cTn>
                        </p:par>
                        <p:par>
                          <p:cTn id="25" fill="hold">
                            <p:stCondLst>
                              <p:cond delay="2500"/>
                            </p:stCondLst>
                            <p:childTnLst>
                              <p:par>
                                <p:cTn id="26" presetID="53" presetClass="entr" presetSubtype="16" fill="hold" grpId="0" nodeType="after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p:cTn id="28" dur="500" fill="hold"/>
                                        <p:tgtEl>
                                          <p:spTgt spid="11"/>
                                        </p:tgtEl>
                                        <p:attrNameLst>
                                          <p:attrName>ppt_w</p:attrName>
                                        </p:attrNameLst>
                                      </p:cBhvr>
                                      <p:tavLst>
                                        <p:tav tm="0">
                                          <p:val>
                                            <p:fltVal val="0"/>
                                          </p:val>
                                        </p:tav>
                                        <p:tav tm="100000">
                                          <p:val>
                                            <p:strVal val="#ppt_w"/>
                                          </p:val>
                                        </p:tav>
                                      </p:tavLst>
                                    </p:anim>
                                    <p:anim calcmode="lin" valueType="num">
                                      <p:cBhvr>
                                        <p:cTn id="29" dur="500" fill="hold"/>
                                        <p:tgtEl>
                                          <p:spTgt spid="11"/>
                                        </p:tgtEl>
                                        <p:attrNameLst>
                                          <p:attrName>ppt_h</p:attrName>
                                        </p:attrNameLst>
                                      </p:cBhvr>
                                      <p:tavLst>
                                        <p:tav tm="0">
                                          <p:val>
                                            <p:fltVal val="0"/>
                                          </p:val>
                                        </p:tav>
                                        <p:tav tm="100000">
                                          <p:val>
                                            <p:strVal val="#ppt_h"/>
                                          </p:val>
                                        </p:tav>
                                      </p:tavLst>
                                    </p:anim>
                                    <p:animEffect transition="in" filter="fade">
                                      <p:cBhvr>
                                        <p:cTn id="30" dur="500"/>
                                        <p:tgtEl>
                                          <p:spTgt spid="11"/>
                                        </p:tgtEl>
                                      </p:cBhvr>
                                    </p:animEffect>
                                  </p:childTnLst>
                                </p:cTn>
                              </p:par>
                            </p:childTnLst>
                          </p:cTn>
                        </p:par>
                        <p:par>
                          <p:cTn id="31" fill="hold">
                            <p:stCondLst>
                              <p:cond delay="3000"/>
                            </p:stCondLst>
                            <p:childTnLst>
                              <p:par>
                                <p:cTn id="32" presetID="18" presetClass="entr" presetSubtype="12" fill="hold" nodeType="after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strips(downLeft)">
                                      <p:cBhvr>
                                        <p:cTn id="34" dur="500"/>
                                        <p:tgtEl>
                                          <p:spTgt spid="34"/>
                                        </p:tgtEl>
                                      </p:cBhvr>
                                    </p:animEffect>
                                  </p:childTnLst>
                                </p:cTn>
                              </p:par>
                            </p:childTnLst>
                          </p:cTn>
                        </p:par>
                        <p:par>
                          <p:cTn id="35" fill="hold">
                            <p:stCondLst>
                              <p:cond delay="3500"/>
                            </p:stCondLst>
                            <p:childTnLst>
                              <p:par>
                                <p:cTn id="36" presetID="53" presetClass="entr" presetSubtype="16" fill="hold" grpId="0" nodeType="afterEffect">
                                  <p:stCondLst>
                                    <p:cond delay="0"/>
                                  </p:stCondLst>
                                  <p:childTnLst>
                                    <p:set>
                                      <p:cBhvr>
                                        <p:cTn id="37" dur="1" fill="hold">
                                          <p:stCondLst>
                                            <p:cond delay="0"/>
                                          </p:stCondLst>
                                        </p:cTn>
                                        <p:tgtEl>
                                          <p:spTgt spid="99381"/>
                                        </p:tgtEl>
                                        <p:attrNameLst>
                                          <p:attrName>style.visibility</p:attrName>
                                        </p:attrNameLst>
                                      </p:cBhvr>
                                      <p:to>
                                        <p:strVal val="visible"/>
                                      </p:to>
                                    </p:set>
                                    <p:anim calcmode="lin" valueType="num">
                                      <p:cBhvr>
                                        <p:cTn id="38" dur="500" fill="hold"/>
                                        <p:tgtEl>
                                          <p:spTgt spid="99381"/>
                                        </p:tgtEl>
                                        <p:attrNameLst>
                                          <p:attrName>ppt_w</p:attrName>
                                        </p:attrNameLst>
                                      </p:cBhvr>
                                      <p:tavLst>
                                        <p:tav tm="0">
                                          <p:val>
                                            <p:fltVal val="0"/>
                                          </p:val>
                                        </p:tav>
                                        <p:tav tm="100000">
                                          <p:val>
                                            <p:strVal val="#ppt_w"/>
                                          </p:val>
                                        </p:tav>
                                      </p:tavLst>
                                    </p:anim>
                                    <p:anim calcmode="lin" valueType="num">
                                      <p:cBhvr>
                                        <p:cTn id="39" dur="500" fill="hold"/>
                                        <p:tgtEl>
                                          <p:spTgt spid="99381"/>
                                        </p:tgtEl>
                                        <p:attrNameLst>
                                          <p:attrName>ppt_h</p:attrName>
                                        </p:attrNameLst>
                                      </p:cBhvr>
                                      <p:tavLst>
                                        <p:tav tm="0">
                                          <p:val>
                                            <p:fltVal val="0"/>
                                          </p:val>
                                        </p:tav>
                                        <p:tav tm="100000">
                                          <p:val>
                                            <p:strVal val="#ppt_h"/>
                                          </p:val>
                                        </p:tav>
                                      </p:tavLst>
                                    </p:anim>
                                    <p:animEffect transition="in" filter="fade">
                                      <p:cBhvr>
                                        <p:cTn id="40" dur="500"/>
                                        <p:tgtEl>
                                          <p:spTgt spid="99381"/>
                                        </p:tgtEl>
                                      </p:cBhvr>
                                    </p:animEffect>
                                  </p:childTnLst>
                                </p:cTn>
                              </p:par>
                            </p:childTnLst>
                          </p:cTn>
                        </p:par>
                        <p:par>
                          <p:cTn id="41" fill="hold">
                            <p:stCondLst>
                              <p:cond delay="4000"/>
                            </p:stCondLst>
                            <p:childTnLst>
                              <p:par>
                                <p:cTn id="42" presetID="18" presetClass="entr" presetSubtype="6" fill="hold" nodeType="afterEffect">
                                  <p:stCondLst>
                                    <p:cond delay="0"/>
                                  </p:stCondLst>
                                  <p:childTnLst>
                                    <p:set>
                                      <p:cBhvr>
                                        <p:cTn id="43" dur="1" fill="hold">
                                          <p:stCondLst>
                                            <p:cond delay="0"/>
                                          </p:stCondLst>
                                        </p:cTn>
                                        <p:tgtEl>
                                          <p:spTgt spid="35"/>
                                        </p:tgtEl>
                                        <p:attrNameLst>
                                          <p:attrName>style.visibility</p:attrName>
                                        </p:attrNameLst>
                                      </p:cBhvr>
                                      <p:to>
                                        <p:strVal val="visible"/>
                                      </p:to>
                                    </p:set>
                                    <p:animEffect transition="in" filter="strips(downRight)">
                                      <p:cBhvr>
                                        <p:cTn id="44" dur="500"/>
                                        <p:tgtEl>
                                          <p:spTgt spid="35"/>
                                        </p:tgtEl>
                                      </p:cBhvr>
                                    </p:animEffect>
                                  </p:childTnLst>
                                </p:cTn>
                              </p:par>
                            </p:childTnLst>
                          </p:cTn>
                        </p:par>
                        <p:par>
                          <p:cTn id="45" fill="hold">
                            <p:stCondLst>
                              <p:cond delay="4500"/>
                            </p:stCondLst>
                            <p:childTnLst>
                              <p:par>
                                <p:cTn id="46" presetID="53" presetClass="entr" presetSubtype="16" fill="hold" grpId="0" nodeType="afterEffect">
                                  <p:stCondLst>
                                    <p:cond delay="0"/>
                                  </p:stCondLst>
                                  <p:childTnLst>
                                    <p:set>
                                      <p:cBhvr>
                                        <p:cTn id="47" dur="1" fill="hold">
                                          <p:stCondLst>
                                            <p:cond delay="0"/>
                                          </p:stCondLst>
                                        </p:cTn>
                                        <p:tgtEl>
                                          <p:spTgt spid="99373"/>
                                        </p:tgtEl>
                                        <p:attrNameLst>
                                          <p:attrName>style.visibility</p:attrName>
                                        </p:attrNameLst>
                                      </p:cBhvr>
                                      <p:to>
                                        <p:strVal val="visible"/>
                                      </p:to>
                                    </p:set>
                                    <p:anim calcmode="lin" valueType="num">
                                      <p:cBhvr>
                                        <p:cTn id="48" dur="500" fill="hold"/>
                                        <p:tgtEl>
                                          <p:spTgt spid="99373"/>
                                        </p:tgtEl>
                                        <p:attrNameLst>
                                          <p:attrName>ppt_w</p:attrName>
                                        </p:attrNameLst>
                                      </p:cBhvr>
                                      <p:tavLst>
                                        <p:tav tm="0">
                                          <p:val>
                                            <p:fltVal val="0"/>
                                          </p:val>
                                        </p:tav>
                                        <p:tav tm="100000">
                                          <p:val>
                                            <p:strVal val="#ppt_w"/>
                                          </p:val>
                                        </p:tav>
                                      </p:tavLst>
                                    </p:anim>
                                    <p:anim calcmode="lin" valueType="num">
                                      <p:cBhvr>
                                        <p:cTn id="49" dur="500" fill="hold"/>
                                        <p:tgtEl>
                                          <p:spTgt spid="99373"/>
                                        </p:tgtEl>
                                        <p:attrNameLst>
                                          <p:attrName>ppt_h</p:attrName>
                                        </p:attrNameLst>
                                      </p:cBhvr>
                                      <p:tavLst>
                                        <p:tav tm="0">
                                          <p:val>
                                            <p:fltVal val="0"/>
                                          </p:val>
                                        </p:tav>
                                        <p:tav tm="100000">
                                          <p:val>
                                            <p:strVal val="#ppt_h"/>
                                          </p:val>
                                        </p:tav>
                                      </p:tavLst>
                                    </p:anim>
                                    <p:animEffect transition="in" filter="fade">
                                      <p:cBhvr>
                                        <p:cTn id="50" dur="500"/>
                                        <p:tgtEl>
                                          <p:spTgt spid="99373"/>
                                        </p:tgtEl>
                                      </p:cBhvr>
                                    </p:animEffect>
                                  </p:childTnLst>
                                </p:cTn>
                              </p:par>
                            </p:childTnLst>
                          </p:cTn>
                        </p:par>
                        <p:par>
                          <p:cTn id="51" fill="hold">
                            <p:stCondLst>
                              <p:cond delay="5000"/>
                            </p:stCondLst>
                            <p:childTnLst>
                              <p:par>
                                <p:cTn id="52" presetID="18" presetClass="entr" presetSubtype="12" fill="hold" nodeType="after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strips(downLeft)">
                                      <p:cBhvr>
                                        <p:cTn id="54" dur="500"/>
                                        <p:tgtEl>
                                          <p:spTgt spid="28"/>
                                        </p:tgtEl>
                                      </p:cBhvr>
                                    </p:animEffect>
                                  </p:childTnLst>
                                </p:cTn>
                              </p:par>
                            </p:childTnLst>
                          </p:cTn>
                        </p:par>
                        <p:par>
                          <p:cTn id="55" fill="hold">
                            <p:stCondLst>
                              <p:cond delay="5500"/>
                            </p:stCondLst>
                            <p:childTnLst>
                              <p:par>
                                <p:cTn id="56" presetID="53" presetClass="entr" presetSubtype="16" fill="hold" grpId="0" nodeType="afterEffect">
                                  <p:stCondLst>
                                    <p:cond delay="0"/>
                                  </p:stCondLst>
                                  <p:childTnLst>
                                    <p:set>
                                      <p:cBhvr>
                                        <p:cTn id="57" dur="1" fill="hold">
                                          <p:stCondLst>
                                            <p:cond delay="0"/>
                                          </p:stCondLst>
                                        </p:cTn>
                                        <p:tgtEl>
                                          <p:spTgt spid="99375"/>
                                        </p:tgtEl>
                                        <p:attrNameLst>
                                          <p:attrName>style.visibility</p:attrName>
                                        </p:attrNameLst>
                                      </p:cBhvr>
                                      <p:to>
                                        <p:strVal val="visible"/>
                                      </p:to>
                                    </p:set>
                                    <p:anim calcmode="lin" valueType="num">
                                      <p:cBhvr>
                                        <p:cTn id="58" dur="500" fill="hold"/>
                                        <p:tgtEl>
                                          <p:spTgt spid="99375"/>
                                        </p:tgtEl>
                                        <p:attrNameLst>
                                          <p:attrName>ppt_w</p:attrName>
                                        </p:attrNameLst>
                                      </p:cBhvr>
                                      <p:tavLst>
                                        <p:tav tm="0">
                                          <p:val>
                                            <p:fltVal val="0"/>
                                          </p:val>
                                        </p:tav>
                                        <p:tav tm="100000">
                                          <p:val>
                                            <p:strVal val="#ppt_w"/>
                                          </p:val>
                                        </p:tav>
                                      </p:tavLst>
                                    </p:anim>
                                    <p:anim calcmode="lin" valueType="num">
                                      <p:cBhvr>
                                        <p:cTn id="59" dur="500" fill="hold"/>
                                        <p:tgtEl>
                                          <p:spTgt spid="99375"/>
                                        </p:tgtEl>
                                        <p:attrNameLst>
                                          <p:attrName>ppt_h</p:attrName>
                                        </p:attrNameLst>
                                      </p:cBhvr>
                                      <p:tavLst>
                                        <p:tav tm="0">
                                          <p:val>
                                            <p:fltVal val="0"/>
                                          </p:val>
                                        </p:tav>
                                        <p:tav tm="100000">
                                          <p:val>
                                            <p:strVal val="#ppt_h"/>
                                          </p:val>
                                        </p:tav>
                                      </p:tavLst>
                                    </p:anim>
                                    <p:animEffect transition="in" filter="fade">
                                      <p:cBhvr>
                                        <p:cTn id="60" dur="500"/>
                                        <p:tgtEl>
                                          <p:spTgt spid="99375"/>
                                        </p:tgtEl>
                                      </p:cBhvr>
                                    </p:animEffect>
                                  </p:childTnLst>
                                </p:cTn>
                              </p:par>
                            </p:childTnLst>
                          </p:cTn>
                        </p:par>
                        <p:par>
                          <p:cTn id="61" fill="hold">
                            <p:stCondLst>
                              <p:cond delay="6000"/>
                            </p:stCondLst>
                            <p:childTnLst>
                              <p:par>
                                <p:cTn id="62" presetID="18" presetClass="entr" presetSubtype="3" fill="hold" nodeType="after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strips(upRight)">
                                      <p:cBhvr>
                                        <p:cTn id="64" dur="500"/>
                                        <p:tgtEl>
                                          <p:spTgt spid="31"/>
                                        </p:tgtEl>
                                      </p:cBhvr>
                                    </p:animEffect>
                                  </p:childTnLst>
                                </p:cTn>
                              </p:par>
                            </p:childTnLst>
                          </p:cTn>
                        </p:par>
                        <p:par>
                          <p:cTn id="65" fill="hold">
                            <p:stCondLst>
                              <p:cond delay="6500"/>
                            </p:stCondLst>
                            <p:childTnLst>
                              <p:par>
                                <p:cTn id="66" presetID="53" presetClass="entr" presetSubtype="16" fill="hold" grpId="0" nodeType="afterEffect">
                                  <p:stCondLst>
                                    <p:cond delay="0"/>
                                  </p:stCondLst>
                                  <p:childTnLst>
                                    <p:set>
                                      <p:cBhvr>
                                        <p:cTn id="67" dur="1" fill="hold">
                                          <p:stCondLst>
                                            <p:cond delay="0"/>
                                          </p:stCondLst>
                                        </p:cTn>
                                        <p:tgtEl>
                                          <p:spTgt spid="99383"/>
                                        </p:tgtEl>
                                        <p:attrNameLst>
                                          <p:attrName>style.visibility</p:attrName>
                                        </p:attrNameLst>
                                      </p:cBhvr>
                                      <p:to>
                                        <p:strVal val="visible"/>
                                      </p:to>
                                    </p:set>
                                    <p:anim calcmode="lin" valueType="num">
                                      <p:cBhvr>
                                        <p:cTn id="68" dur="500" fill="hold"/>
                                        <p:tgtEl>
                                          <p:spTgt spid="99383"/>
                                        </p:tgtEl>
                                        <p:attrNameLst>
                                          <p:attrName>ppt_w</p:attrName>
                                        </p:attrNameLst>
                                      </p:cBhvr>
                                      <p:tavLst>
                                        <p:tav tm="0">
                                          <p:val>
                                            <p:fltVal val="0"/>
                                          </p:val>
                                        </p:tav>
                                        <p:tav tm="100000">
                                          <p:val>
                                            <p:strVal val="#ppt_w"/>
                                          </p:val>
                                        </p:tav>
                                      </p:tavLst>
                                    </p:anim>
                                    <p:anim calcmode="lin" valueType="num">
                                      <p:cBhvr>
                                        <p:cTn id="69" dur="500" fill="hold"/>
                                        <p:tgtEl>
                                          <p:spTgt spid="99383"/>
                                        </p:tgtEl>
                                        <p:attrNameLst>
                                          <p:attrName>ppt_h</p:attrName>
                                        </p:attrNameLst>
                                      </p:cBhvr>
                                      <p:tavLst>
                                        <p:tav tm="0">
                                          <p:val>
                                            <p:fltVal val="0"/>
                                          </p:val>
                                        </p:tav>
                                        <p:tav tm="100000">
                                          <p:val>
                                            <p:strVal val="#ppt_h"/>
                                          </p:val>
                                        </p:tav>
                                      </p:tavLst>
                                    </p:anim>
                                    <p:animEffect transition="in" filter="fade">
                                      <p:cBhvr>
                                        <p:cTn id="70" dur="500"/>
                                        <p:tgtEl>
                                          <p:spTgt spid="993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383" grpId="0"/>
      <p:bldP spid="99381" grpId="0"/>
      <p:bldP spid="11" grpId="0"/>
      <p:bldP spid="99377" grpId="0"/>
      <p:bldP spid="99375" grpId="0"/>
      <p:bldP spid="9937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7" name="AutoShape 5"/>
          <p:cNvSpPr/>
          <p:nvPr/>
        </p:nvSpPr>
        <p:spPr bwMode="auto">
          <a:xfrm>
            <a:off x="1514236" y="1362144"/>
            <a:ext cx="9406301" cy="4754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lgn="ctr"/>
            <a:r>
              <a:rPr lang="zh-CN" altLang="en-US" sz="1200" dirty="0">
                <a:solidFill>
                  <a:schemeClr val="tx1">
                    <a:lumMod val="50000"/>
                    <a:lumOff val="50000"/>
                  </a:schemeClr>
                </a:solidFill>
                <a:latin typeface="+mn-ea"/>
              </a:rPr>
              <a:t>此处添加详细文本描述，建议与标题相关并符合整体语言风格，语言描述尽量简洁生动。尽量将每页幻灯片的字数控制在</a:t>
            </a:r>
            <a:r>
              <a:rPr lang="en-US" altLang="zh-CN" sz="1200" dirty="0">
                <a:solidFill>
                  <a:schemeClr val="tx1">
                    <a:lumMod val="50000"/>
                    <a:lumOff val="50000"/>
                  </a:schemeClr>
                </a:solidFill>
                <a:latin typeface="+mn-ea"/>
              </a:rPr>
              <a:t>200</a:t>
            </a:r>
            <a:r>
              <a:rPr lang="zh-CN" altLang="en-US" sz="1200" dirty="0">
                <a:solidFill>
                  <a:schemeClr val="tx1">
                    <a:lumMod val="50000"/>
                    <a:lumOff val="50000"/>
                  </a:schemeClr>
                </a:solidFill>
                <a:latin typeface="+mn-ea"/>
              </a:rPr>
              <a:t>字以内，据统计每页幻灯片的最好控制在</a:t>
            </a:r>
            <a:r>
              <a:rPr lang="en-US" altLang="zh-CN" sz="1200" dirty="0">
                <a:solidFill>
                  <a:schemeClr val="tx1">
                    <a:lumMod val="50000"/>
                    <a:lumOff val="50000"/>
                  </a:schemeClr>
                </a:solidFill>
                <a:latin typeface="+mn-ea"/>
              </a:rPr>
              <a:t>5</a:t>
            </a:r>
            <a:r>
              <a:rPr lang="zh-CN" altLang="en-US" sz="1200" dirty="0">
                <a:solidFill>
                  <a:schemeClr val="tx1">
                    <a:lumMod val="50000"/>
                    <a:lumOff val="50000"/>
                  </a:schemeClr>
                </a:solidFill>
                <a:latin typeface="+mn-ea"/>
              </a:rPr>
              <a:t>分钟之内。此处添加详细文本描述，建议与标题相关并符合整体语言风格，语言描述尽量简洁生动。尽量将每页幻灯片的字数控制在</a:t>
            </a:r>
            <a:r>
              <a:rPr lang="en-US" altLang="zh-CN" sz="1200" dirty="0">
                <a:solidFill>
                  <a:schemeClr val="tx1">
                    <a:lumMod val="50000"/>
                    <a:lumOff val="50000"/>
                  </a:schemeClr>
                </a:solidFill>
                <a:latin typeface="+mn-ea"/>
              </a:rPr>
              <a:t>200</a:t>
            </a:r>
            <a:r>
              <a:rPr lang="zh-CN" altLang="en-US" sz="1200" dirty="0">
                <a:solidFill>
                  <a:schemeClr val="tx1">
                    <a:lumMod val="50000"/>
                    <a:lumOff val="50000"/>
                  </a:schemeClr>
                </a:solidFill>
                <a:latin typeface="+mn-ea"/>
              </a:rPr>
              <a:t>字以内，据统计每页幻灯片的最好控制在</a:t>
            </a:r>
            <a:r>
              <a:rPr lang="en-US" altLang="zh-CN" sz="1200" dirty="0">
                <a:solidFill>
                  <a:schemeClr val="tx1">
                    <a:lumMod val="50000"/>
                    <a:lumOff val="50000"/>
                  </a:schemeClr>
                </a:solidFill>
                <a:latin typeface="+mn-ea"/>
              </a:rPr>
              <a:t>5</a:t>
            </a:r>
            <a:r>
              <a:rPr lang="zh-CN" altLang="en-US" sz="1200" dirty="0">
                <a:solidFill>
                  <a:schemeClr val="tx1">
                    <a:lumMod val="50000"/>
                    <a:lumOff val="50000"/>
                  </a:schemeClr>
                </a:solidFill>
                <a:latin typeface="+mn-ea"/>
              </a:rPr>
              <a:t>分钟之内。</a:t>
            </a:r>
          </a:p>
        </p:txBody>
      </p:sp>
      <p:sp>
        <p:nvSpPr>
          <p:cNvPr id="38918" name="AutoShape 6"/>
          <p:cNvSpPr/>
          <p:nvPr/>
        </p:nvSpPr>
        <p:spPr bwMode="auto">
          <a:xfrm flipH="1">
            <a:off x="7576902" y="4232299"/>
            <a:ext cx="1826181" cy="1824831"/>
          </a:xfrm>
          <a:custGeom>
            <a:avLst/>
            <a:gdLst>
              <a:gd name="T0" fmla="*/ 1826419 w 21600"/>
              <a:gd name="T1" fmla="*/ 1824832 h 21600"/>
              <a:gd name="T2" fmla="*/ 1826419 w 21600"/>
              <a:gd name="T3" fmla="*/ 1824832 h 21600"/>
              <a:gd name="T4" fmla="*/ 1826419 w 21600"/>
              <a:gd name="T5" fmla="*/ 1824832 h 21600"/>
              <a:gd name="T6" fmla="*/ 1826419 w 21600"/>
              <a:gd name="T7" fmla="*/ 182483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3006" y="6511"/>
                </a:moveTo>
                <a:cubicBezTo>
                  <a:pt x="5261" y="14770"/>
                  <a:pt x="12461" y="20845"/>
                  <a:pt x="21125" y="21600"/>
                </a:cubicBezTo>
                <a:cubicBezTo>
                  <a:pt x="21600" y="15922"/>
                  <a:pt x="21600" y="15922"/>
                  <a:pt x="21600" y="15922"/>
                </a:cubicBezTo>
                <a:cubicBezTo>
                  <a:pt x="15349" y="15405"/>
                  <a:pt x="10325" y="11117"/>
                  <a:pt x="8545" y="5479"/>
                </a:cubicBezTo>
                <a:cubicBezTo>
                  <a:pt x="11907" y="4844"/>
                  <a:pt x="11907" y="4844"/>
                  <a:pt x="11907" y="4844"/>
                </a:cubicBezTo>
                <a:cubicBezTo>
                  <a:pt x="4826" y="0"/>
                  <a:pt x="4826" y="0"/>
                  <a:pt x="4826" y="0"/>
                </a:cubicBezTo>
                <a:cubicBezTo>
                  <a:pt x="0" y="7107"/>
                  <a:pt x="0" y="7107"/>
                  <a:pt x="0" y="7107"/>
                </a:cubicBezTo>
                <a:lnTo>
                  <a:pt x="3006" y="6511"/>
                </a:lnTo>
                <a:close/>
              </a:path>
            </a:pathLst>
          </a:custGeom>
          <a:solidFill>
            <a:schemeClr val="accent5"/>
          </a:solidFill>
          <a:ln>
            <a:noFill/>
          </a:ln>
          <a:effectLst/>
        </p:spPr>
        <p:txBody>
          <a:bodyPr lIns="22854" tIns="22854" rIns="22854" bIns="22854"/>
          <a:lstStyle/>
          <a:p>
            <a:endParaRPr lang="zh-CN" altLang="en-US">
              <a:solidFill>
                <a:schemeClr val="tx1">
                  <a:lumMod val="50000"/>
                  <a:lumOff val="50000"/>
                </a:schemeClr>
              </a:solidFill>
            </a:endParaRPr>
          </a:p>
        </p:txBody>
      </p:sp>
      <p:sp>
        <p:nvSpPr>
          <p:cNvPr id="38919" name="AutoShape 7"/>
          <p:cNvSpPr/>
          <p:nvPr/>
        </p:nvSpPr>
        <p:spPr bwMode="auto">
          <a:xfrm flipH="1">
            <a:off x="7627697" y="2162199"/>
            <a:ext cx="1696023" cy="1885950"/>
          </a:xfrm>
          <a:custGeom>
            <a:avLst/>
            <a:gdLst>
              <a:gd name="T0" fmla="*/ 1696244 w 21600"/>
              <a:gd name="T1" fmla="*/ 1885950 h 21600"/>
              <a:gd name="T2" fmla="*/ 1696244 w 21600"/>
              <a:gd name="T3" fmla="*/ 1885950 h 21600"/>
              <a:gd name="T4" fmla="*/ 1696244 w 21600"/>
              <a:gd name="T5" fmla="*/ 1885950 h 21600"/>
              <a:gd name="T6" fmla="*/ 1696244 w 21600"/>
              <a:gd name="T7" fmla="*/ 18859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485" y="2877"/>
                </a:moveTo>
                <a:cubicBezTo>
                  <a:pt x="5836" y="5754"/>
                  <a:pt x="0" y="13197"/>
                  <a:pt x="0" y="21599"/>
                </a:cubicBezTo>
                <a:cubicBezTo>
                  <a:pt x="6049" y="21599"/>
                  <a:pt x="6049" y="21599"/>
                  <a:pt x="6049" y="21599"/>
                </a:cubicBezTo>
                <a:cubicBezTo>
                  <a:pt x="6049" y="15538"/>
                  <a:pt x="10224" y="10320"/>
                  <a:pt x="16104" y="8171"/>
                </a:cubicBezTo>
                <a:cubicBezTo>
                  <a:pt x="17084" y="11356"/>
                  <a:pt x="17084" y="11356"/>
                  <a:pt x="17084" y="11356"/>
                </a:cubicBezTo>
                <a:cubicBezTo>
                  <a:pt x="21599" y="4105"/>
                  <a:pt x="21599" y="4105"/>
                  <a:pt x="21599" y="4105"/>
                </a:cubicBezTo>
                <a:cubicBezTo>
                  <a:pt x="13590" y="0"/>
                  <a:pt x="13590" y="0"/>
                  <a:pt x="13590" y="0"/>
                </a:cubicBezTo>
                <a:lnTo>
                  <a:pt x="14485" y="2877"/>
                </a:lnTo>
                <a:close/>
              </a:path>
            </a:pathLst>
          </a:custGeom>
          <a:solidFill>
            <a:schemeClr val="accent1"/>
          </a:solidFill>
          <a:ln>
            <a:noFill/>
          </a:ln>
          <a:effectLst/>
        </p:spPr>
        <p:txBody>
          <a:bodyPr lIns="22854" tIns="22854" rIns="22854" bIns="22854"/>
          <a:lstStyle/>
          <a:p>
            <a:endParaRPr lang="zh-CN" altLang="en-US">
              <a:solidFill>
                <a:schemeClr val="tx1">
                  <a:lumMod val="50000"/>
                  <a:lumOff val="50000"/>
                </a:schemeClr>
              </a:solidFill>
            </a:endParaRPr>
          </a:p>
        </p:txBody>
      </p:sp>
      <p:sp>
        <p:nvSpPr>
          <p:cNvPr id="38920" name="AutoShape 8"/>
          <p:cNvSpPr/>
          <p:nvPr/>
        </p:nvSpPr>
        <p:spPr bwMode="auto">
          <a:xfrm flipH="1">
            <a:off x="5694372" y="4232298"/>
            <a:ext cx="1696023" cy="1888332"/>
          </a:xfrm>
          <a:custGeom>
            <a:avLst/>
            <a:gdLst>
              <a:gd name="T0" fmla="*/ 1696244 w 21600"/>
              <a:gd name="T1" fmla="*/ 1888332 h 21600"/>
              <a:gd name="T2" fmla="*/ 1696244 w 21600"/>
              <a:gd name="T3" fmla="*/ 1888332 h 21600"/>
              <a:gd name="T4" fmla="*/ 1696244 w 21600"/>
              <a:gd name="T5" fmla="*/ 1888332 h 21600"/>
              <a:gd name="T6" fmla="*/ 1696244 w 21600"/>
              <a:gd name="T7" fmla="*/ 188833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7114" y="18722"/>
                </a:moveTo>
                <a:cubicBezTo>
                  <a:pt x="15763" y="15845"/>
                  <a:pt x="21599" y="8402"/>
                  <a:pt x="21599" y="0"/>
                </a:cubicBezTo>
                <a:cubicBezTo>
                  <a:pt x="15507" y="0"/>
                  <a:pt x="15507" y="0"/>
                  <a:pt x="15507" y="0"/>
                </a:cubicBezTo>
                <a:cubicBezTo>
                  <a:pt x="15507" y="6061"/>
                  <a:pt x="11375" y="11279"/>
                  <a:pt x="5495" y="13428"/>
                </a:cubicBezTo>
                <a:cubicBezTo>
                  <a:pt x="4515" y="10282"/>
                  <a:pt x="4515" y="10282"/>
                  <a:pt x="4515" y="10282"/>
                </a:cubicBezTo>
                <a:cubicBezTo>
                  <a:pt x="0" y="17494"/>
                  <a:pt x="0" y="17494"/>
                  <a:pt x="0" y="17494"/>
                </a:cubicBezTo>
                <a:cubicBezTo>
                  <a:pt x="8009" y="21600"/>
                  <a:pt x="8009" y="21600"/>
                  <a:pt x="8009" y="21600"/>
                </a:cubicBezTo>
                <a:lnTo>
                  <a:pt x="7114" y="18722"/>
                </a:lnTo>
                <a:close/>
              </a:path>
            </a:pathLst>
          </a:custGeom>
          <a:solidFill>
            <a:schemeClr val="accent4"/>
          </a:solidFill>
          <a:ln>
            <a:noFill/>
          </a:ln>
          <a:effectLst/>
        </p:spPr>
        <p:txBody>
          <a:bodyPr lIns="22854" tIns="22854" rIns="22854" bIns="22854"/>
          <a:lstStyle/>
          <a:p>
            <a:endParaRPr lang="zh-CN" altLang="en-US">
              <a:solidFill>
                <a:schemeClr val="tx1">
                  <a:lumMod val="50000"/>
                  <a:lumOff val="50000"/>
                </a:schemeClr>
              </a:solidFill>
            </a:endParaRPr>
          </a:p>
        </p:txBody>
      </p:sp>
      <p:sp>
        <p:nvSpPr>
          <p:cNvPr id="38921" name="AutoShape 9"/>
          <p:cNvSpPr/>
          <p:nvPr/>
        </p:nvSpPr>
        <p:spPr bwMode="auto">
          <a:xfrm flipH="1">
            <a:off x="4426124" y="2217762"/>
            <a:ext cx="1882530" cy="1830387"/>
          </a:xfrm>
          <a:custGeom>
            <a:avLst/>
            <a:gdLst>
              <a:gd name="T0" fmla="*/ 1882775 w 21600"/>
              <a:gd name="T1" fmla="*/ 1887972 h 21265"/>
              <a:gd name="T2" fmla="*/ 1882775 w 21600"/>
              <a:gd name="T3" fmla="*/ 1887972 h 21265"/>
              <a:gd name="T4" fmla="*/ 1882775 w 21600"/>
              <a:gd name="T5" fmla="*/ 1887972 h 21265"/>
              <a:gd name="T6" fmla="*/ 1882775 w 21600"/>
              <a:gd name="T7" fmla="*/ 1887972 h 2126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265">
                <a:moveTo>
                  <a:pt x="2762" y="13987"/>
                </a:moveTo>
                <a:cubicBezTo>
                  <a:pt x="5908" y="5308"/>
                  <a:pt x="13389" y="-335"/>
                  <a:pt x="21599" y="15"/>
                </a:cubicBezTo>
                <a:cubicBezTo>
                  <a:pt x="21369" y="6164"/>
                  <a:pt x="21369" y="6164"/>
                  <a:pt x="21369" y="6164"/>
                </a:cubicBezTo>
                <a:cubicBezTo>
                  <a:pt x="15461" y="5930"/>
                  <a:pt x="10205" y="9939"/>
                  <a:pt x="7865" y="15816"/>
                </a:cubicBezTo>
                <a:cubicBezTo>
                  <a:pt x="10934" y="16944"/>
                  <a:pt x="10934" y="16944"/>
                  <a:pt x="10934" y="16944"/>
                </a:cubicBezTo>
                <a:cubicBezTo>
                  <a:pt x="3683" y="21264"/>
                  <a:pt x="3683" y="21264"/>
                  <a:pt x="3683" y="21264"/>
                </a:cubicBezTo>
                <a:cubicBezTo>
                  <a:pt x="0" y="12975"/>
                  <a:pt x="0" y="12975"/>
                  <a:pt x="0" y="12975"/>
                </a:cubicBezTo>
                <a:lnTo>
                  <a:pt x="2762" y="13987"/>
                </a:lnTo>
                <a:close/>
              </a:path>
            </a:pathLst>
          </a:custGeom>
          <a:solidFill>
            <a:schemeClr val="accent3"/>
          </a:solidFill>
          <a:ln>
            <a:noFill/>
          </a:ln>
          <a:effectLst/>
        </p:spPr>
        <p:txBody>
          <a:bodyPr lIns="22854" tIns="22854" rIns="22854" bIns="22854"/>
          <a:lstStyle/>
          <a:p>
            <a:endParaRPr lang="zh-CN" altLang="en-US">
              <a:solidFill>
                <a:schemeClr val="tx1">
                  <a:lumMod val="50000"/>
                  <a:lumOff val="50000"/>
                </a:schemeClr>
              </a:solidFill>
            </a:endParaRPr>
          </a:p>
        </p:txBody>
      </p:sp>
      <p:sp>
        <p:nvSpPr>
          <p:cNvPr id="38922" name="AutoShape 10"/>
          <p:cNvSpPr/>
          <p:nvPr/>
        </p:nvSpPr>
        <p:spPr bwMode="auto">
          <a:xfrm flipH="1">
            <a:off x="2358674" y="2209031"/>
            <a:ext cx="1886498" cy="1839119"/>
          </a:xfrm>
          <a:custGeom>
            <a:avLst/>
            <a:gdLst>
              <a:gd name="T0" fmla="*/ 1886744 w 21600"/>
              <a:gd name="T1" fmla="*/ 1839119 h 21600"/>
              <a:gd name="T2" fmla="*/ 1886744 w 21600"/>
              <a:gd name="T3" fmla="*/ 1839119 h 21600"/>
              <a:gd name="T4" fmla="*/ 1886744 w 21600"/>
              <a:gd name="T5" fmla="*/ 1839119 h 21600"/>
              <a:gd name="T6" fmla="*/ 1886744 w 21600"/>
              <a:gd name="T7" fmla="*/ 183911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7161" y="2832"/>
                </a:moveTo>
                <a:cubicBezTo>
                  <a:pt x="15778" y="5744"/>
                  <a:pt x="21600" y="13180"/>
                  <a:pt x="21600" y="21600"/>
                </a:cubicBezTo>
                <a:cubicBezTo>
                  <a:pt x="15548" y="21600"/>
                  <a:pt x="15548" y="21600"/>
                  <a:pt x="15548" y="21600"/>
                </a:cubicBezTo>
                <a:cubicBezTo>
                  <a:pt x="15510" y="15540"/>
                  <a:pt x="11374" y="10308"/>
                  <a:pt x="5514" y="8144"/>
                </a:cubicBezTo>
                <a:cubicBezTo>
                  <a:pt x="4557" y="11331"/>
                  <a:pt x="4557" y="11331"/>
                  <a:pt x="4557" y="11331"/>
                </a:cubicBezTo>
                <a:cubicBezTo>
                  <a:pt x="0" y="4091"/>
                  <a:pt x="0" y="4091"/>
                  <a:pt x="0" y="4091"/>
                </a:cubicBezTo>
                <a:cubicBezTo>
                  <a:pt x="8004" y="0"/>
                  <a:pt x="8004" y="0"/>
                  <a:pt x="8004" y="0"/>
                </a:cubicBezTo>
                <a:lnTo>
                  <a:pt x="7161" y="2832"/>
                </a:lnTo>
                <a:close/>
              </a:path>
            </a:pathLst>
          </a:custGeom>
          <a:solidFill>
            <a:schemeClr val="accent2"/>
          </a:solidFill>
          <a:ln>
            <a:noFill/>
          </a:ln>
          <a:effectLst/>
        </p:spPr>
        <p:txBody>
          <a:bodyPr lIns="22854" tIns="22854" rIns="22854" bIns="22854"/>
          <a:lstStyle/>
          <a:p>
            <a:endParaRPr lang="zh-CN" altLang="en-US">
              <a:solidFill>
                <a:schemeClr val="tx1">
                  <a:lumMod val="50000"/>
                  <a:lumOff val="50000"/>
                </a:schemeClr>
              </a:solidFill>
            </a:endParaRPr>
          </a:p>
        </p:txBody>
      </p:sp>
      <p:sp>
        <p:nvSpPr>
          <p:cNvPr id="38923" name="AutoShape 11"/>
          <p:cNvSpPr/>
          <p:nvPr/>
        </p:nvSpPr>
        <p:spPr bwMode="auto">
          <a:xfrm flipH="1">
            <a:off x="2178518" y="4232299"/>
            <a:ext cx="1837293" cy="1892300"/>
          </a:xfrm>
          <a:custGeom>
            <a:avLst/>
            <a:gdLst>
              <a:gd name="T0" fmla="*/ 1837532 w 21600"/>
              <a:gd name="T1" fmla="*/ 1892300 h 21600"/>
              <a:gd name="T2" fmla="*/ 1837532 w 21600"/>
              <a:gd name="T3" fmla="*/ 1892300 h 21600"/>
              <a:gd name="T4" fmla="*/ 1837532 w 21600"/>
              <a:gd name="T5" fmla="*/ 1892300 h 21600"/>
              <a:gd name="T6" fmla="*/ 1837532 w 21600"/>
              <a:gd name="T7" fmla="*/ 189230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8767" y="7123"/>
                </a:moveTo>
                <a:cubicBezTo>
                  <a:pt x="15895" y="15778"/>
                  <a:pt x="8419" y="21600"/>
                  <a:pt x="0" y="21600"/>
                </a:cubicBezTo>
                <a:cubicBezTo>
                  <a:pt x="0" y="15510"/>
                  <a:pt x="0" y="15510"/>
                  <a:pt x="0" y="15510"/>
                </a:cubicBezTo>
                <a:cubicBezTo>
                  <a:pt x="6059" y="15510"/>
                  <a:pt x="11291" y="11374"/>
                  <a:pt x="13455" y="5514"/>
                </a:cubicBezTo>
                <a:cubicBezTo>
                  <a:pt x="10268" y="4557"/>
                  <a:pt x="10268" y="4557"/>
                  <a:pt x="10268" y="4557"/>
                </a:cubicBezTo>
                <a:cubicBezTo>
                  <a:pt x="17508" y="0"/>
                  <a:pt x="17508" y="0"/>
                  <a:pt x="17508" y="0"/>
                </a:cubicBezTo>
                <a:cubicBezTo>
                  <a:pt x="21599" y="8004"/>
                  <a:pt x="21599" y="8004"/>
                  <a:pt x="21599" y="8004"/>
                </a:cubicBezTo>
                <a:lnTo>
                  <a:pt x="18767" y="7123"/>
                </a:lnTo>
                <a:close/>
              </a:path>
            </a:pathLst>
          </a:custGeom>
          <a:solidFill>
            <a:schemeClr val="accent1"/>
          </a:solidFill>
          <a:ln>
            <a:noFill/>
          </a:ln>
          <a:effectLst/>
        </p:spPr>
        <p:txBody>
          <a:bodyPr lIns="22854" tIns="22854" rIns="22854" bIns="22854"/>
          <a:lstStyle/>
          <a:p>
            <a:endParaRPr lang="zh-CN" altLang="en-US">
              <a:solidFill>
                <a:schemeClr val="tx1">
                  <a:lumMod val="50000"/>
                  <a:lumOff val="50000"/>
                </a:schemeClr>
              </a:solidFill>
            </a:endParaRPr>
          </a:p>
        </p:txBody>
      </p:sp>
      <p:sp>
        <p:nvSpPr>
          <p:cNvPr id="38924" name="AutoShape 12"/>
          <p:cNvSpPr/>
          <p:nvPr/>
        </p:nvSpPr>
        <p:spPr bwMode="auto">
          <a:xfrm>
            <a:off x="3492794" y="3987825"/>
            <a:ext cx="1695230" cy="55879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lnSpc>
                <a:spcPct val="130000"/>
              </a:lnSpc>
              <a:spcAft>
                <a:spcPts val="800"/>
              </a:spcAft>
            </a:pPr>
            <a:r>
              <a:rPr lang="zh-CN" altLang="en-US" sz="900" dirty="0">
                <a:solidFill>
                  <a:schemeClr val="tx1">
                    <a:lumMod val="50000"/>
                    <a:lumOff val="50000"/>
                  </a:schemeClr>
                </a:solidFill>
                <a:ea typeface="微软雅黑" panose="020B0503020204020204" pitchFamily="34" charset="-122"/>
              </a:rPr>
              <a:t>在此输入您的图表说明文字，在此输入您的图表说明文字</a:t>
            </a:r>
          </a:p>
        </p:txBody>
      </p:sp>
      <p:sp>
        <p:nvSpPr>
          <p:cNvPr id="38925" name="AutoShape 13"/>
          <p:cNvSpPr/>
          <p:nvPr/>
        </p:nvSpPr>
        <p:spPr bwMode="auto">
          <a:xfrm>
            <a:off x="6515001" y="4025923"/>
            <a:ext cx="1739674" cy="4191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lnSpc>
                <a:spcPct val="130000"/>
              </a:lnSpc>
              <a:spcAft>
                <a:spcPts val="800"/>
              </a:spcAft>
            </a:pPr>
            <a:r>
              <a:rPr lang="zh-CN" altLang="en-US" sz="900" dirty="0">
                <a:solidFill>
                  <a:schemeClr val="tx1">
                    <a:lumMod val="50000"/>
                    <a:lumOff val="50000"/>
                  </a:schemeClr>
                </a:solidFill>
                <a:ea typeface="微软雅黑" panose="020B0503020204020204" pitchFamily="34" charset="-122"/>
              </a:rPr>
              <a:t>在此输入您的图表说明文字，在此输入您的图表说明文字</a:t>
            </a:r>
          </a:p>
        </p:txBody>
      </p:sp>
      <p:sp>
        <p:nvSpPr>
          <p:cNvPr id="38926" name="AutoShape 14"/>
          <p:cNvSpPr/>
          <p:nvPr/>
        </p:nvSpPr>
        <p:spPr bwMode="auto">
          <a:xfrm>
            <a:off x="4295967" y="5602312"/>
            <a:ext cx="634917" cy="635000"/>
          </a:xfrm>
          <a:custGeom>
            <a:avLst/>
            <a:gdLst>
              <a:gd name="T0" fmla="*/ 635000 w 21600"/>
              <a:gd name="T1" fmla="*/ 635000 h 21600"/>
              <a:gd name="T2" fmla="*/ 635000 w 21600"/>
              <a:gd name="T3" fmla="*/ 635000 h 21600"/>
              <a:gd name="T4" fmla="*/ 635000 w 21600"/>
              <a:gd name="T5" fmla="*/ 635000 h 21600"/>
              <a:gd name="T6" fmla="*/ 635000 w 21600"/>
              <a:gd name="T7" fmla="*/ 63500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357" y="18801"/>
                </a:moveTo>
                <a:cubicBezTo>
                  <a:pt x="21518" y="18965"/>
                  <a:pt x="21600" y="19177"/>
                  <a:pt x="21600" y="19436"/>
                </a:cubicBezTo>
                <a:cubicBezTo>
                  <a:pt x="21600" y="19580"/>
                  <a:pt x="21518" y="19775"/>
                  <a:pt x="21357" y="20018"/>
                </a:cubicBezTo>
                <a:cubicBezTo>
                  <a:pt x="21193" y="20261"/>
                  <a:pt x="20989" y="20504"/>
                  <a:pt x="20746" y="20741"/>
                </a:cubicBezTo>
                <a:cubicBezTo>
                  <a:pt x="20503" y="20978"/>
                  <a:pt x="20260" y="21184"/>
                  <a:pt x="20023" y="21348"/>
                </a:cubicBezTo>
                <a:cubicBezTo>
                  <a:pt x="19783" y="21518"/>
                  <a:pt x="19593" y="21600"/>
                  <a:pt x="19447" y="21600"/>
                </a:cubicBezTo>
                <a:cubicBezTo>
                  <a:pt x="19189" y="21600"/>
                  <a:pt x="18975" y="21515"/>
                  <a:pt x="18811" y="21343"/>
                </a:cubicBezTo>
                <a:lnTo>
                  <a:pt x="13957" y="16502"/>
                </a:lnTo>
                <a:cubicBezTo>
                  <a:pt x="13217" y="16980"/>
                  <a:pt x="12428" y="17350"/>
                  <a:pt x="11589" y="17604"/>
                </a:cubicBezTo>
                <a:cubicBezTo>
                  <a:pt x="10750" y="17864"/>
                  <a:pt x="9891" y="17991"/>
                  <a:pt x="9007" y="17991"/>
                </a:cubicBezTo>
                <a:cubicBezTo>
                  <a:pt x="7769" y="17991"/>
                  <a:pt x="6608" y="17759"/>
                  <a:pt x="5517" y="17290"/>
                </a:cubicBezTo>
                <a:cubicBezTo>
                  <a:pt x="4427" y="16822"/>
                  <a:pt x="3469" y="16175"/>
                  <a:pt x="2644" y="15353"/>
                </a:cubicBezTo>
                <a:cubicBezTo>
                  <a:pt x="1816" y="14534"/>
                  <a:pt x="1172" y="13580"/>
                  <a:pt x="700" y="12487"/>
                </a:cubicBezTo>
                <a:cubicBezTo>
                  <a:pt x="231" y="11400"/>
                  <a:pt x="0" y="10236"/>
                  <a:pt x="0" y="8999"/>
                </a:cubicBezTo>
                <a:cubicBezTo>
                  <a:pt x="0" y="7768"/>
                  <a:pt x="231" y="6602"/>
                  <a:pt x="700" y="5515"/>
                </a:cubicBezTo>
                <a:cubicBezTo>
                  <a:pt x="1169" y="4422"/>
                  <a:pt x="1816" y="3467"/>
                  <a:pt x="2644" y="2645"/>
                </a:cubicBezTo>
                <a:cubicBezTo>
                  <a:pt x="3469" y="1827"/>
                  <a:pt x="4424" y="1180"/>
                  <a:pt x="5512" y="708"/>
                </a:cubicBezTo>
                <a:cubicBezTo>
                  <a:pt x="6600" y="237"/>
                  <a:pt x="7764" y="0"/>
                  <a:pt x="9007" y="0"/>
                </a:cubicBezTo>
                <a:cubicBezTo>
                  <a:pt x="10244" y="0"/>
                  <a:pt x="11403" y="237"/>
                  <a:pt x="12488" y="708"/>
                </a:cubicBezTo>
                <a:cubicBezTo>
                  <a:pt x="13573" y="1180"/>
                  <a:pt x="14530" y="1827"/>
                  <a:pt x="15358" y="2645"/>
                </a:cubicBezTo>
                <a:cubicBezTo>
                  <a:pt x="16183" y="3467"/>
                  <a:pt x="16830" y="4422"/>
                  <a:pt x="17299" y="5515"/>
                </a:cubicBezTo>
                <a:cubicBezTo>
                  <a:pt x="17768" y="6602"/>
                  <a:pt x="18003" y="7768"/>
                  <a:pt x="18003" y="8999"/>
                </a:cubicBezTo>
                <a:cubicBezTo>
                  <a:pt x="18003" y="9886"/>
                  <a:pt x="17873" y="10747"/>
                  <a:pt x="17616" y="11589"/>
                </a:cubicBezTo>
                <a:cubicBezTo>
                  <a:pt x="17359" y="12433"/>
                  <a:pt x="16991" y="13218"/>
                  <a:pt x="16514" y="13947"/>
                </a:cubicBezTo>
                <a:lnTo>
                  <a:pt x="21357" y="18801"/>
                </a:lnTo>
                <a:close/>
                <a:moveTo>
                  <a:pt x="3596" y="8999"/>
                </a:moveTo>
                <a:cubicBezTo>
                  <a:pt x="3596" y="9759"/>
                  <a:pt x="3740" y="10465"/>
                  <a:pt x="4028" y="11117"/>
                </a:cubicBezTo>
                <a:cubicBezTo>
                  <a:pt x="4317" y="11770"/>
                  <a:pt x="4707" y="12337"/>
                  <a:pt x="5193" y="12820"/>
                </a:cubicBezTo>
                <a:cubicBezTo>
                  <a:pt x="5679" y="13300"/>
                  <a:pt x="6252" y="13684"/>
                  <a:pt x="6908" y="13969"/>
                </a:cubicBezTo>
                <a:cubicBezTo>
                  <a:pt x="7566" y="14252"/>
                  <a:pt x="8264" y="14393"/>
                  <a:pt x="9004" y="14393"/>
                </a:cubicBezTo>
                <a:cubicBezTo>
                  <a:pt x="9744" y="14393"/>
                  <a:pt x="10439" y="14252"/>
                  <a:pt x="11092" y="13969"/>
                </a:cubicBezTo>
                <a:cubicBezTo>
                  <a:pt x="11745" y="13684"/>
                  <a:pt x="12318" y="13300"/>
                  <a:pt x="12801" y="12820"/>
                </a:cubicBezTo>
                <a:cubicBezTo>
                  <a:pt x="13290" y="12337"/>
                  <a:pt x="13677" y="11770"/>
                  <a:pt x="13965" y="11117"/>
                </a:cubicBezTo>
                <a:cubicBezTo>
                  <a:pt x="14254" y="10465"/>
                  <a:pt x="14398" y="9759"/>
                  <a:pt x="14398" y="8999"/>
                </a:cubicBezTo>
                <a:cubicBezTo>
                  <a:pt x="14398" y="8259"/>
                  <a:pt x="14254" y="7565"/>
                  <a:pt x="13965" y="6912"/>
                </a:cubicBezTo>
                <a:cubicBezTo>
                  <a:pt x="13674" y="6257"/>
                  <a:pt x="13290" y="5684"/>
                  <a:pt x="12801" y="5192"/>
                </a:cubicBezTo>
                <a:cubicBezTo>
                  <a:pt x="12315" y="4704"/>
                  <a:pt x="11745" y="4317"/>
                  <a:pt x="11092" y="4032"/>
                </a:cubicBezTo>
                <a:cubicBezTo>
                  <a:pt x="10439" y="3749"/>
                  <a:pt x="9741" y="3605"/>
                  <a:pt x="9004" y="3605"/>
                </a:cubicBezTo>
                <a:cubicBezTo>
                  <a:pt x="8267" y="3605"/>
                  <a:pt x="7566" y="3749"/>
                  <a:pt x="6908" y="4032"/>
                </a:cubicBezTo>
                <a:cubicBezTo>
                  <a:pt x="6252" y="4317"/>
                  <a:pt x="5676" y="4704"/>
                  <a:pt x="5193" y="5192"/>
                </a:cubicBezTo>
                <a:cubicBezTo>
                  <a:pt x="4707" y="5684"/>
                  <a:pt x="4317" y="6257"/>
                  <a:pt x="4028" y="6912"/>
                </a:cubicBezTo>
                <a:cubicBezTo>
                  <a:pt x="3740" y="7565"/>
                  <a:pt x="3596" y="8256"/>
                  <a:pt x="3596" y="8999"/>
                </a:cubicBezTo>
                <a:moveTo>
                  <a:pt x="9007" y="5591"/>
                </a:moveTo>
                <a:cubicBezTo>
                  <a:pt x="9185" y="5591"/>
                  <a:pt x="9343" y="5656"/>
                  <a:pt x="9473" y="5785"/>
                </a:cubicBezTo>
                <a:cubicBezTo>
                  <a:pt x="9603" y="5918"/>
                  <a:pt x="9668" y="6082"/>
                  <a:pt x="9668" y="6279"/>
                </a:cubicBezTo>
                <a:cubicBezTo>
                  <a:pt x="9668" y="6460"/>
                  <a:pt x="9603" y="6616"/>
                  <a:pt x="9473" y="6745"/>
                </a:cubicBezTo>
                <a:cubicBezTo>
                  <a:pt x="9343" y="6878"/>
                  <a:pt x="9185" y="6943"/>
                  <a:pt x="9007" y="6943"/>
                </a:cubicBezTo>
                <a:cubicBezTo>
                  <a:pt x="8439" y="6943"/>
                  <a:pt x="7953" y="7144"/>
                  <a:pt x="7552" y="7536"/>
                </a:cubicBezTo>
                <a:cubicBezTo>
                  <a:pt x="7151" y="7934"/>
                  <a:pt x="6950" y="8423"/>
                  <a:pt x="6950" y="8996"/>
                </a:cubicBezTo>
                <a:cubicBezTo>
                  <a:pt x="6950" y="9180"/>
                  <a:pt x="6885" y="9332"/>
                  <a:pt x="6755" y="9465"/>
                </a:cubicBezTo>
                <a:cubicBezTo>
                  <a:pt x="6622" y="9595"/>
                  <a:pt x="6467" y="9657"/>
                  <a:pt x="6289" y="9657"/>
                </a:cubicBezTo>
                <a:cubicBezTo>
                  <a:pt x="6080" y="9657"/>
                  <a:pt x="5913" y="9595"/>
                  <a:pt x="5786" y="9465"/>
                </a:cubicBezTo>
                <a:cubicBezTo>
                  <a:pt x="5659" y="9332"/>
                  <a:pt x="5599" y="9180"/>
                  <a:pt x="5599" y="8996"/>
                </a:cubicBezTo>
                <a:cubicBezTo>
                  <a:pt x="5599" y="8539"/>
                  <a:pt x="5684" y="8104"/>
                  <a:pt x="5862" y="7686"/>
                </a:cubicBezTo>
                <a:cubicBezTo>
                  <a:pt x="6037" y="7271"/>
                  <a:pt x="6280" y="6907"/>
                  <a:pt x="6597" y="6590"/>
                </a:cubicBezTo>
                <a:cubicBezTo>
                  <a:pt x="6905" y="6277"/>
                  <a:pt x="7264" y="6028"/>
                  <a:pt x="7676" y="5856"/>
                </a:cubicBezTo>
                <a:cubicBezTo>
                  <a:pt x="8086" y="5681"/>
                  <a:pt x="8529" y="5591"/>
                  <a:pt x="9007" y="5591"/>
                </a:cubicBezTo>
              </a:path>
            </a:pathLst>
          </a:custGeom>
          <a:solidFill>
            <a:schemeClr val="accent2"/>
          </a:solidFill>
          <a:ln>
            <a:noFill/>
          </a:ln>
          <a:effectLst/>
        </p:spPr>
        <p:txBody>
          <a:bodyPr lIns="19046" tIns="19046" rIns="19046" bIns="19046" anchor="ctr"/>
          <a:lstStyle/>
          <a:p>
            <a:endParaRPr lang="zh-CN" altLang="en-US">
              <a:solidFill>
                <a:schemeClr val="tx1">
                  <a:lumMod val="50000"/>
                  <a:lumOff val="50000"/>
                </a:schemeClr>
              </a:solidFill>
            </a:endParaRPr>
          </a:p>
        </p:txBody>
      </p:sp>
      <p:sp>
        <p:nvSpPr>
          <p:cNvPr id="38927" name="AutoShape 15"/>
          <p:cNvSpPr/>
          <p:nvPr/>
        </p:nvSpPr>
        <p:spPr bwMode="auto">
          <a:xfrm>
            <a:off x="6784843" y="2216175"/>
            <a:ext cx="634917" cy="529431"/>
          </a:xfrm>
          <a:custGeom>
            <a:avLst/>
            <a:gdLst>
              <a:gd name="T0" fmla="*/ 635000 w 21600"/>
              <a:gd name="T1" fmla="*/ 529407 h 21579"/>
              <a:gd name="T2" fmla="*/ 635000 w 21600"/>
              <a:gd name="T3" fmla="*/ 529407 h 21579"/>
              <a:gd name="T4" fmla="*/ 635000 w 21600"/>
              <a:gd name="T5" fmla="*/ 529407 h 21579"/>
              <a:gd name="T6" fmla="*/ 635000 w 21600"/>
              <a:gd name="T7" fmla="*/ 529407 h 215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579">
                <a:moveTo>
                  <a:pt x="21600" y="9391"/>
                </a:moveTo>
                <a:cubicBezTo>
                  <a:pt x="21600" y="9887"/>
                  <a:pt x="21472" y="10321"/>
                  <a:pt x="21218" y="10697"/>
                </a:cubicBezTo>
                <a:cubicBezTo>
                  <a:pt x="20963" y="11072"/>
                  <a:pt x="20647" y="11313"/>
                  <a:pt x="20263" y="11427"/>
                </a:cubicBezTo>
                <a:lnTo>
                  <a:pt x="20263" y="16610"/>
                </a:lnTo>
                <a:cubicBezTo>
                  <a:pt x="20263" y="17200"/>
                  <a:pt x="20087" y="17708"/>
                  <a:pt x="19729" y="18128"/>
                </a:cubicBezTo>
                <a:cubicBezTo>
                  <a:pt x="19374" y="18550"/>
                  <a:pt x="18951" y="18758"/>
                  <a:pt x="18459" y="18758"/>
                </a:cubicBezTo>
                <a:cubicBezTo>
                  <a:pt x="17927" y="18122"/>
                  <a:pt x="17286" y="17505"/>
                  <a:pt x="16537" y="16904"/>
                </a:cubicBezTo>
                <a:cubicBezTo>
                  <a:pt x="15785" y="16305"/>
                  <a:pt x="14980" y="15756"/>
                  <a:pt x="14116" y="15254"/>
                </a:cubicBezTo>
                <a:cubicBezTo>
                  <a:pt x="13254" y="14755"/>
                  <a:pt x="12363" y="14324"/>
                  <a:pt x="11449" y="13969"/>
                </a:cubicBezTo>
                <a:cubicBezTo>
                  <a:pt x="10536" y="13614"/>
                  <a:pt x="9648" y="13379"/>
                  <a:pt x="8788" y="13267"/>
                </a:cubicBezTo>
                <a:cubicBezTo>
                  <a:pt x="8453" y="13379"/>
                  <a:pt x="8179" y="13564"/>
                  <a:pt x="7968" y="13828"/>
                </a:cubicBezTo>
                <a:cubicBezTo>
                  <a:pt x="7758" y="14092"/>
                  <a:pt x="7613" y="14386"/>
                  <a:pt x="7535" y="14706"/>
                </a:cubicBezTo>
                <a:cubicBezTo>
                  <a:pt x="7457" y="15028"/>
                  <a:pt x="7449" y="15360"/>
                  <a:pt x="7510" y="15698"/>
                </a:cubicBezTo>
                <a:cubicBezTo>
                  <a:pt x="7574" y="16035"/>
                  <a:pt x="7719" y="16340"/>
                  <a:pt x="7946" y="16610"/>
                </a:cubicBezTo>
                <a:cubicBezTo>
                  <a:pt x="7750" y="16992"/>
                  <a:pt x="7660" y="17347"/>
                  <a:pt x="7677" y="17673"/>
                </a:cubicBezTo>
                <a:cubicBezTo>
                  <a:pt x="7692" y="17993"/>
                  <a:pt x="7772" y="18307"/>
                  <a:pt x="7917" y="18606"/>
                </a:cubicBezTo>
                <a:cubicBezTo>
                  <a:pt x="8059" y="18908"/>
                  <a:pt x="8255" y="19193"/>
                  <a:pt x="8497" y="19469"/>
                </a:cubicBezTo>
                <a:cubicBezTo>
                  <a:pt x="8737" y="19745"/>
                  <a:pt x="8996" y="20021"/>
                  <a:pt x="9271" y="20291"/>
                </a:cubicBezTo>
                <a:cubicBezTo>
                  <a:pt x="9114" y="20696"/>
                  <a:pt x="8842" y="21001"/>
                  <a:pt x="8455" y="21212"/>
                </a:cubicBezTo>
                <a:cubicBezTo>
                  <a:pt x="8069" y="21423"/>
                  <a:pt x="7655" y="21541"/>
                  <a:pt x="7212" y="21570"/>
                </a:cubicBezTo>
                <a:cubicBezTo>
                  <a:pt x="6771" y="21599"/>
                  <a:pt x="6340" y="21550"/>
                  <a:pt x="5917" y="21423"/>
                </a:cubicBezTo>
                <a:cubicBezTo>
                  <a:pt x="5496" y="21294"/>
                  <a:pt x="5163" y="21092"/>
                  <a:pt x="4923" y="20810"/>
                </a:cubicBezTo>
                <a:cubicBezTo>
                  <a:pt x="4781" y="20241"/>
                  <a:pt x="4624" y="19657"/>
                  <a:pt x="4453" y="19055"/>
                </a:cubicBezTo>
                <a:cubicBezTo>
                  <a:pt x="4281" y="18453"/>
                  <a:pt x="4139" y="17843"/>
                  <a:pt x="4032" y="17224"/>
                </a:cubicBezTo>
                <a:cubicBezTo>
                  <a:pt x="3921" y="16599"/>
                  <a:pt x="3868" y="15953"/>
                  <a:pt x="3868" y="15281"/>
                </a:cubicBezTo>
                <a:cubicBezTo>
                  <a:pt x="3868" y="14615"/>
                  <a:pt x="3961" y="13905"/>
                  <a:pt x="4149" y="13153"/>
                </a:cubicBezTo>
                <a:lnTo>
                  <a:pt x="1804" y="13153"/>
                </a:lnTo>
                <a:cubicBezTo>
                  <a:pt x="1312" y="13153"/>
                  <a:pt x="888" y="12945"/>
                  <a:pt x="533" y="12522"/>
                </a:cubicBezTo>
                <a:cubicBezTo>
                  <a:pt x="176" y="12100"/>
                  <a:pt x="0" y="11592"/>
                  <a:pt x="0" y="10990"/>
                </a:cubicBezTo>
                <a:lnTo>
                  <a:pt x="0" y="7774"/>
                </a:lnTo>
                <a:cubicBezTo>
                  <a:pt x="0" y="7184"/>
                  <a:pt x="176" y="6676"/>
                  <a:pt x="526" y="6245"/>
                </a:cubicBezTo>
                <a:cubicBezTo>
                  <a:pt x="878" y="5819"/>
                  <a:pt x="1304" y="5605"/>
                  <a:pt x="1804" y="5605"/>
                </a:cubicBezTo>
                <a:lnTo>
                  <a:pt x="7652" y="5605"/>
                </a:lnTo>
                <a:cubicBezTo>
                  <a:pt x="8551" y="5605"/>
                  <a:pt x="9508" y="5449"/>
                  <a:pt x="10524" y="5135"/>
                </a:cubicBezTo>
                <a:cubicBezTo>
                  <a:pt x="11540" y="4821"/>
                  <a:pt x="12536" y="4399"/>
                  <a:pt x="13511" y="3873"/>
                </a:cubicBezTo>
                <a:cubicBezTo>
                  <a:pt x="14488" y="3342"/>
                  <a:pt x="15408" y="2744"/>
                  <a:pt x="16272" y="2071"/>
                </a:cubicBezTo>
                <a:cubicBezTo>
                  <a:pt x="17134" y="1405"/>
                  <a:pt x="17864" y="713"/>
                  <a:pt x="18459" y="0"/>
                </a:cubicBezTo>
                <a:cubicBezTo>
                  <a:pt x="18951" y="0"/>
                  <a:pt x="19374" y="214"/>
                  <a:pt x="19729" y="633"/>
                </a:cubicBezTo>
                <a:cubicBezTo>
                  <a:pt x="20087" y="1056"/>
                  <a:pt x="20263" y="1567"/>
                  <a:pt x="20263" y="2165"/>
                </a:cubicBezTo>
                <a:lnTo>
                  <a:pt x="20263" y="7334"/>
                </a:lnTo>
                <a:cubicBezTo>
                  <a:pt x="20647" y="7445"/>
                  <a:pt x="20963" y="7692"/>
                  <a:pt x="21218" y="8070"/>
                </a:cubicBezTo>
                <a:cubicBezTo>
                  <a:pt x="21472" y="8454"/>
                  <a:pt x="21600" y="8895"/>
                  <a:pt x="21600" y="9391"/>
                </a:cubicBezTo>
                <a:moveTo>
                  <a:pt x="18459" y="2855"/>
                </a:moveTo>
                <a:cubicBezTo>
                  <a:pt x="17864" y="3407"/>
                  <a:pt x="17215" y="3941"/>
                  <a:pt x="16512" y="4451"/>
                </a:cubicBezTo>
                <a:cubicBezTo>
                  <a:pt x="15810" y="4962"/>
                  <a:pt x="15065" y="5423"/>
                  <a:pt x="14280" y="5834"/>
                </a:cubicBezTo>
                <a:cubicBezTo>
                  <a:pt x="13494" y="6245"/>
                  <a:pt x="12693" y="6609"/>
                  <a:pt x="11878" y="6923"/>
                </a:cubicBezTo>
                <a:cubicBezTo>
                  <a:pt x="11060" y="7237"/>
                  <a:pt x="10255" y="7462"/>
                  <a:pt x="9457" y="7603"/>
                </a:cubicBezTo>
                <a:lnTo>
                  <a:pt x="9457" y="11172"/>
                </a:lnTo>
                <a:cubicBezTo>
                  <a:pt x="10255" y="11325"/>
                  <a:pt x="11060" y="11554"/>
                  <a:pt x="11878" y="11862"/>
                </a:cubicBezTo>
                <a:cubicBezTo>
                  <a:pt x="12693" y="12170"/>
                  <a:pt x="13494" y="12537"/>
                  <a:pt x="14280" y="12956"/>
                </a:cubicBezTo>
                <a:cubicBezTo>
                  <a:pt x="15065" y="13379"/>
                  <a:pt x="15812" y="13843"/>
                  <a:pt x="16524" y="14347"/>
                </a:cubicBezTo>
                <a:cubicBezTo>
                  <a:pt x="17234" y="14855"/>
                  <a:pt x="17881" y="15380"/>
                  <a:pt x="18459" y="15921"/>
                </a:cubicBezTo>
                <a:lnTo>
                  <a:pt x="18459" y="2855"/>
                </a:lnTo>
                <a:close/>
              </a:path>
            </a:pathLst>
          </a:custGeom>
          <a:solidFill>
            <a:schemeClr val="accent1"/>
          </a:solidFill>
          <a:ln>
            <a:noFill/>
          </a:ln>
          <a:effectLst/>
        </p:spPr>
        <p:txBody>
          <a:bodyPr lIns="19046" tIns="19046" rIns="19046" bIns="19046" anchor="ctr"/>
          <a:lstStyle/>
          <a:p>
            <a:endParaRPr lang="zh-CN" altLang="en-US">
              <a:solidFill>
                <a:schemeClr val="tx1">
                  <a:lumMod val="50000"/>
                  <a:lumOff val="50000"/>
                </a:schemeClr>
              </a:solidFill>
            </a:endParaRPr>
          </a:p>
        </p:txBody>
      </p:sp>
      <p:sp>
        <p:nvSpPr>
          <p:cNvPr id="38928" name="AutoShape 16"/>
          <p:cNvSpPr/>
          <p:nvPr/>
        </p:nvSpPr>
        <p:spPr bwMode="auto">
          <a:xfrm>
            <a:off x="3161846" y="3570244"/>
            <a:ext cx="2201576"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r>
              <a:rPr lang="zh-CN" altLang="en-US" dirty="0">
                <a:solidFill>
                  <a:schemeClr val="tx1">
                    <a:lumMod val="50000"/>
                    <a:lumOff val="50000"/>
                  </a:schemeClr>
                </a:solidFill>
                <a:ea typeface="微软雅黑" panose="020B0503020204020204" pitchFamily="34" charset="-122"/>
              </a:rPr>
              <a:t>标题</a:t>
            </a:r>
            <a:endParaRPr lang="es-ES" altLang="zh-CN" dirty="0">
              <a:solidFill>
                <a:schemeClr val="tx1">
                  <a:lumMod val="50000"/>
                  <a:lumOff val="50000"/>
                </a:schemeClr>
              </a:solidFill>
              <a:ea typeface="微软雅黑" panose="020B0503020204020204" pitchFamily="34" charset="-122"/>
            </a:endParaRPr>
          </a:p>
        </p:txBody>
      </p:sp>
      <p:sp>
        <p:nvSpPr>
          <p:cNvPr id="38929" name="AutoShape 17"/>
          <p:cNvSpPr/>
          <p:nvPr/>
        </p:nvSpPr>
        <p:spPr bwMode="auto">
          <a:xfrm>
            <a:off x="6336433" y="3570244"/>
            <a:ext cx="2201576"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r>
              <a:rPr lang="zh-CN" altLang="en-US" dirty="0">
                <a:solidFill>
                  <a:schemeClr val="tx1">
                    <a:lumMod val="50000"/>
                    <a:lumOff val="50000"/>
                  </a:schemeClr>
                </a:solidFill>
                <a:ea typeface="微软雅黑" panose="020B0503020204020204" pitchFamily="34" charset="-122"/>
              </a:rPr>
              <a:t>标题</a:t>
            </a:r>
            <a:endParaRPr lang="es-ES" altLang="zh-CN" dirty="0">
              <a:solidFill>
                <a:schemeClr val="tx1">
                  <a:lumMod val="50000"/>
                  <a:lumOff val="50000"/>
                </a:schemeClr>
              </a:solidFill>
              <a:ea typeface="微软雅黑" panose="020B0503020204020204" pitchFamily="34" charset="-122"/>
            </a:endParaRP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8917"/>
                                        </p:tgtEl>
                                        <p:attrNameLst>
                                          <p:attrName>style.visibility</p:attrName>
                                        </p:attrNameLst>
                                      </p:cBhvr>
                                      <p:to>
                                        <p:strVal val="visible"/>
                                      </p:to>
                                    </p:set>
                                    <p:animEffect transition="in" filter="wipe(left)">
                                      <p:cBhvr>
                                        <p:cTn id="7" dur="500"/>
                                        <p:tgtEl>
                                          <p:spTgt spid="389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8926"/>
                                        </p:tgtEl>
                                        <p:attrNameLst>
                                          <p:attrName>style.visibility</p:attrName>
                                        </p:attrNameLst>
                                      </p:cBhvr>
                                      <p:to>
                                        <p:strVal val="visible"/>
                                      </p:to>
                                    </p:set>
                                    <p:animEffect transition="in" filter="fade">
                                      <p:cBhvr>
                                        <p:cTn id="11" dur="500"/>
                                        <p:tgtEl>
                                          <p:spTgt spid="38926"/>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38923"/>
                                        </p:tgtEl>
                                        <p:attrNameLst>
                                          <p:attrName>style.visibility</p:attrName>
                                        </p:attrNameLst>
                                      </p:cBhvr>
                                      <p:to>
                                        <p:strVal val="visible"/>
                                      </p:to>
                                    </p:set>
                                    <p:animEffect transition="in" filter="wipe(right)">
                                      <p:cBhvr>
                                        <p:cTn id="15" dur="500"/>
                                        <p:tgtEl>
                                          <p:spTgt spid="38923"/>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8922"/>
                                        </p:tgtEl>
                                        <p:attrNameLst>
                                          <p:attrName>style.visibility</p:attrName>
                                        </p:attrNameLst>
                                      </p:cBhvr>
                                      <p:to>
                                        <p:strVal val="visible"/>
                                      </p:to>
                                    </p:set>
                                    <p:animEffect transition="in" filter="wipe(left)">
                                      <p:cBhvr>
                                        <p:cTn id="19" dur="500"/>
                                        <p:tgtEl>
                                          <p:spTgt spid="38922"/>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38921"/>
                                        </p:tgtEl>
                                        <p:attrNameLst>
                                          <p:attrName>style.visibility</p:attrName>
                                        </p:attrNameLst>
                                      </p:cBhvr>
                                      <p:to>
                                        <p:strVal val="visible"/>
                                      </p:to>
                                    </p:set>
                                    <p:animEffect transition="in" filter="wipe(left)">
                                      <p:cBhvr>
                                        <p:cTn id="23" dur="500"/>
                                        <p:tgtEl>
                                          <p:spTgt spid="38921"/>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8920"/>
                                        </p:tgtEl>
                                        <p:attrNameLst>
                                          <p:attrName>style.visibility</p:attrName>
                                        </p:attrNameLst>
                                      </p:cBhvr>
                                      <p:to>
                                        <p:strVal val="visible"/>
                                      </p:to>
                                    </p:set>
                                    <p:animEffect transition="in" filter="wipe(left)">
                                      <p:cBhvr>
                                        <p:cTn id="27" dur="500"/>
                                        <p:tgtEl>
                                          <p:spTgt spid="38920"/>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38918"/>
                                        </p:tgtEl>
                                        <p:attrNameLst>
                                          <p:attrName>style.visibility</p:attrName>
                                        </p:attrNameLst>
                                      </p:cBhvr>
                                      <p:to>
                                        <p:strVal val="visible"/>
                                      </p:to>
                                    </p:set>
                                    <p:animEffect transition="in" filter="wipe(left)">
                                      <p:cBhvr>
                                        <p:cTn id="31" dur="500"/>
                                        <p:tgtEl>
                                          <p:spTgt spid="38918"/>
                                        </p:tgtEl>
                                      </p:cBhvr>
                                    </p:animEffect>
                                  </p:childTnLst>
                                </p:cTn>
                              </p:par>
                            </p:childTnLst>
                          </p:cTn>
                        </p:par>
                        <p:par>
                          <p:cTn id="32" fill="hold">
                            <p:stCondLst>
                              <p:cond delay="3500"/>
                            </p:stCondLst>
                            <p:childTnLst>
                              <p:par>
                                <p:cTn id="33" presetID="22" presetClass="entr" presetSubtype="4" fill="hold" grpId="0" nodeType="afterEffect">
                                  <p:stCondLst>
                                    <p:cond delay="0"/>
                                  </p:stCondLst>
                                  <p:childTnLst>
                                    <p:set>
                                      <p:cBhvr>
                                        <p:cTn id="34" dur="1" fill="hold">
                                          <p:stCondLst>
                                            <p:cond delay="0"/>
                                          </p:stCondLst>
                                        </p:cTn>
                                        <p:tgtEl>
                                          <p:spTgt spid="38919"/>
                                        </p:tgtEl>
                                        <p:attrNameLst>
                                          <p:attrName>style.visibility</p:attrName>
                                        </p:attrNameLst>
                                      </p:cBhvr>
                                      <p:to>
                                        <p:strVal val="visible"/>
                                      </p:to>
                                    </p:set>
                                    <p:animEffect transition="in" filter="wipe(down)">
                                      <p:cBhvr>
                                        <p:cTn id="35" dur="500"/>
                                        <p:tgtEl>
                                          <p:spTgt spid="38919"/>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38927"/>
                                        </p:tgtEl>
                                        <p:attrNameLst>
                                          <p:attrName>style.visibility</p:attrName>
                                        </p:attrNameLst>
                                      </p:cBhvr>
                                      <p:to>
                                        <p:strVal val="visible"/>
                                      </p:to>
                                    </p:set>
                                    <p:animEffect transition="in" filter="fade">
                                      <p:cBhvr>
                                        <p:cTn id="39" dur="250"/>
                                        <p:tgtEl>
                                          <p:spTgt spid="38927"/>
                                        </p:tgtEl>
                                      </p:cBhvr>
                                    </p:animEffect>
                                  </p:childTnLst>
                                </p:cTn>
                              </p:par>
                            </p:childTnLst>
                          </p:cTn>
                        </p:par>
                        <p:par>
                          <p:cTn id="40" fill="hold">
                            <p:stCondLst>
                              <p:cond delay="4500"/>
                            </p:stCondLst>
                            <p:childTnLst>
                              <p:par>
                                <p:cTn id="41" presetID="2" presetClass="entr" presetSubtype="2" fill="hold" grpId="0" nodeType="afterEffect">
                                  <p:stCondLst>
                                    <p:cond delay="0"/>
                                  </p:stCondLst>
                                  <p:childTnLst>
                                    <p:set>
                                      <p:cBhvr>
                                        <p:cTn id="42" dur="1" fill="hold">
                                          <p:stCondLst>
                                            <p:cond delay="0"/>
                                          </p:stCondLst>
                                        </p:cTn>
                                        <p:tgtEl>
                                          <p:spTgt spid="38928"/>
                                        </p:tgtEl>
                                        <p:attrNameLst>
                                          <p:attrName>style.visibility</p:attrName>
                                        </p:attrNameLst>
                                      </p:cBhvr>
                                      <p:to>
                                        <p:strVal val="visible"/>
                                      </p:to>
                                    </p:set>
                                    <p:anim calcmode="lin" valueType="num">
                                      <p:cBhvr additive="base">
                                        <p:cTn id="43" dur="500" fill="hold"/>
                                        <p:tgtEl>
                                          <p:spTgt spid="38928"/>
                                        </p:tgtEl>
                                        <p:attrNameLst>
                                          <p:attrName>ppt_x</p:attrName>
                                        </p:attrNameLst>
                                      </p:cBhvr>
                                      <p:tavLst>
                                        <p:tav tm="0">
                                          <p:val>
                                            <p:strVal val="1+#ppt_w/2"/>
                                          </p:val>
                                        </p:tav>
                                        <p:tav tm="100000">
                                          <p:val>
                                            <p:strVal val="#ppt_x"/>
                                          </p:val>
                                        </p:tav>
                                      </p:tavLst>
                                    </p:anim>
                                    <p:anim calcmode="lin" valueType="num">
                                      <p:cBhvr additive="base">
                                        <p:cTn id="44" dur="500" fill="hold"/>
                                        <p:tgtEl>
                                          <p:spTgt spid="38928"/>
                                        </p:tgtEl>
                                        <p:attrNameLst>
                                          <p:attrName>ppt_y</p:attrName>
                                        </p:attrNameLst>
                                      </p:cBhvr>
                                      <p:tavLst>
                                        <p:tav tm="0">
                                          <p:val>
                                            <p:strVal val="#ppt_y"/>
                                          </p:val>
                                        </p:tav>
                                        <p:tav tm="100000">
                                          <p:val>
                                            <p:strVal val="#ppt_y"/>
                                          </p:val>
                                        </p:tav>
                                      </p:tavLst>
                                    </p:anim>
                                  </p:childTnLst>
                                </p:cTn>
                              </p:par>
                            </p:childTnLst>
                          </p:cTn>
                        </p:par>
                        <p:par>
                          <p:cTn id="45" fill="hold">
                            <p:stCondLst>
                              <p:cond delay="5000"/>
                            </p:stCondLst>
                            <p:childTnLst>
                              <p:par>
                                <p:cTn id="46" presetID="9" presetClass="entr" presetSubtype="0" fill="hold" grpId="0" nodeType="afterEffect">
                                  <p:stCondLst>
                                    <p:cond delay="0"/>
                                  </p:stCondLst>
                                  <p:childTnLst>
                                    <p:set>
                                      <p:cBhvr>
                                        <p:cTn id="47" dur="1" fill="hold">
                                          <p:stCondLst>
                                            <p:cond delay="0"/>
                                          </p:stCondLst>
                                        </p:cTn>
                                        <p:tgtEl>
                                          <p:spTgt spid="38924"/>
                                        </p:tgtEl>
                                        <p:attrNameLst>
                                          <p:attrName>style.visibility</p:attrName>
                                        </p:attrNameLst>
                                      </p:cBhvr>
                                      <p:to>
                                        <p:strVal val="visible"/>
                                      </p:to>
                                    </p:set>
                                    <p:animEffect transition="in" filter="dissolve">
                                      <p:cBhvr>
                                        <p:cTn id="48" dur="500"/>
                                        <p:tgtEl>
                                          <p:spTgt spid="38924"/>
                                        </p:tgtEl>
                                      </p:cBhvr>
                                    </p:animEffect>
                                  </p:childTnLst>
                                </p:cTn>
                              </p:par>
                            </p:childTnLst>
                          </p:cTn>
                        </p:par>
                        <p:par>
                          <p:cTn id="49" fill="hold">
                            <p:stCondLst>
                              <p:cond delay="5500"/>
                            </p:stCondLst>
                            <p:childTnLst>
                              <p:par>
                                <p:cTn id="50" presetID="2" presetClass="entr" presetSubtype="2" fill="hold" grpId="0" nodeType="afterEffect">
                                  <p:stCondLst>
                                    <p:cond delay="0"/>
                                  </p:stCondLst>
                                  <p:childTnLst>
                                    <p:set>
                                      <p:cBhvr>
                                        <p:cTn id="51" dur="1" fill="hold">
                                          <p:stCondLst>
                                            <p:cond delay="0"/>
                                          </p:stCondLst>
                                        </p:cTn>
                                        <p:tgtEl>
                                          <p:spTgt spid="38929"/>
                                        </p:tgtEl>
                                        <p:attrNameLst>
                                          <p:attrName>style.visibility</p:attrName>
                                        </p:attrNameLst>
                                      </p:cBhvr>
                                      <p:to>
                                        <p:strVal val="visible"/>
                                      </p:to>
                                    </p:set>
                                    <p:anim calcmode="lin" valueType="num">
                                      <p:cBhvr additive="base">
                                        <p:cTn id="52" dur="500" fill="hold"/>
                                        <p:tgtEl>
                                          <p:spTgt spid="38929"/>
                                        </p:tgtEl>
                                        <p:attrNameLst>
                                          <p:attrName>ppt_x</p:attrName>
                                        </p:attrNameLst>
                                      </p:cBhvr>
                                      <p:tavLst>
                                        <p:tav tm="0">
                                          <p:val>
                                            <p:strVal val="1+#ppt_w/2"/>
                                          </p:val>
                                        </p:tav>
                                        <p:tav tm="100000">
                                          <p:val>
                                            <p:strVal val="#ppt_x"/>
                                          </p:val>
                                        </p:tav>
                                      </p:tavLst>
                                    </p:anim>
                                    <p:anim calcmode="lin" valueType="num">
                                      <p:cBhvr additive="base">
                                        <p:cTn id="53" dur="500" fill="hold"/>
                                        <p:tgtEl>
                                          <p:spTgt spid="38929"/>
                                        </p:tgtEl>
                                        <p:attrNameLst>
                                          <p:attrName>ppt_y</p:attrName>
                                        </p:attrNameLst>
                                      </p:cBhvr>
                                      <p:tavLst>
                                        <p:tav tm="0">
                                          <p:val>
                                            <p:strVal val="#ppt_y"/>
                                          </p:val>
                                        </p:tav>
                                        <p:tav tm="100000">
                                          <p:val>
                                            <p:strVal val="#ppt_y"/>
                                          </p:val>
                                        </p:tav>
                                      </p:tavLst>
                                    </p:anim>
                                  </p:childTnLst>
                                </p:cTn>
                              </p:par>
                            </p:childTnLst>
                          </p:cTn>
                        </p:par>
                        <p:par>
                          <p:cTn id="54" fill="hold">
                            <p:stCondLst>
                              <p:cond delay="6000"/>
                            </p:stCondLst>
                            <p:childTnLst>
                              <p:par>
                                <p:cTn id="55" presetID="9" presetClass="entr" presetSubtype="0" fill="hold" grpId="0" nodeType="afterEffect">
                                  <p:stCondLst>
                                    <p:cond delay="0"/>
                                  </p:stCondLst>
                                  <p:childTnLst>
                                    <p:set>
                                      <p:cBhvr>
                                        <p:cTn id="56" dur="1" fill="hold">
                                          <p:stCondLst>
                                            <p:cond delay="0"/>
                                          </p:stCondLst>
                                        </p:cTn>
                                        <p:tgtEl>
                                          <p:spTgt spid="38925"/>
                                        </p:tgtEl>
                                        <p:attrNameLst>
                                          <p:attrName>style.visibility</p:attrName>
                                        </p:attrNameLst>
                                      </p:cBhvr>
                                      <p:to>
                                        <p:strVal val="visible"/>
                                      </p:to>
                                    </p:set>
                                    <p:animEffect transition="in" filter="dissolve">
                                      <p:cBhvr>
                                        <p:cTn id="57" dur="500"/>
                                        <p:tgtEl>
                                          <p:spTgt spid="389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17" grpId="0"/>
      <p:bldP spid="38918" grpId="0" animBg="1"/>
      <p:bldP spid="38919" grpId="0" animBg="1"/>
      <p:bldP spid="38920" grpId="0" animBg="1"/>
      <p:bldP spid="38921" grpId="0" animBg="1"/>
      <p:bldP spid="38922" grpId="0" animBg="1"/>
      <p:bldP spid="38923" grpId="0" animBg="1"/>
      <p:bldP spid="38924" grpId="0" autoUpdateAnimBg="0"/>
      <p:bldP spid="38925" grpId="0" autoUpdateAnimBg="0"/>
      <p:bldP spid="38926" grpId="0" animBg="1"/>
      <p:bldP spid="38927" grpId="0" animBg="1"/>
      <p:bldP spid="38928" grpId="0" autoUpdateAnimBg="0"/>
      <p:bldP spid="38929" grpId="0"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AutoShape 5"/>
          <p:cNvSpPr/>
          <p:nvPr/>
        </p:nvSpPr>
        <p:spPr bwMode="auto">
          <a:xfrm>
            <a:off x="2210307" y="3261297"/>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4342" name="AutoShape 6"/>
          <p:cNvSpPr/>
          <p:nvPr/>
        </p:nvSpPr>
        <p:spPr bwMode="auto">
          <a:xfrm>
            <a:off x="1355551" y="1777578"/>
            <a:ext cx="9406301" cy="118421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spcAft>
                <a:spcPts val="800"/>
              </a:spcAft>
            </a:pPr>
            <a:r>
              <a:rPr lang="zh-CN" altLang="en-US" sz="1200" dirty="0">
                <a:solidFill>
                  <a:schemeClr val="tx1">
                    <a:lumMod val="50000"/>
                    <a:lumOff val="50000"/>
                  </a:schemeClr>
                </a:solidFill>
                <a:ea typeface="微软雅黑" panose="020B0503020204020204" pitchFamily="34" charset="-122"/>
              </a:rPr>
              <a:t>在此输入您的图表说明文字，在此输入您的图表说明文字，在此输入您的图表说明文字在此输入您的图表说明文字，在此输入您的图表说明文字，在此输入您的图表说明文字</a:t>
            </a:r>
          </a:p>
          <a:p>
            <a:pPr>
              <a:spcAft>
                <a:spcPts val="800"/>
              </a:spcAft>
            </a:pPr>
            <a:r>
              <a:rPr lang="zh-CN" altLang="en-US" sz="1200" dirty="0">
                <a:solidFill>
                  <a:schemeClr val="tx1">
                    <a:lumMod val="50000"/>
                    <a:lumOff val="50000"/>
                  </a:schemeClr>
                </a:solidFill>
                <a:ea typeface="微软雅黑" panose="020B0503020204020204" pitchFamily="34" charset="-122"/>
              </a:rPr>
              <a:t>在此输入您的图表说明文字，在此输入您的图表说明文字，在此输入您的图表说明文字在此输入您的图表说明文字，在此输入您的图表说明文字，在此输入您的图表说明文字</a:t>
            </a:r>
          </a:p>
          <a:p>
            <a:pPr>
              <a:spcAft>
                <a:spcPts val="800"/>
              </a:spcAft>
            </a:pPr>
            <a:endParaRPr lang="zh-CN" altLang="en-US" sz="1200" dirty="0">
              <a:solidFill>
                <a:schemeClr val="tx1">
                  <a:lumMod val="50000"/>
                  <a:lumOff val="50000"/>
                </a:schemeClr>
              </a:solidFill>
              <a:ea typeface="微软雅黑" panose="020B0503020204020204" pitchFamily="34" charset="-122"/>
            </a:endParaRPr>
          </a:p>
        </p:txBody>
      </p:sp>
      <p:grpSp>
        <p:nvGrpSpPr>
          <p:cNvPr id="2" name="组合 1"/>
          <p:cNvGrpSpPr/>
          <p:nvPr/>
        </p:nvGrpSpPr>
        <p:grpSpPr>
          <a:xfrm>
            <a:off x="1378566" y="2920776"/>
            <a:ext cx="743647" cy="744538"/>
            <a:chOff x="1033463" y="2133663"/>
            <a:chExt cx="557808" cy="558576"/>
          </a:xfrm>
        </p:grpSpPr>
        <p:sp>
          <p:nvSpPr>
            <p:cNvPr id="14343" name="AutoShape 7"/>
            <p:cNvSpPr/>
            <p:nvPr/>
          </p:nvSpPr>
          <p:spPr bwMode="auto">
            <a:xfrm>
              <a:off x="1033463" y="2133663"/>
              <a:ext cx="557808" cy="558576"/>
            </a:xfrm>
            <a:custGeom>
              <a:avLst/>
              <a:gdLst>
                <a:gd name="T0" fmla="*/ 743706 w 19679"/>
                <a:gd name="T1" fmla="*/ 817217 h 19679"/>
                <a:gd name="T2" fmla="*/ 743706 w 19679"/>
                <a:gd name="T3" fmla="*/ 817217 h 19679"/>
                <a:gd name="T4" fmla="*/ 743706 w 19679"/>
                <a:gd name="T5" fmla="*/ 817217 h 19679"/>
                <a:gd name="T6" fmla="*/ 743706 w 19679"/>
                <a:gd name="T7" fmla="*/ 81721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1"/>
            </a:solidFill>
            <a:ln w="25400" cap="flat" cmpd="sng">
              <a:solidFill>
                <a:srgbClr val="000000">
                  <a:alpha val="0"/>
                </a:srgbClr>
              </a:solidFill>
              <a:prstDash val="solid"/>
              <a:miter lim="0"/>
            </a:ln>
            <a:effectLst/>
          </p:spPr>
          <p:txBody>
            <a:bodyPr lIns="0" tIns="0" rIns="0" bIns="0" anchor="ctr"/>
            <a:lstStyle/>
            <a:p>
              <a:endParaRPr lang="zh-CN" altLang="en-US">
                <a:solidFill>
                  <a:schemeClr val="tx1">
                    <a:lumMod val="50000"/>
                    <a:lumOff val="50000"/>
                  </a:schemeClr>
                </a:solidFill>
              </a:endParaRPr>
            </a:p>
          </p:txBody>
        </p:sp>
        <p:sp>
          <p:nvSpPr>
            <p:cNvPr id="14344" name="AutoShape 8"/>
            <p:cNvSpPr/>
            <p:nvPr/>
          </p:nvSpPr>
          <p:spPr bwMode="auto">
            <a:xfrm>
              <a:off x="1186458" y="2294447"/>
              <a:ext cx="257770" cy="214379"/>
            </a:xfrm>
            <a:custGeom>
              <a:avLst/>
              <a:gdLst>
                <a:gd name="T0" fmla="*/ 343694 w 21600"/>
                <a:gd name="T1" fmla="*/ 285750 h 21600"/>
                <a:gd name="T2" fmla="*/ 343694 w 21600"/>
                <a:gd name="T3" fmla="*/ 285750 h 21600"/>
                <a:gd name="T4" fmla="*/ 343694 w 21600"/>
                <a:gd name="T5" fmla="*/ 285750 h 21600"/>
                <a:gd name="T6" fmla="*/ 343694 w 21600"/>
                <a:gd name="T7" fmla="*/ 2857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0263" y="3222"/>
                  </a:moveTo>
                  <a:cubicBezTo>
                    <a:pt x="20632" y="3222"/>
                    <a:pt x="20946" y="3384"/>
                    <a:pt x="21208" y="3713"/>
                  </a:cubicBezTo>
                  <a:cubicBezTo>
                    <a:pt x="21470" y="4042"/>
                    <a:pt x="21599" y="4427"/>
                    <a:pt x="21599" y="4865"/>
                  </a:cubicBezTo>
                  <a:lnTo>
                    <a:pt x="21599" y="19984"/>
                  </a:lnTo>
                  <a:cubicBezTo>
                    <a:pt x="21599" y="20421"/>
                    <a:pt x="21470" y="20803"/>
                    <a:pt x="21208" y="21121"/>
                  </a:cubicBezTo>
                  <a:cubicBezTo>
                    <a:pt x="20946" y="21441"/>
                    <a:pt x="20632" y="21599"/>
                    <a:pt x="20263" y="21599"/>
                  </a:cubicBezTo>
                  <a:lnTo>
                    <a:pt x="1348" y="21599"/>
                  </a:lnTo>
                  <a:cubicBezTo>
                    <a:pt x="981" y="21599"/>
                    <a:pt x="663" y="21441"/>
                    <a:pt x="399" y="21121"/>
                  </a:cubicBezTo>
                  <a:cubicBezTo>
                    <a:pt x="134" y="20803"/>
                    <a:pt x="0" y="20421"/>
                    <a:pt x="0" y="19984"/>
                  </a:cubicBezTo>
                  <a:lnTo>
                    <a:pt x="0" y="4865"/>
                  </a:lnTo>
                  <a:cubicBezTo>
                    <a:pt x="0" y="4427"/>
                    <a:pt x="134" y="4042"/>
                    <a:pt x="399" y="3713"/>
                  </a:cubicBezTo>
                  <a:cubicBezTo>
                    <a:pt x="663" y="3384"/>
                    <a:pt x="981" y="3222"/>
                    <a:pt x="1348" y="3222"/>
                  </a:cubicBezTo>
                  <a:lnTo>
                    <a:pt x="5638" y="3222"/>
                  </a:lnTo>
                  <a:lnTo>
                    <a:pt x="6318" y="1460"/>
                  </a:lnTo>
                  <a:cubicBezTo>
                    <a:pt x="6458" y="1057"/>
                    <a:pt x="6717" y="713"/>
                    <a:pt x="7089" y="425"/>
                  </a:cubicBezTo>
                  <a:cubicBezTo>
                    <a:pt x="7466" y="143"/>
                    <a:pt x="7838" y="0"/>
                    <a:pt x="8203" y="0"/>
                  </a:cubicBezTo>
                  <a:lnTo>
                    <a:pt x="13396" y="0"/>
                  </a:lnTo>
                  <a:cubicBezTo>
                    <a:pt x="13763" y="0"/>
                    <a:pt x="14135" y="143"/>
                    <a:pt x="14510" y="425"/>
                  </a:cubicBezTo>
                  <a:cubicBezTo>
                    <a:pt x="14884" y="713"/>
                    <a:pt x="15146" y="1057"/>
                    <a:pt x="15293" y="1460"/>
                  </a:cubicBezTo>
                  <a:lnTo>
                    <a:pt x="15961" y="3222"/>
                  </a:lnTo>
                  <a:lnTo>
                    <a:pt x="20263" y="3222"/>
                  </a:lnTo>
                  <a:close/>
                  <a:moveTo>
                    <a:pt x="10806" y="19185"/>
                  </a:moveTo>
                  <a:cubicBezTo>
                    <a:pt x="11572" y="19185"/>
                    <a:pt x="12299" y="19002"/>
                    <a:pt x="12987" y="18650"/>
                  </a:cubicBezTo>
                  <a:cubicBezTo>
                    <a:pt x="13672" y="18294"/>
                    <a:pt x="14270" y="17810"/>
                    <a:pt x="14774" y="17196"/>
                  </a:cubicBezTo>
                  <a:cubicBezTo>
                    <a:pt x="15278" y="16582"/>
                    <a:pt x="15677" y="15862"/>
                    <a:pt x="15974" y="15048"/>
                  </a:cubicBezTo>
                  <a:cubicBezTo>
                    <a:pt x="16270" y="14234"/>
                    <a:pt x="16419" y="13356"/>
                    <a:pt x="16419" y="12421"/>
                  </a:cubicBezTo>
                  <a:cubicBezTo>
                    <a:pt x="16419" y="11499"/>
                    <a:pt x="16270" y="10623"/>
                    <a:pt x="15974" y="9795"/>
                  </a:cubicBezTo>
                  <a:cubicBezTo>
                    <a:pt x="15677" y="8966"/>
                    <a:pt x="15278" y="8249"/>
                    <a:pt x="14774" y="7644"/>
                  </a:cubicBezTo>
                  <a:cubicBezTo>
                    <a:pt x="14270" y="7036"/>
                    <a:pt x="13672" y="6557"/>
                    <a:pt x="12987" y="6199"/>
                  </a:cubicBezTo>
                  <a:cubicBezTo>
                    <a:pt x="12299" y="5843"/>
                    <a:pt x="11572" y="5667"/>
                    <a:pt x="10806" y="5667"/>
                  </a:cubicBezTo>
                  <a:cubicBezTo>
                    <a:pt x="10039" y="5667"/>
                    <a:pt x="9312" y="5846"/>
                    <a:pt x="8619" y="6199"/>
                  </a:cubicBezTo>
                  <a:cubicBezTo>
                    <a:pt x="7929" y="6557"/>
                    <a:pt x="7332" y="7036"/>
                    <a:pt x="6827" y="7644"/>
                  </a:cubicBezTo>
                  <a:cubicBezTo>
                    <a:pt x="6323" y="8249"/>
                    <a:pt x="5922" y="8963"/>
                    <a:pt x="5625" y="9789"/>
                  </a:cubicBezTo>
                  <a:cubicBezTo>
                    <a:pt x="5329" y="10612"/>
                    <a:pt x="5180" y="11490"/>
                    <a:pt x="5180" y="12421"/>
                  </a:cubicBezTo>
                  <a:cubicBezTo>
                    <a:pt x="5180" y="13356"/>
                    <a:pt x="5329" y="14234"/>
                    <a:pt x="5625" y="15048"/>
                  </a:cubicBezTo>
                  <a:cubicBezTo>
                    <a:pt x="5922" y="15862"/>
                    <a:pt x="6323" y="16582"/>
                    <a:pt x="6827" y="17196"/>
                  </a:cubicBezTo>
                  <a:cubicBezTo>
                    <a:pt x="7332" y="17810"/>
                    <a:pt x="7929" y="18294"/>
                    <a:pt x="8619" y="18650"/>
                  </a:cubicBezTo>
                  <a:cubicBezTo>
                    <a:pt x="9312" y="19005"/>
                    <a:pt x="10039" y="19185"/>
                    <a:pt x="10806" y="19185"/>
                  </a:cubicBezTo>
                  <a:moveTo>
                    <a:pt x="10806" y="7832"/>
                  </a:moveTo>
                  <a:cubicBezTo>
                    <a:pt x="11337" y="7832"/>
                    <a:pt x="11834" y="7953"/>
                    <a:pt x="12294" y="8191"/>
                  </a:cubicBezTo>
                  <a:cubicBezTo>
                    <a:pt x="12754" y="8432"/>
                    <a:pt x="13158" y="8755"/>
                    <a:pt x="13501" y="9169"/>
                  </a:cubicBezTo>
                  <a:cubicBezTo>
                    <a:pt x="13846" y="9583"/>
                    <a:pt x="14118" y="10068"/>
                    <a:pt x="14316" y="10623"/>
                  </a:cubicBezTo>
                  <a:cubicBezTo>
                    <a:pt x="14515" y="11184"/>
                    <a:pt x="14615" y="11781"/>
                    <a:pt x="14615" y="12421"/>
                  </a:cubicBezTo>
                  <a:cubicBezTo>
                    <a:pt x="14615" y="13056"/>
                    <a:pt x="14515" y="13649"/>
                    <a:pt x="14316" y="14205"/>
                  </a:cubicBezTo>
                  <a:cubicBezTo>
                    <a:pt x="14118" y="14757"/>
                    <a:pt x="13846" y="15245"/>
                    <a:pt x="13501" y="15668"/>
                  </a:cubicBezTo>
                  <a:cubicBezTo>
                    <a:pt x="13158" y="16091"/>
                    <a:pt x="12752" y="16420"/>
                    <a:pt x="12289" y="16661"/>
                  </a:cubicBezTo>
                  <a:cubicBezTo>
                    <a:pt x="11824" y="16899"/>
                    <a:pt x="11330" y="17016"/>
                    <a:pt x="10806" y="17016"/>
                  </a:cubicBezTo>
                  <a:cubicBezTo>
                    <a:pt x="10274" y="17016"/>
                    <a:pt x="9777" y="16899"/>
                    <a:pt x="9312" y="16661"/>
                  </a:cubicBezTo>
                  <a:cubicBezTo>
                    <a:pt x="8847" y="16420"/>
                    <a:pt x="8443" y="16091"/>
                    <a:pt x="8100" y="15668"/>
                  </a:cubicBezTo>
                  <a:cubicBezTo>
                    <a:pt x="7755" y="15245"/>
                    <a:pt x="7483" y="14754"/>
                    <a:pt x="7285" y="14199"/>
                  </a:cubicBezTo>
                  <a:cubicBezTo>
                    <a:pt x="7084" y="13641"/>
                    <a:pt x="6984" y="13044"/>
                    <a:pt x="6984" y="12421"/>
                  </a:cubicBezTo>
                  <a:cubicBezTo>
                    <a:pt x="6984" y="11781"/>
                    <a:pt x="7084" y="11184"/>
                    <a:pt x="7285" y="10623"/>
                  </a:cubicBezTo>
                  <a:cubicBezTo>
                    <a:pt x="7483" y="10068"/>
                    <a:pt x="7755" y="9583"/>
                    <a:pt x="8100" y="9169"/>
                  </a:cubicBezTo>
                  <a:cubicBezTo>
                    <a:pt x="8443" y="8755"/>
                    <a:pt x="8847" y="8431"/>
                    <a:pt x="9312" y="8191"/>
                  </a:cubicBezTo>
                  <a:cubicBezTo>
                    <a:pt x="9777" y="7953"/>
                    <a:pt x="10274" y="7832"/>
                    <a:pt x="10806" y="7832"/>
                  </a:cubicBezTo>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grpSp>
        <p:nvGrpSpPr>
          <p:cNvPr id="3" name="组合 2"/>
          <p:cNvGrpSpPr/>
          <p:nvPr/>
        </p:nvGrpSpPr>
        <p:grpSpPr>
          <a:xfrm>
            <a:off x="1378566" y="3966145"/>
            <a:ext cx="743647" cy="744538"/>
            <a:chOff x="1033463" y="2917932"/>
            <a:chExt cx="557808" cy="558576"/>
          </a:xfrm>
        </p:grpSpPr>
        <p:sp>
          <p:nvSpPr>
            <p:cNvPr id="14345" name="AutoShape 9"/>
            <p:cNvSpPr/>
            <p:nvPr/>
          </p:nvSpPr>
          <p:spPr bwMode="auto">
            <a:xfrm>
              <a:off x="1033463" y="2917932"/>
              <a:ext cx="557808" cy="558576"/>
            </a:xfrm>
            <a:custGeom>
              <a:avLst/>
              <a:gdLst>
                <a:gd name="T0" fmla="*/ 743706 w 19679"/>
                <a:gd name="T1" fmla="*/ 817217 h 19679"/>
                <a:gd name="T2" fmla="*/ 743706 w 19679"/>
                <a:gd name="T3" fmla="*/ 817217 h 19679"/>
                <a:gd name="T4" fmla="*/ 743706 w 19679"/>
                <a:gd name="T5" fmla="*/ 817217 h 19679"/>
                <a:gd name="T6" fmla="*/ 743706 w 19679"/>
                <a:gd name="T7" fmla="*/ 81721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2"/>
            </a:solidFill>
            <a:ln w="25400" cap="flat" cmpd="sng">
              <a:solidFill>
                <a:srgbClr val="000000">
                  <a:alpha val="0"/>
                </a:srgbClr>
              </a:solidFill>
              <a:prstDash val="solid"/>
              <a:miter lim="0"/>
            </a:ln>
            <a:effectLst/>
          </p:spPr>
          <p:txBody>
            <a:bodyPr lIns="0" tIns="0" rIns="0" bIns="0" anchor="ctr"/>
            <a:lstStyle/>
            <a:p>
              <a:endParaRPr lang="zh-CN" altLang="en-US">
                <a:solidFill>
                  <a:schemeClr val="tx1">
                    <a:lumMod val="50000"/>
                    <a:lumOff val="50000"/>
                  </a:schemeClr>
                </a:solidFill>
              </a:endParaRPr>
            </a:p>
          </p:txBody>
        </p:sp>
        <p:sp>
          <p:nvSpPr>
            <p:cNvPr id="14347" name="AutoShape 11"/>
            <p:cNvSpPr/>
            <p:nvPr/>
          </p:nvSpPr>
          <p:spPr bwMode="auto">
            <a:xfrm>
              <a:off x="1191221" y="3101345"/>
              <a:ext cx="257175" cy="214379"/>
            </a:xfrm>
            <a:custGeom>
              <a:avLst/>
              <a:gdLst>
                <a:gd name="T0" fmla="*/ 342900 w 21600"/>
                <a:gd name="T1" fmla="*/ 285750 h 21600"/>
                <a:gd name="T2" fmla="*/ 342900 w 21600"/>
                <a:gd name="T3" fmla="*/ 285750 h 21600"/>
                <a:gd name="T4" fmla="*/ 342900 w 21600"/>
                <a:gd name="T5" fmla="*/ 285750 h 21600"/>
                <a:gd name="T6" fmla="*/ 342900 w 21600"/>
                <a:gd name="T7" fmla="*/ 2857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0263" y="0"/>
                  </a:moveTo>
                  <a:cubicBezTo>
                    <a:pt x="20630" y="0"/>
                    <a:pt x="20943" y="161"/>
                    <a:pt x="21205" y="478"/>
                  </a:cubicBezTo>
                  <a:cubicBezTo>
                    <a:pt x="21467" y="798"/>
                    <a:pt x="21600" y="1177"/>
                    <a:pt x="21600" y="1618"/>
                  </a:cubicBezTo>
                  <a:lnTo>
                    <a:pt x="21600" y="19981"/>
                  </a:lnTo>
                  <a:cubicBezTo>
                    <a:pt x="21600" y="20422"/>
                    <a:pt x="21467" y="20801"/>
                    <a:pt x="21205" y="21121"/>
                  </a:cubicBezTo>
                  <a:cubicBezTo>
                    <a:pt x="20943" y="21438"/>
                    <a:pt x="20630" y="21599"/>
                    <a:pt x="20263" y="21599"/>
                  </a:cubicBezTo>
                  <a:lnTo>
                    <a:pt x="1346" y="21599"/>
                  </a:lnTo>
                  <a:cubicBezTo>
                    <a:pt x="981" y="21599"/>
                    <a:pt x="663" y="21438"/>
                    <a:pt x="399" y="21121"/>
                  </a:cubicBezTo>
                  <a:cubicBezTo>
                    <a:pt x="132" y="20801"/>
                    <a:pt x="0" y="20422"/>
                    <a:pt x="0" y="19981"/>
                  </a:cubicBezTo>
                  <a:lnTo>
                    <a:pt x="0" y="1618"/>
                  </a:lnTo>
                  <a:cubicBezTo>
                    <a:pt x="0" y="1177"/>
                    <a:pt x="132" y="798"/>
                    <a:pt x="399" y="478"/>
                  </a:cubicBezTo>
                  <a:cubicBezTo>
                    <a:pt x="663" y="161"/>
                    <a:pt x="981" y="0"/>
                    <a:pt x="1346" y="0"/>
                  </a:cubicBezTo>
                  <a:lnTo>
                    <a:pt x="20263" y="0"/>
                  </a:lnTo>
                  <a:close/>
                  <a:moveTo>
                    <a:pt x="4051" y="2170"/>
                  </a:moveTo>
                  <a:cubicBezTo>
                    <a:pt x="4051" y="2020"/>
                    <a:pt x="4010" y="1891"/>
                    <a:pt x="3924" y="1782"/>
                  </a:cubicBezTo>
                  <a:cubicBezTo>
                    <a:pt x="3838" y="1677"/>
                    <a:pt x="3728" y="1621"/>
                    <a:pt x="3593" y="1621"/>
                  </a:cubicBezTo>
                  <a:lnTo>
                    <a:pt x="1801" y="1621"/>
                  </a:lnTo>
                  <a:cubicBezTo>
                    <a:pt x="1676" y="1621"/>
                    <a:pt x="1569" y="1674"/>
                    <a:pt x="1481" y="1776"/>
                  </a:cubicBezTo>
                  <a:cubicBezTo>
                    <a:pt x="1390" y="1879"/>
                    <a:pt x="1344" y="2011"/>
                    <a:pt x="1344" y="2170"/>
                  </a:cubicBezTo>
                  <a:lnTo>
                    <a:pt x="1344" y="4320"/>
                  </a:lnTo>
                  <a:cubicBezTo>
                    <a:pt x="1344" y="4470"/>
                    <a:pt x="1388" y="4602"/>
                    <a:pt x="1473" y="4708"/>
                  </a:cubicBezTo>
                  <a:cubicBezTo>
                    <a:pt x="1559" y="4816"/>
                    <a:pt x="1669" y="4866"/>
                    <a:pt x="1801" y="4866"/>
                  </a:cubicBezTo>
                  <a:lnTo>
                    <a:pt x="3593" y="4866"/>
                  </a:lnTo>
                  <a:cubicBezTo>
                    <a:pt x="3721" y="4866"/>
                    <a:pt x="3828" y="4819"/>
                    <a:pt x="3917" y="4717"/>
                  </a:cubicBezTo>
                  <a:cubicBezTo>
                    <a:pt x="4007" y="4614"/>
                    <a:pt x="4051" y="4482"/>
                    <a:pt x="4051" y="4320"/>
                  </a:cubicBezTo>
                  <a:lnTo>
                    <a:pt x="4051" y="2170"/>
                  </a:lnTo>
                  <a:close/>
                  <a:moveTo>
                    <a:pt x="4051" y="7201"/>
                  </a:moveTo>
                  <a:cubicBezTo>
                    <a:pt x="4051" y="7055"/>
                    <a:pt x="4010" y="6925"/>
                    <a:pt x="3924" y="6817"/>
                  </a:cubicBezTo>
                  <a:cubicBezTo>
                    <a:pt x="3838" y="6708"/>
                    <a:pt x="3728" y="6655"/>
                    <a:pt x="3593" y="6655"/>
                  </a:cubicBezTo>
                  <a:lnTo>
                    <a:pt x="1801" y="6655"/>
                  </a:lnTo>
                  <a:cubicBezTo>
                    <a:pt x="1676" y="6655"/>
                    <a:pt x="1569" y="6708"/>
                    <a:pt x="1481" y="6817"/>
                  </a:cubicBezTo>
                  <a:cubicBezTo>
                    <a:pt x="1390" y="6925"/>
                    <a:pt x="1344" y="7055"/>
                    <a:pt x="1344" y="7201"/>
                  </a:cubicBezTo>
                  <a:lnTo>
                    <a:pt x="1344" y="9369"/>
                  </a:lnTo>
                  <a:cubicBezTo>
                    <a:pt x="1344" y="9516"/>
                    <a:pt x="1388" y="9645"/>
                    <a:pt x="1473" y="9757"/>
                  </a:cubicBezTo>
                  <a:cubicBezTo>
                    <a:pt x="1559" y="9863"/>
                    <a:pt x="1669" y="9915"/>
                    <a:pt x="1801" y="9915"/>
                  </a:cubicBezTo>
                  <a:lnTo>
                    <a:pt x="3593" y="9915"/>
                  </a:lnTo>
                  <a:cubicBezTo>
                    <a:pt x="3721" y="9915"/>
                    <a:pt x="3828" y="9863"/>
                    <a:pt x="3917" y="9757"/>
                  </a:cubicBezTo>
                  <a:cubicBezTo>
                    <a:pt x="4007" y="9645"/>
                    <a:pt x="4051" y="9516"/>
                    <a:pt x="4051" y="9369"/>
                  </a:cubicBezTo>
                  <a:lnTo>
                    <a:pt x="4051" y="7201"/>
                  </a:lnTo>
                  <a:close/>
                  <a:moveTo>
                    <a:pt x="4051" y="12233"/>
                  </a:moveTo>
                  <a:cubicBezTo>
                    <a:pt x="4051" y="12083"/>
                    <a:pt x="4010" y="11957"/>
                    <a:pt x="3924" y="11845"/>
                  </a:cubicBezTo>
                  <a:cubicBezTo>
                    <a:pt x="3838" y="11739"/>
                    <a:pt x="3728" y="11687"/>
                    <a:pt x="3593" y="11687"/>
                  </a:cubicBezTo>
                  <a:lnTo>
                    <a:pt x="1801" y="11687"/>
                  </a:lnTo>
                  <a:cubicBezTo>
                    <a:pt x="1676" y="11687"/>
                    <a:pt x="1569" y="11739"/>
                    <a:pt x="1481" y="11845"/>
                  </a:cubicBezTo>
                  <a:cubicBezTo>
                    <a:pt x="1390" y="11957"/>
                    <a:pt x="1344" y="12083"/>
                    <a:pt x="1344" y="12233"/>
                  </a:cubicBezTo>
                  <a:lnTo>
                    <a:pt x="1344" y="14401"/>
                  </a:lnTo>
                  <a:cubicBezTo>
                    <a:pt x="1344" y="14547"/>
                    <a:pt x="1388" y="14677"/>
                    <a:pt x="1473" y="14785"/>
                  </a:cubicBezTo>
                  <a:cubicBezTo>
                    <a:pt x="1559" y="14894"/>
                    <a:pt x="1669" y="14947"/>
                    <a:pt x="1801" y="14947"/>
                  </a:cubicBezTo>
                  <a:lnTo>
                    <a:pt x="3593" y="14947"/>
                  </a:lnTo>
                  <a:cubicBezTo>
                    <a:pt x="3721" y="14947"/>
                    <a:pt x="3828" y="14894"/>
                    <a:pt x="3917" y="14785"/>
                  </a:cubicBezTo>
                  <a:cubicBezTo>
                    <a:pt x="4007" y="14677"/>
                    <a:pt x="4051" y="14547"/>
                    <a:pt x="4051" y="14401"/>
                  </a:cubicBezTo>
                  <a:lnTo>
                    <a:pt x="4051" y="12233"/>
                  </a:lnTo>
                  <a:close/>
                  <a:moveTo>
                    <a:pt x="4051" y="17285"/>
                  </a:moveTo>
                  <a:cubicBezTo>
                    <a:pt x="4051" y="17135"/>
                    <a:pt x="4010" y="17006"/>
                    <a:pt x="3924" y="16897"/>
                  </a:cubicBezTo>
                  <a:cubicBezTo>
                    <a:pt x="3838" y="16791"/>
                    <a:pt x="3728" y="16736"/>
                    <a:pt x="3593" y="16736"/>
                  </a:cubicBezTo>
                  <a:lnTo>
                    <a:pt x="1801" y="16736"/>
                  </a:lnTo>
                  <a:cubicBezTo>
                    <a:pt x="1676" y="16736"/>
                    <a:pt x="1569" y="16788"/>
                    <a:pt x="1481" y="16891"/>
                  </a:cubicBezTo>
                  <a:cubicBezTo>
                    <a:pt x="1390" y="16994"/>
                    <a:pt x="1344" y="17123"/>
                    <a:pt x="1344" y="17285"/>
                  </a:cubicBezTo>
                  <a:lnTo>
                    <a:pt x="1344" y="19435"/>
                  </a:lnTo>
                  <a:cubicBezTo>
                    <a:pt x="1344" y="19585"/>
                    <a:pt x="1388" y="19714"/>
                    <a:pt x="1473" y="19823"/>
                  </a:cubicBezTo>
                  <a:cubicBezTo>
                    <a:pt x="1559" y="19928"/>
                    <a:pt x="1669" y="19984"/>
                    <a:pt x="1801" y="19984"/>
                  </a:cubicBezTo>
                  <a:lnTo>
                    <a:pt x="3593" y="19984"/>
                  </a:lnTo>
                  <a:cubicBezTo>
                    <a:pt x="3721" y="19984"/>
                    <a:pt x="3828" y="19931"/>
                    <a:pt x="3917" y="19828"/>
                  </a:cubicBezTo>
                  <a:cubicBezTo>
                    <a:pt x="4007" y="19726"/>
                    <a:pt x="4051" y="19596"/>
                    <a:pt x="4051" y="19435"/>
                  </a:cubicBezTo>
                  <a:lnTo>
                    <a:pt x="4051" y="17285"/>
                  </a:lnTo>
                  <a:close/>
                  <a:moveTo>
                    <a:pt x="16194" y="2170"/>
                  </a:moveTo>
                  <a:cubicBezTo>
                    <a:pt x="16194" y="2020"/>
                    <a:pt x="16150" y="1891"/>
                    <a:pt x="16064" y="1782"/>
                  </a:cubicBezTo>
                  <a:cubicBezTo>
                    <a:pt x="15979" y="1677"/>
                    <a:pt x="15871" y="1621"/>
                    <a:pt x="15736" y="1621"/>
                  </a:cubicBezTo>
                  <a:lnTo>
                    <a:pt x="5858" y="1621"/>
                  </a:lnTo>
                  <a:cubicBezTo>
                    <a:pt x="5731" y="1621"/>
                    <a:pt x="5623" y="1674"/>
                    <a:pt x="5535" y="1776"/>
                  </a:cubicBezTo>
                  <a:cubicBezTo>
                    <a:pt x="5444" y="1879"/>
                    <a:pt x="5400" y="2011"/>
                    <a:pt x="5400" y="2170"/>
                  </a:cubicBezTo>
                  <a:lnTo>
                    <a:pt x="5400" y="9369"/>
                  </a:lnTo>
                  <a:cubicBezTo>
                    <a:pt x="5400" y="9516"/>
                    <a:pt x="5442" y="9645"/>
                    <a:pt x="5527" y="9757"/>
                  </a:cubicBezTo>
                  <a:cubicBezTo>
                    <a:pt x="5616" y="9863"/>
                    <a:pt x="5723" y="9915"/>
                    <a:pt x="5858" y="9915"/>
                  </a:cubicBezTo>
                  <a:lnTo>
                    <a:pt x="15736" y="9915"/>
                  </a:lnTo>
                  <a:cubicBezTo>
                    <a:pt x="15861" y="9915"/>
                    <a:pt x="15969" y="9863"/>
                    <a:pt x="16059" y="9757"/>
                  </a:cubicBezTo>
                  <a:cubicBezTo>
                    <a:pt x="16147" y="9645"/>
                    <a:pt x="16194" y="9516"/>
                    <a:pt x="16194" y="9369"/>
                  </a:cubicBezTo>
                  <a:lnTo>
                    <a:pt x="16194" y="2170"/>
                  </a:lnTo>
                  <a:close/>
                  <a:moveTo>
                    <a:pt x="16194" y="12233"/>
                  </a:moveTo>
                  <a:cubicBezTo>
                    <a:pt x="16194" y="12083"/>
                    <a:pt x="16150" y="11957"/>
                    <a:pt x="16064" y="11845"/>
                  </a:cubicBezTo>
                  <a:cubicBezTo>
                    <a:pt x="15979" y="11739"/>
                    <a:pt x="15871" y="11687"/>
                    <a:pt x="15736" y="11687"/>
                  </a:cubicBezTo>
                  <a:lnTo>
                    <a:pt x="5858" y="11687"/>
                  </a:lnTo>
                  <a:cubicBezTo>
                    <a:pt x="5731" y="11687"/>
                    <a:pt x="5623" y="11739"/>
                    <a:pt x="5535" y="11845"/>
                  </a:cubicBezTo>
                  <a:cubicBezTo>
                    <a:pt x="5444" y="11957"/>
                    <a:pt x="5400" y="12083"/>
                    <a:pt x="5400" y="12233"/>
                  </a:cubicBezTo>
                  <a:lnTo>
                    <a:pt x="5400" y="19432"/>
                  </a:lnTo>
                  <a:cubicBezTo>
                    <a:pt x="5400" y="19582"/>
                    <a:pt x="5442" y="19711"/>
                    <a:pt x="5527" y="19820"/>
                  </a:cubicBezTo>
                  <a:cubicBezTo>
                    <a:pt x="5616" y="19925"/>
                    <a:pt x="5723" y="19981"/>
                    <a:pt x="5858" y="19981"/>
                  </a:cubicBezTo>
                  <a:lnTo>
                    <a:pt x="15736" y="19981"/>
                  </a:lnTo>
                  <a:cubicBezTo>
                    <a:pt x="15861" y="19981"/>
                    <a:pt x="15969" y="19928"/>
                    <a:pt x="16059" y="19826"/>
                  </a:cubicBezTo>
                  <a:cubicBezTo>
                    <a:pt x="16147" y="19723"/>
                    <a:pt x="16194" y="19593"/>
                    <a:pt x="16194" y="19432"/>
                  </a:cubicBezTo>
                  <a:lnTo>
                    <a:pt x="16194" y="12233"/>
                  </a:lnTo>
                  <a:close/>
                  <a:moveTo>
                    <a:pt x="20263" y="2170"/>
                  </a:moveTo>
                  <a:cubicBezTo>
                    <a:pt x="20263" y="2020"/>
                    <a:pt x="20216" y="1891"/>
                    <a:pt x="20128" y="1782"/>
                  </a:cubicBezTo>
                  <a:cubicBezTo>
                    <a:pt x="20038" y="1677"/>
                    <a:pt x="19930" y="1621"/>
                    <a:pt x="19805" y="1621"/>
                  </a:cubicBezTo>
                  <a:lnTo>
                    <a:pt x="18001" y="1621"/>
                  </a:lnTo>
                  <a:cubicBezTo>
                    <a:pt x="17876" y="1621"/>
                    <a:pt x="17768" y="1674"/>
                    <a:pt x="17678" y="1776"/>
                  </a:cubicBezTo>
                  <a:cubicBezTo>
                    <a:pt x="17589" y="1879"/>
                    <a:pt x="17545" y="2011"/>
                    <a:pt x="17545" y="2170"/>
                  </a:cubicBezTo>
                  <a:lnTo>
                    <a:pt x="17545" y="4320"/>
                  </a:lnTo>
                  <a:cubicBezTo>
                    <a:pt x="17545" y="4470"/>
                    <a:pt x="17589" y="4602"/>
                    <a:pt x="17678" y="4708"/>
                  </a:cubicBezTo>
                  <a:cubicBezTo>
                    <a:pt x="17768" y="4816"/>
                    <a:pt x="17876" y="4866"/>
                    <a:pt x="18001" y="4866"/>
                  </a:cubicBezTo>
                  <a:lnTo>
                    <a:pt x="19805" y="4866"/>
                  </a:lnTo>
                  <a:cubicBezTo>
                    <a:pt x="19930" y="4866"/>
                    <a:pt x="20038" y="4819"/>
                    <a:pt x="20128" y="4717"/>
                  </a:cubicBezTo>
                  <a:cubicBezTo>
                    <a:pt x="20216" y="4614"/>
                    <a:pt x="20263" y="4482"/>
                    <a:pt x="20263" y="4320"/>
                  </a:cubicBezTo>
                  <a:lnTo>
                    <a:pt x="20263" y="2170"/>
                  </a:lnTo>
                  <a:close/>
                  <a:moveTo>
                    <a:pt x="20263" y="7201"/>
                  </a:moveTo>
                  <a:cubicBezTo>
                    <a:pt x="20263" y="7055"/>
                    <a:pt x="20216" y="6925"/>
                    <a:pt x="20128" y="6817"/>
                  </a:cubicBezTo>
                  <a:cubicBezTo>
                    <a:pt x="20038" y="6708"/>
                    <a:pt x="19930" y="6655"/>
                    <a:pt x="19805" y="6655"/>
                  </a:cubicBezTo>
                  <a:lnTo>
                    <a:pt x="18001" y="6655"/>
                  </a:lnTo>
                  <a:cubicBezTo>
                    <a:pt x="17876" y="6655"/>
                    <a:pt x="17768" y="6708"/>
                    <a:pt x="17678" y="6817"/>
                  </a:cubicBezTo>
                  <a:cubicBezTo>
                    <a:pt x="17589" y="6925"/>
                    <a:pt x="17545" y="7055"/>
                    <a:pt x="17545" y="7201"/>
                  </a:cubicBezTo>
                  <a:lnTo>
                    <a:pt x="17545" y="9369"/>
                  </a:lnTo>
                  <a:cubicBezTo>
                    <a:pt x="17545" y="9516"/>
                    <a:pt x="17589" y="9645"/>
                    <a:pt x="17678" y="9757"/>
                  </a:cubicBezTo>
                  <a:cubicBezTo>
                    <a:pt x="17768" y="9863"/>
                    <a:pt x="17876" y="9915"/>
                    <a:pt x="18001" y="9915"/>
                  </a:cubicBezTo>
                  <a:lnTo>
                    <a:pt x="19805" y="9915"/>
                  </a:lnTo>
                  <a:cubicBezTo>
                    <a:pt x="19930" y="9915"/>
                    <a:pt x="20038" y="9863"/>
                    <a:pt x="20128" y="9757"/>
                  </a:cubicBezTo>
                  <a:cubicBezTo>
                    <a:pt x="20216" y="9645"/>
                    <a:pt x="20263" y="9516"/>
                    <a:pt x="20263" y="9369"/>
                  </a:cubicBezTo>
                  <a:lnTo>
                    <a:pt x="20263" y="7201"/>
                  </a:lnTo>
                  <a:close/>
                  <a:moveTo>
                    <a:pt x="20263" y="12233"/>
                  </a:moveTo>
                  <a:cubicBezTo>
                    <a:pt x="20263" y="12083"/>
                    <a:pt x="20216" y="11957"/>
                    <a:pt x="20128" y="11845"/>
                  </a:cubicBezTo>
                  <a:cubicBezTo>
                    <a:pt x="20038" y="11739"/>
                    <a:pt x="19930" y="11687"/>
                    <a:pt x="19805" y="11687"/>
                  </a:cubicBezTo>
                  <a:lnTo>
                    <a:pt x="18001" y="11687"/>
                  </a:lnTo>
                  <a:cubicBezTo>
                    <a:pt x="17876" y="11687"/>
                    <a:pt x="17768" y="11739"/>
                    <a:pt x="17678" y="11845"/>
                  </a:cubicBezTo>
                  <a:cubicBezTo>
                    <a:pt x="17589" y="11957"/>
                    <a:pt x="17545" y="12083"/>
                    <a:pt x="17545" y="12233"/>
                  </a:cubicBezTo>
                  <a:lnTo>
                    <a:pt x="17545" y="14401"/>
                  </a:lnTo>
                  <a:cubicBezTo>
                    <a:pt x="17545" y="14547"/>
                    <a:pt x="17589" y="14677"/>
                    <a:pt x="17678" y="14785"/>
                  </a:cubicBezTo>
                  <a:cubicBezTo>
                    <a:pt x="17768" y="14894"/>
                    <a:pt x="17876" y="14947"/>
                    <a:pt x="18001" y="14947"/>
                  </a:cubicBezTo>
                  <a:lnTo>
                    <a:pt x="19805" y="14947"/>
                  </a:lnTo>
                  <a:cubicBezTo>
                    <a:pt x="19930" y="14947"/>
                    <a:pt x="20038" y="14894"/>
                    <a:pt x="20128" y="14785"/>
                  </a:cubicBezTo>
                  <a:cubicBezTo>
                    <a:pt x="20216" y="14677"/>
                    <a:pt x="20263" y="14547"/>
                    <a:pt x="20263" y="14401"/>
                  </a:cubicBezTo>
                  <a:lnTo>
                    <a:pt x="20263" y="12233"/>
                  </a:lnTo>
                  <a:close/>
                  <a:moveTo>
                    <a:pt x="20263" y="17285"/>
                  </a:moveTo>
                  <a:cubicBezTo>
                    <a:pt x="20263" y="17135"/>
                    <a:pt x="20216" y="17006"/>
                    <a:pt x="20128" y="16897"/>
                  </a:cubicBezTo>
                  <a:cubicBezTo>
                    <a:pt x="20038" y="16791"/>
                    <a:pt x="19930" y="16736"/>
                    <a:pt x="19805" y="16736"/>
                  </a:cubicBezTo>
                  <a:lnTo>
                    <a:pt x="18001" y="16736"/>
                  </a:lnTo>
                  <a:cubicBezTo>
                    <a:pt x="17876" y="16736"/>
                    <a:pt x="17768" y="16788"/>
                    <a:pt x="17678" y="16891"/>
                  </a:cubicBezTo>
                  <a:cubicBezTo>
                    <a:pt x="17589" y="16994"/>
                    <a:pt x="17545" y="17123"/>
                    <a:pt x="17545" y="17285"/>
                  </a:cubicBezTo>
                  <a:lnTo>
                    <a:pt x="17545" y="19435"/>
                  </a:lnTo>
                  <a:cubicBezTo>
                    <a:pt x="17545" y="19585"/>
                    <a:pt x="17589" y="19714"/>
                    <a:pt x="17678" y="19823"/>
                  </a:cubicBezTo>
                  <a:cubicBezTo>
                    <a:pt x="17768" y="19928"/>
                    <a:pt x="17876" y="19984"/>
                    <a:pt x="18001" y="19984"/>
                  </a:cubicBezTo>
                  <a:lnTo>
                    <a:pt x="19805" y="19984"/>
                  </a:lnTo>
                  <a:cubicBezTo>
                    <a:pt x="19930" y="19984"/>
                    <a:pt x="20038" y="19931"/>
                    <a:pt x="20128" y="19828"/>
                  </a:cubicBezTo>
                  <a:cubicBezTo>
                    <a:pt x="20216" y="19726"/>
                    <a:pt x="20263" y="19596"/>
                    <a:pt x="20263" y="19435"/>
                  </a:cubicBezTo>
                  <a:lnTo>
                    <a:pt x="20263" y="17285"/>
                  </a:lnTo>
                  <a:close/>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grpSp>
        <p:nvGrpSpPr>
          <p:cNvPr id="4" name="组合 3"/>
          <p:cNvGrpSpPr/>
          <p:nvPr/>
        </p:nvGrpSpPr>
        <p:grpSpPr>
          <a:xfrm>
            <a:off x="1378566" y="5060726"/>
            <a:ext cx="743647" cy="744538"/>
            <a:chOff x="1033463" y="3739121"/>
            <a:chExt cx="557808" cy="558576"/>
          </a:xfrm>
        </p:grpSpPr>
        <p:sp>
          <p:nvSpPr>
            <p:cNvPr id="14346" name="AutoShape 10"/>
            <p:cNvSpPr/>
            <p:nvPr/>
          </p:nvSpPr>
          <p:spPr bwMode="auto">
            <a:xfrm>
              <a:off x="1033463" y="3739121"/>
              <a:ext cx="557808" cy="558576"/>
            </a:xfrm>
            <a:custGeom>
              <a:avLst/>
              <a:gdLst>
                <a:gd name="T0" fmla="*/ 743706 w 19679"/>
                <a:gd name="T1" fmla="*/ 817217 h 19679"/>
                <a:gd name="T2" fmla="*/ 743706 w 19679"/>
                <a:gd name="T3" fmla="*/ 817217 h 19679"/>
                <a:gd name="T4" fmla="*/ 743706 w 19679"/>
                <a:gd name="T5" fmla="*/ 817217 h 19679"/>
                <a:gd name="T6" fmla="*/ 743706 w 19679"/>
                <a:gd name="T7" fmla="*/ 81721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3"/>
            </a:solidFill>
            <a:ln w="25400" cap="flat" cmpd="sng">
              <a:solidFill>
                <a:srgbClr val="000000">
                  <a:alpha val="0"/>
                </a:srgbClr>
              </a:solidFill>
              <a:prstDash val="solid"/>
              <a:miter lim="0"/>
            </a:ln>
            <a:effectLst/>
          </p:spPr>
          <p:txBody>
            <a:bodyPr lIns="0" tIns="0" rIns="0" bIns="0" anchor="ctr"/>
            <a:lstStyle/>
            <a:p>
              <a:endParaRPr lang="zh-CN" altLang="en-US">
                <a:solidFill>
                  <a:schemeClr val="tx1">
                    <a:lumMod val="50000"/>
                    <a:lumOff val="50000"/>
                  </a:schemeClr>
                </a:solidFill>
              </a:endParaRPr>
            </a:p>
          </p:txBody>
        </p:sp>
        <p:sp>
          <p:nvSpPr>
            <p:cNvPr id="14348" name="AutoShape 12"/>
            <p:cNvSpPr/>
            <p:nvPr/>
          </p:nvSpPr>
          <p:spPr bwMode="auto">
            <a:xfrm>
              <a:off x="1187648" y="3885613"/>
              <a:ext cx="256580" cy="256659"/>
            </a:xfrm>
            <a:custGeom>
              <a:avLst/>
              <a:gdLst>
                <a:gd name="T0" fmla="*/ 342106 w 21600"/>
                <a:gd name="T1" fmla="*/ 342106 h 21600"/>
                <a:gd name="T2" fmla="*/ 342106 w 21600"/>
                <a:gd name="T3" fmla="*/ 342106 h 21600"/>
                <a:gd name="T4" fmla="*/ 342106 w 21600"/>
                <a:gd name="T5" fmla="*/ 342106 h 21600"/>
                <a:gd name="T6" fmla="*/ 342106 w 21600"/>
                <a:gd name="T7" fmla="*/ 3421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8897" y="0"/>
                  </a:moveTo>
                  <a:cubicBezTo>
                    <a:pt x="19649" y="0"/>
                    <a:pt x="20287" y="264"/>
                    <a:pt x="20812" y="796"/>
                  </a:cubicBezTo>
                  <a:cubicBezTo>
                    <a:pt x="21335" y="1321"/>
                    <a:pt x="21600" y="1962"/>
                    <a:pt x="21600" y="2711"/>
                  </a:cubicBezTo>
                  <a:lnTo>
                    <a:pt x="21600" y="18882"/>
                  </a:lnTo>
                  <a:cubicBezTo>
                    <a:pt x="21600" y="19267"/>
                    <a:pt x="21526" y="19623"/>
                    <a:pt x="21382" y="19952"/>
                  </a:cubicBezTo>
                  <a:cubicBezTo>
                    <a:pt x="21235" y="20281"/>
                    <a:pt x="21041" y="20563"/>
                    <a:pt x="20803" y="20804"/>
                  </a:cubicBezTo>
                  <a:cubicBezTo>
                    <a:pt x="20566" y="21042"/>
                    <a:pt x="20278" y="21232"/>
                    <a:pt x="19940" y="21376"/>
                  </a:cubicBezTo>
                  <a:cubicBezTo>
                    <a:pt x="19602" y="21523"/>
                    <a:pt x="19256" y="21594"/>
                    <a:pt x="18897" y="21594"/>
                  </a:cubicBezTo>
                  <a:lnTo>
                    <a:pt x="12065" y="21594"/>
                  </a:lnTo>
                  <a:lnTo>
                    <a:pt x="12065" y="12552"/>
                  </a:lnTo>
                  <a:lnTo>
                    <a:pt x="14486" y="12552"/>
                  </a:lnTo>
                  <a:cubicBezTo>
                    <a:pt x="14594" y="12552"/>
                    <a:pt x="14697" y="12516"/>
                    <a:pt x="14788" y="12440"/>
                  </a:cubicBezTo>
                  <a:cubicBezTo>
                    <a:pt x="14876" y="12367"/>
                    <a:pt x="14920" y="12267"/>
                    <a:pt x="14920" y="12143"/>
                  </a:cubicBezTo>
                  <a:lnTo>
                    <a:pt x="15088" y="9779"/>
                  </a:lnTo>
                  <a:cubicBezTo>
                    <a:pt x="15088" y="9649"/>
                    <a:pt x="15050" y="9538"/>
                    <a:pt x="14976" y="9444"/>
                  </a:cubicBezTo>
                  <a:cubicBezTo>
                    <a:pt x="14882" y="9350"/>
                    <a:pt x="14773" y="9303"/>
                    <a:pt x="14653" y="9303"/>
                  </a:cubicBezTo>
                  <a:lnTo>
                    <a:pt x="12065" y="9303"/>
                  </a:lnTo>
                  <a:lnTo>
                    <a:pt x="12065" y="8263"/>
                  </a:lnTo>
                  <a:cubicBezTo>
                    <a:pt x="12065" y="7878"/>
                    <a:pt x="12115" y="7622"/>
                    <a:pt x="12215" y="7496"/>
                  </a:cubicBezTo>
                  <a:cubicBezTo>
                    <a:pt x="12312" y="7370"/>
                    <a:pt x="12565" y="7308"/>
                    <a:pt x="12964" y="7308"/>
                  </a:cubicBezTo>
                  <a:cubicBezTo>
                    <a:pt x="13202" y="7308"/>
                    <a:pt x="13458" y="7326"/>
                    <a:pt x="13745" y="7367"/>
                  </a:cubicBezTo>
                  <a:cubicBezTo>
                    <a:pt x="14033" y="7405"/>
                    <a:pt x="14306" y="7455"/>
                    <a:pt x="14568" y="7520"/>
                  </a:cubicBezTo>
                  <a:cubicBezTo>
                    <a:pt x="14624" y="7520"/>
                    <a:pt x="14685" y="7514"/>
                    <a:pt x="14759" y="7499"/>
                  </a:cubicBezTo>
                  <a:cubicBezTo>
                    <a:pt x="14829" y="7484"/>
                    <a:pt x="14882" y="7458"/>
                    <a:pt x="14920" y="7423"/>
                  </a:cubicBezTo>
                  <a:cubicBezTo>
                    <a:pt x="15014" y="7367"/>
                    <a:pt x="15079" y="7264"/>
                    <a:pt x="15117" y="7114"/>
                  </a:cubicBezTo>
                  <a:lnTo>
                    <a:pt x="15437" y="4837"/>
                  </a:lnTo>
                  <a:cubicBezTo>
                    <a:pt x="15478" y="4564"/>
                    <a:pt x="15361" y="4403"/>
                    <a:pt x="15088" y="4347"/>
                  </a:cubicBezTo>
                  <a:cubicBezTo>
                    <a:pt x="14245" y="4112"/>
                    <a:pt x="13364" y="4000"/>
                    <a:pt x="12444" y="4009"/>
                  </a:cubicBezTo>
                  <a:cubicBezTo>
                    <a:pt x="9625" y="4009"/>
                    <a:pt x="8212" y="5384"/>
                    <a:pt x="8212" y="8128"/>
                  </a:cubicBezTo>
                  <a:lnTo>
                    <a:pt x="8212" y="9308"/>
                  </a:lnTo>
                  <a:lnTo>
                    <a:pt x="6764" y="9308"/>
                  </a:lnTo>
                  <a:cubicBezTo>
                    <a:pt x="6455" y="9308"/>
                    <a:pt x="6306" y="9458"/>
                    <a:pt x="6317" y="9758"/>
                  </a:cubicBezTo>
                  <a:lnTo>
                    <a:pt x="6317" y="12120"/>
                  </a:lnTo>
                  <a:cubicBezTo>
                    <a:pt x="6317" y="12234"/>
                    <a:pt x="6356" y="12334"/>
                    <a:pt x="6444" y="12425"/>
                  </a:cubicBezTo>
                  <a:cubicBezTo>
                    <a:pt x="6526" y="12514"/>
                    <a:pt x="6632" y="12558"/>
                    <a:pt x="6764" y="12558"/>
                  </a:cubicBezTo>
                  <a:lnTo>
                    <a:pt x="8212" y="12558"/>
                  </a:lnTo>
                  <a:lnTo>
                    <a:pt x="8212" y="21600"/>
                  </a:lnTo>
                  <a:lnTo>
                    <a:pt x="2684" y="21600"/>
                  </a:lnTo>
                  <a:cubicBezTo>
                    <a:pt x="2320" y="21600"/>
                    <a:pt x="1973" y="21529"/>
                    <a:pt x="1647" y="21382"/>
                  </a:cubicBezTo>
                  <a:cubicBezTo>
                    <a:pt x="1321" y="21238"/>
                    <a:pt x="1033" y="21047"/>
                    <a:pt x="795" y="20809"/>
                  </a:cubicBezTo>
                  <a:cubicBezTo>
                    <a:pt x="558" y="20569"/>
                    <a:pt x="364" y="20287"/>
                    <a:pt x="220" y="19957"/>
                  </a:cubicBezTo>
                  <a:cubicBezTo>
                    <a:pt x="76" y="19628"/>
                    <a:pt x="0" y="19273"/>
                    <a:pt x="0" y="18888"/>
                  </a:cubicBezTo>
                  <a:lnTo>
                    <a:pt x="0" y="2717"/>
                  </a:lnTo>
                  <a:cubicBezTo>
                    <a:pt x="0" y="2352"/>
                    <a:pt x="76" y="2000"/>
                    <a:pt x="220" y="1662"/>
                  </a:cubicBezTo>
                  <a:cubicBezTo>
                    <a:pt x="364" y="1327"/>
                    <a:pt x="558" y="1036"/>
                    <a:pt x="795" y="801"/>
                  </a:cubicBezTo>
                  <a:cubicBezTo>
                    <a:pt x="1033" y="557"/>
                    <a:pt x="1321" y="369"/>
                    <a:pt x="1647" y="222"/>
                  </a:cubicBezTo>
                  <a:cubicBezTo>
                    <a:pt x="1973" y="75"/>
                    <a:pt x="2320" y="5"/>
                    <a:pt x="2684" y="5"/>
                  </a:cubicBezTo>
                  <a:lnTo>
                    <a:pt x="18897" y="5"/>
                  </a:lnTo>
                  <a:lnTo>
                    <a:pt x="18897" y="0"/>
                  </a:lnTo>
                  <a:close/>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grpSp>
        <p:nvGrpSpPr>
          <p:cNvPr id="5" name="组合 4"/>
          <p:cNvGrpSpPr/>
          <p:nvPr/>
        </p:nvGrpSpPr>
        <p:grpSpPr>
          <a:xfrm>
            <a:off x="4580931" y="2920776"/>
            <a:ext cx="744440" cy="744538"/>
            <a:chOff x="3435549" y="2133663"/>
            <a:chExt cx="558403" cy="558576"/>
          </a:xfrm>
        </p:grpSpPr>
        <p:sp>
          <p:nvSpPr>
            <p:cNvPr id="14349" name="AutoShape 13"/>
            <p:cNvSpPr/>
            <p:nvPr/>
          </p:nvSpPr>
          <p:spPr bwMode="auto">
            <a:xfrm>
              <a:off x="3435549" y="2133663"/>
              <a:ext cx="558403" cy="558576"/>
            </a:xfrm>
            <a:custGeom>
              <a:avLst/>
              <a:gdLst>
                <a:gd name="T0" fmla="*/ 744500 w 19679"/>
                <a:gd name="T1" fmla="*/ 817217 h 19679"/>
                <a:gd name="T2" fmla="*/ 744500 w 19679"/>
                <a:gd name="T3" fmla="*/ 817217 h 19679"/>
                <a:gd name="T4" fmla="*/ 744500 w 19679"/>
                <a:gd name="T5" fmla="*/ 817217 h 19679"/>
                <a:gd name="T6" fmla="*/ 744500 w 19679"/>
                <a:gd name="T7" fmla="*/ 81721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2"/>
            </a:solidFill>
            <a:ln w="25400" cap="flat" cmpd="sng">
              <a:solidFill>
                <a:srgbClr val="000000">
                  <a:alpha val="0"/>
                </a:srgbClr>
              </a:solidFill>
              <a:prstDash val="solid"/>
              <a:miter lim="0"/>
            </a:ln>
            <a:effectLst/>
          </p:spPr>
          <p:txBody>
            <a:bodyPr lIns="0" tIns="0" rIns="0" bIns="0" anchor="ctr"/>
            <a:lstStyle/>
            <a:p>
              <a:endParaRPr lang="zh-CN" altLang="en-US">
                <a:solidFill>
                  <a:schemeClr val="tx1">
                    <a:lumMod val="50000"/>
                    <a:lumOff val="50000"/>
                  </a:schemeClr>
                </a:solidFill>
              </a:endParaRPr>
            </a:p>
          </p:txBody>
        </p:sp>
        <p:sp>
          <p:nvSpPr>
            <p:cNvPr id="14352" name="AutoShape 16"/>
            <p:cNvSpPr/>
            <p:nvPr/>
          </p:nvSpPr>
          <p:spPr bwMode="auto">
            <a:xfrm>
              <a:off x="3599259" y="2293257"/>
              <a:ext cx="257175" cy="214974"/>
            </a:xfrm>
            <a:custGeom>
              <a:avLst/>
              <a:gdLst>
                <a:gd name="T0" fmla="*/ 342900 w 21600"/>
                <a:gd name="T1" fmla="*/ 286530 h 21579"/>
                <a:gd name="T2" fmla="*/ 342900 w 21600"/>
                <a:gd name="T3" fmla="*/ 286530 h 21579"/>
                <a:gd name="T4" fmla="*/ 342900 w 21600"/>
                <a:gd name="T5" fmla="*/ 286530 h 21579"/>
                <a:gd name="T6" fmla="*/ 342900 w 21600"/>
                <a:gd name="T7" fmla="*/ 286530 h 215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579">
                  <a:moveTo>
                    <a:pt x="21599" y="9391"/>
                  </a:moveTo>
                  <a:cubicBezTo>
                    <a:pt x="21599" y="9887"/>
                    <a:pt x="21472" y="10321"/>
                    <a:pt x="21218" y="10697"/>
                  </a:cubicBezTo>
                  <a:cubicBezTo>
                    <a:pt x="20963" y="11072"/>
                    <a:pt x="20647" y="11313"/>
                    <a:pt x="20263" y="11427"/>
                  </a:cubicBezTo>
                  <a:lnTo>
                    <a:pt x="20263" y="16610"/>
                  </a:lnTo>
                  <a:cubicBezTo>
                    <a:pt x="20263" y="17200"/>
                    <a:pt x="20087" y="17708"/>
                    <a:pt x="19729" y="18128"/>
                  </a:cubicBezTo>
                  <a:cubicBezTo>
                    <a:pt x="19374" y="18550"/>
                    <a:pt x="18951" y="18758"/>
                    <a:pt x="18459" y="18758"/>
                  </a:cubicBezTo>
                  <a:cubicBezTo>
                    <a:pt x="17927" y="18122"/>
                    <a:pt x="17286" y="17505"/>
                    <a:pt x="16537" y="16904"/>
                  </a:cubicBezTo>
                  <a:cubicBezTo>
                    <a:pt x="15785" y="16305"/>
                    <a:pt x="14980" y="15756"/>
                    <a:pt x="14116" y="15254"/>
                  </a:cubicBezTo>
                  <a:cubicBezTo>
                    <a:pt x="13254" y="14755"/>
                    <a:pt x="12363" y="14324"/>
                    <a:pt x="11449" y="13969"/>
                  </a:cubicBezTo>
                  <a:cubicBezTo>
                    <a:pt x="10536" y="13614"/>
                    <a:pt x="9648" y="13379"/>
                    <a:pt x="8788" y="13267"/>
                  </a:cubicBezTo>
                  <a:cubicBezTo>
                    <a:pt x="8453" y="13379"/>
                    <a:pt x="8179" y="13564"/>
                    <a:pt x="7968" y="13828"/>
                  </a:cubicBezTo>
                  <a:cubicBezTo>
                    <a:pt x="7758" y="14092"/>
                    <a:pt x="7613" y="14386"/>
                    <a:pt x="7535" y="14706"/>
                  </a:cubicBezTo>
                  <a:cubicBezTo>
                    <a:pt x="7457" y="15028"/>
                    <a:pt x="7449" y="15360"/>
                    <a:pt x="7510" y="15698"/>
                  </a:cubicBezTo>
                  <a:cubicBezTo>
                    <a:pt x="7574" y="16035"/>
                    <a:pt x="7719" y="16340"/>
                    <a:pt x="7946" y="16610"/>
                  </a:cubicBezTo>
                  <a:cubicBezTo>
                    <a:pt x="7750" y="16992"/>
                    <a:pt x="7660" y="17347"/>
                    <a:pt x="7677" y="17673"/>
                  </a:cubicBezTo>
                  <a:cubicBezTo>
                    <a:pt x="7692" y="17993"/>
                    <a:pt x="7772" y="18307"/>
                    <a:pt x="7917" y="18606"/>
                  </a:cubicBezTo>
                  <a:cubicBezTo>
                    <a:pt x="8059" y="18908"/>
                    <a:pt x="8255" y="19193"/>
                    <a:pt x="8497" y="19469"/>
                  </a:cubicBezTo>
                  <a:cubicBezTo>
                    <a:pt x="8737" y="19745"/>
                    <a:pt x="8996" y="20021"/>
                    <a:pt x="9271" y="20291"/>
                  </a:cubicBezTo>
                  <a:cubicBezTo>
                    <a:pt x="9114" y="20696"/>
                    <a:pt x="8842" y="21001"/>
                    <a:pt x="8455" y="21212"/>
                  </a:cubicBezTo>
                  <a:cubicBezTo>
                    <a:pt x="8069" y="21423"/>
                    <a:pt x="7655" y="21541"/>
                    <a:pt x="7212" y="21570"/>
                  </a:cubicBezTo>
                  <a:cubicBezTo>
                    <a:pt x="6771" y="21600"/>
                    <a:pt x="6340" y="21550"/>
                    <a:pt x="5917" y="21423"/>
                  </a:cubicBezTo>
                  <a:cubicBezTo>
                    <a:pt x="5496" y="21294"/>
                    <a:pt x="5163" y="21092"/>
                    <a:pt x="4923" y="20810"/>
                  </a:cubicBezTo>
                  <a:cubicBezTo>
                    <a:pt x="4781" y="20241"/>
                    <a:pt x="4624" y="19657"/>
                    <a:pt x="4453" y="19055"/>
                  </a:cubicBezTo>
                  <a:cubicBezTo>
                    <a:pt x="4281" y="18453"/>
                    <a:pt x="4139" y="17843"/>
                    <a:pt x="4032" y="17224"/>
                  </a:cubicBezTo>
                  <a:cubicBezTo>
                    <a:pt x="3921" y="16599"/>
                    <a:pt x="3868" y="15953"/>
                    <a:pt x="3868" y="15281"/>
                  </a:cubicBezTo>
                  <a:cubicBezTo>
                    <a:pt x="3868" y="14615"/>
                    <a:pt x="3961" y="13905"/>
                    <a:pt x="4149" y="13153"/>
                  </a:cubicBezTo>
                  <a:lnTo>
                    <a:pt x="1804" y="13153"/>
                  </a:lnTo>
                  <a:cubicBezTo>
                    <a:pt x="1312" y="13153"/>
                    <a:pt x="888" y="12945"/>
                    <a:pt x="533" y="12522"/>
                  </a:cubicBezTo>
                  <a:cubicBezTo>
                    <a:pt x="176" y="12100"/>
                    <a:pt x="0" y="11592"/>
                    <a:pt x="0" y="10990"/>
                  </a:cubicBezTo>
                  <a:lnTo>
                    <a:pt x="0" y="7774"/>
                  </a:lnTo>
                  <a:cubicBezTo>
                    <a:pt x="0" y="7184"/>
                    <a:pt x="176" y="6676"/>
                    <a:pt x="526" y="6245"/>
                  </a:cubicBezTo>
                  <a:cubicBezTo>
                    <a:pt x="878" y="5819"/>
                    <a:pt x="1304" y="5605"/>
                    <a:pt x="1804" y="5605"/>
                  </a:cubicBezTo>
                  <a:lnTo>
                    <a:pt x="7652" y="5605"/>
                  </a:lnTo>
                  <a:cubicBezTo>
                    <a:pt x="8551" y="5605"/>
                    <a:pt x="9508" y="5449"/>
                    <a:pt x="10524" y="5135"/>
                  </a:cubicBezTo>
                  <a:cubicBezTo>
                    <a:pt x="11540" y="4821"/>
                    <a:pt x="12536" y="4399"/>
                    <a:pt x="13511" y="3873"/>
                  </a:cubicBezTo>
                  <a:cubicBezTo>
                    <a:pt x="14488" y="3342"/>
                    <a:pt x="15408" y="2744"/>
                    <a:pt x="16272" y="2071"/>
                  </a:cubicBezTo>
                  <a:cubicBezTo>
                    <a:pt x="17134" y="1405"/>
                    <a:pt x="17864" y="713"/>
                    <a:pt x="18459" y="0"/>
                  </a:cubicBezTo>
                  <a:cubicBezTo>
                    <a:pt x="18951" y="0"/>
                    <a:pt x="19374" y="214"/>
                    <a:pt x="19729" y="633"/>
                  </a:cubicBezTo>
                  <a:cubicBezTo>
                    <a:pt x="20087" y="1056"/>
                    <a:pt x="20263" y="1567"/>
                    <a:pt x="20263" y="2165"/>
                  </a:cubicBezTo>
                  <a:lnTo>
                    <a:pt x="20263" y="7334"/>
                  </a:lnTo>
                  <a:cubicBezTo>
                    <a:pt x="20647" y="7445"/>
                    <a:pt x="20963" y="7692"/>
                    <a:pt x="21218" y="8070"/>
                  </a:cubicBezTo>
                  <a:cubicBezTo>
                    <a:pt x="21472" y="8454"/>
                    <a:pt x="21599" y="8895"/>
                    <a:pt x="21599" y="9391"/>
                  </a:cubicBezTo>
                  <a:moveTo>
                    <a:pt x="18459" y="2855"/>
                  </a:moveTo>
                  <a:cubicBezTo>
                    <a:pt x="17864" y="3407"/>
                    <a:pt x="17215" y="3941"/>
                    <a:pt x="16512" y="4451"/>
                  </a:cubicBezTo>
                  <a:cubicBezTo>
                    <a:pt x="15810" y="4962"/>
                    <a:pt x="15065" y="5423"/>
                    <a:pt x="14280" y="5834"/>
                  </a:cubicBezTo>
                  <a:cubicBezTo>
                    <a:pt x="13494" y="6245"/>
                    <a:pt x="12693" y="6609"/>
                    <a:pt x="11878" y="6923"/>
                  </a:cubicBezTo>
                  <a:cubicBezTo>
                    <a:pt x="11060" y="7237"/>
                    <a:pt x="10255" y="7462"/>
                    <a:pt x="9457" y="7603"/>
                  </a:cubicBezTo>
                  <a:lnTo>
                    <a:pt x="9457" y="11172"/>
                  </a:lnTo>
                  <a:cubicBezTo>
                    <a:pt x="10255" y="11325"/>
                    <a:pt x="11060" y="11554"/>
                    <a:pt x="11878" y="11862"/>
                  </a:cubicBezTo>
                  <a:cubicBezTo>
                    <a:pt x="12693" y="12170"/>
                    <a:pt x="13494" y="12537"/>
                    <a:pt x="14280" y="12956"/>
                  </a:cubicBezTo>
                  <a:cubicBezTo>
                    <a:pt x="15065" y="13379"/>
                    <a:pt x="15812" y="13843"/>
                    <a:pt x="16524" y="14347"/>
                  </a:cubicBezTo>
                  <a:cubicBezTo>
                    <a:pt x="17234" y="14855"/>
                    <a:pt x="17881" y="15380"/>
                    <a:pt x="18459" y="15921"/>
                  </a:cubicBezTo>
                  <a:lnTo>
                    <a:pt x="18459" y="2855"/>
                  </a:lnTo>
                  <a:close/>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grpSp>
        <p:nvGrpSpPr>
          <p:cNvPr id="6" name="组合 5"/>
          <p:cNvGrpSpPr/>
          <p:nvPr/>
        </p:nvGrpSpPr>
        <p:grpSpPr>
          <a:xfrm>
            <a:off x="4580931" y="3966145"/>
            <a:ext cx="744440" cy="744538"/>
            <a:chOff x="3435549" y="2917932"/>
            <a:chExt cx="558403" cy="558576"/>
          </a:xfrm>
        </p:grpSpPr>
        <p:sp>
          <p:nvSpPr>
            <p:cNvPr id="14350" name="AutoShape 14"/>
            <p:cNvSpPr/>
            <p:nvPr/>
          </p:nvSpPr>
          <p:spPr bwMode="auto">
            <a:xfrm>
              <a:off x="3435549" y="2917932"/>
              <a:ext cx="558403" cy="558576"/>
            </a:xfrm>
            <a:custGeom>
              <a:avLst/>
              <a:gdLst>
                <a:gd name="T0" fmla="*/ 744500 w 19679"/>
                <a:gd name="T1" fmla="*/ 817217 h 19679"/>
                <a:gd name="T2" fmla="*/ 744500 w 19679"/>
                <a:gd name="T3" fmla="*/ 817217 h 19679"/>
                <a:gd name="T4" fmla="*/ 744500 w 19679"/>
                <a:gd name="T5" fmla="*/ 817217 h 19679"/>
                <a:gd name="T6" fmla="*/ 744500 w 19679"/>
                <a:gd name="T7" fmla="*/ 81721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1"/>
            </a:solidFill>
            <a:ln w="25400" cap="flat" cmpd="sng">
              <a:solidFill>
                <a:srgbClr val="000000">
                  <a:alpha val="0"/>
                </a:srgbClr>
              </a:solidFill>
              <a:prstDash val="solid"/>
              <a:miter lim="0"/>
            </a:ln>
            <a:effectLst/>
          </p:spPr>
          <p:txBody>
            <a:bodyPr lIns="0" tIns="0" rIns="0" bIns="0" anchor="ctr"/>
            <a:lstStyle/>
            <a:p>
              <a:endParaRPr lang="zh-CN" altLang="en-US">
                <a:solidFill>
                  <a:schemeClr val="tx1">
                    <a:lumMod val="50000"/>
                    <a:lumOff val="50000"/>
                  </a:schemeClr>
                </a:solidFill>
              </a:endParaRPr>
            </a:p>
          </p:txBody>
        </p:sp>
        <p:sp>
          <p:nvSpPr>
            <p:cNvPr id="14353" name="AutoShape 17"/>
            <p:cNvSpPr/>
            <p:nvPr/>
          </p:nvSpPr>
          <p:spPr bwMode="auto">
            <a:xfrm>
              <a:off x="3599259" y="3070975"/>
              <a:ext cx="257175" cy="257254"/>
            </a:xfrm>
            <a:custGeom>
              <a:avLst/>
              <a:gdLst>
                <a:gd name="T0" fmla="*/ 342900 w 21600"/>
                <a:gd name="T1" fmla="*/ 342900 h 21600"/>
                <a:gd name="T2" fmla="*/ 342900 w 21600"/>
                <a:gd name="T3" fmla="*/ 342900 h 21600"/>
                <a:gd name="T4" fmla="*/ 342900 w 21600"/>
                <a:gd name="T5" fmla="*/ 342900 h 21600"/>
                <a:gd name="T6" fmla="*/ 342900 w 21600"/>
                <a:gd name="T7" fmla="*/ 34290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357" y="18801"/>
                  </a:moveTo>
                  <a:cubicBezTo>
                    <a:pt x="21518" y="18965"/>
                    <a:pt x="21600" y="19177"/>
                    <a:pt x="21600" y="19436"/>
                  </a:cubicBezTo>
                  <a:cubicBezTo>
                    <a:pt x="21600" y="19580"/>
                    <a:pt x="21518" y="19775"/>
                    <a:pt x="21357" y="20018"/>
                  </a:cubicBezTo>
                  <a:cubicBezTo>
                    <a:pt x="21193" y="20261"/>
                    <a:pt x="20989" y="20504"/>
                    <a:pt x="20746" y="20741"/>
                  </a:cubicBezTo>
                  <a:cubicBezTo>
                    <a:pt x="20503" y="20978"/>
                    <a:pt x="20260" y="21184"/>
                    <a:pt x="20023" y="21348"/>
                  </a:cubicBezTo>
                  <a:cubicBezTo>
                    <a:pt x="19783" y="21518"/>
                    <a:pt x="19593" y="21599"/>
                    <a:pt x="19447" y="21599"/>
                  </a:cubicBezTo>
                  <a:cubicBezTo>
                    <a:pt x="19189" y="21599"/>
                    <a:pt x="18975" y="21515"/>
                    <a:pt x="18811" y="21343"/>
                  </a:cubicBezTo>
                  <a:lnTo>
                    <a:pt x="13957" y="16502"/>
                  </a:lnTo>
                  <a:cubicBezTo>
                    <a:pt x="13217" y="16980"/>
                    <a:pt x="12428" y="17350"/>
                    <a:pt x="11589" y="17604"/>
                  </a:cubicBezTo>
                  <a:cubicBezTo>
                    <a:pt x="10750" y="17864"/>
                    <a:pt x="9891" y="17991"/>
                    <a:pt x="9007" y="17991"/>
                  </a:cubicBezTo>
                  <a:cubicBezTo>
                    <a:pt x="7769" y="17991"/>
                    <a:pt x="6608" y="17759"/>
                    <a:pt x="5517" y="17290"/>
                  </a:cubicBezTo>
                  <a:cubicBezTo>
                    <a:pt x="4427" y="16822"/>
                    <a:pt x="3469" y="16175"/>
                    <a:pt x="2644" y="15353"/>
                  </a:cubicBezTo>
                  <a:cubicBezTo>
                    <a:pt x="1816" y="14534"/>
                    <a:pt x="1172" y="13580"/>
                    <a:pt x="700" y="12487"/>
                  </a:cubicBezTo>
                  <a:cubicBezTo>
                    <a:pt x="231" y="11400"/>
                    <a:pt x="0" y="10236"/>
                    <a:pt x="0" y="8999"/>
                  </a:cubicBezTo>
                  <a:cubicBezTo>
                    <a:pt x="0" y="7768"/>
                    <a:pt x="231" y="6602"/>
                    <a:pt x="700" y="5515"/>
                  </a:cubicBezTo>
                  <a:cubicBezTo>
                    <a:pt x="1169" y="4422"/>
                    <a:pt x="1816" y="3467"/>
                    <a:pt x="2644" y="2645"/>
                  </a:cubicBezTo>
                  <a:cubicBezTo>
                    <a:pt x="3469" y="1827"/>
                    <a:pt x="4424" y="1180"/>
                    <a:pt x="5512" y="708"/>
                  </a:cubicBezTo>
                  <a:cubicBezTo>
                    <a:pt x="6600" y="237"/>
                    <a:pt x="7764" y="0"/>
                    <a:pt x="9007" y="0"/>
                  </a:cubicBezTo>
                  <a:cubicBezTo>
                    <a:pt x="10244" y="0"/>
                    <a:pt x="11403" y="237"/>
                    <a:pt x="12488" y="708"/>
                  </a:cubicBezTo>
                  <a:cubicBezTo>
                    <a:pt x="13573" y="1180"/>
                    <a:pt x="14530" y="1827"/>
                    <a:pt x="15358" y="2645"/>
                  </a:cubicBezTo>
                  <a:cubicBezTo>
                    <a:pt x="16183" y="3467"/>
                    <a:pt x="16830" y="4422"/>
                    <a:pt x="17299" y="5515"/>
                  </a:cubicBezTo>
                  <a:cubicBezTo>
                    <a:pt x="17768" y="6602"/>
                    <a:pt x="18003" y="7768"/>
                    <a:pt x="18003" y="8999"/>
                  </a:cubicBezTo>
                  <a:cubicBezTo>
                    <a:pt x="18003" y="9886"/>
                    <a:pt x="17873" y="10747"/>
                    <a:pt x="17616" y="11589"/>
                  </a:cubicBezTo>
                  <a:cubicBezTo>
                    <a:pt x="17359" y="12433"/>
                    <a:pt x="16991" y="13218"/>
                    <a:pt x="16514" y="13947"/>
                  </a:cubicBezTo>
                  <a:lnTo>
                    <a:pt x="21357" y="18801"/>
                  </a:lnTo>
                  <a:close/>
                  <a:moveTo>
                    <a:pt x="3596" y="8999"/>
                  </a:moveTo>
                  <a:cubicBezTo>
                    <a:pt x="3596" y="9759"/>
                    <a:pt x="3740" y="10465"/>
                    <a:pt x="4028" y="11117"/>
                  </a:cubicBezTo>
                  <a:cubicBezTo>
                    <a:pt x="4317" y="11770"/>
                    <a:pt x="4707" y="12337"/>
                    <a:pt x="5193" y="12820"/>
                  </a:cubicBezTo>
                  <a:cubicBezTo>
                    <a:pt x="5679" y="13300"/>
                    <a:pt x="6252" y="13684"/>
                    <a:pt x="6908" y="13969"/>
                  </a:cubicBezTo>
                  <a:cubicBezTo>
                    <a:pt x="7566" y="14252"/>
                    <a:pt x="8264" y="14393"/>
                    <a:pt x="9004" y="14393"/>
                  </a:cubicBezTo>
                  <a:cubicBezTo>
                    <a:pt x="9744" y="14393"/>
                    <a:pt x="10439" y="14252"/>
                    <a:pt x="11092" y="13969"/>
                  </a:cubicBezTo>
                  <a:cubicBezTo>
                    <a:pt x="11745" y="13684"/>
                    <a:pt x="12318" y="13300"/>
                    <a:pt x="12801" y="12820"/>
                  </a:cubicBezTo>
                  <a:cubicBezTo>
                    <a:pt x="13290" y="12337"/>
                    <a:pt x="13677" y="11770"/>
                    <a:pt x="13965" y="11117"/>
                  </a:cubicBezTo>
                  <a:cubicBezTo>
                    <a:pt x="14254" y="10465"/>
                    <a:pt x="14398" y="9759"/>
                    <a:pt x="14398" y="8999"/>
                  </a:cubicBezTo>
                  <a:cubicBezTo>
                    <a:pt x="14398" y="8259"/>
                    <a:pt x="14254" y="7565"/>
                    <a:pt x="13965" y="6912"/>
                  </a:cubicBezTo>
                  <a:cubicBezTo>
                    <a:pt x="13674" y="6257"/>
                    <a:pt x="13290" y="5684"/>
                    <a:pt x="12801" y="5192"/>
                  </a:cubicBezTo>
                  <a:cubicBezTo>
                    <a:pt x="12315" y="4704"/>
                    <a:pt x="11745" y="4317"/>
                    <a:pt x="11092" y="4032"/>
                  </a:cubicBezTo>
                  <a:cubicBezTo>
                    <a:pt x="10439" y="3749"/>
                    <a:pt x="9741" y="3605"/>
                    <a:pt x="9004" y="3605"/>
                  </a:cubicBezTo>
                  <a:cubicBezTo>
                    <a:pt x="8267" y="3605"/>
                    <a:pt x="7566" y="3749"/>
                    <a:pt x="6908" y="4032"/>
                  </a:cubicBezTo>
                  <a:cubicBezTo>
                    <a:pt x="6252" y="4317"/>
                    <a:pt x="5676" y="4704"/>
                    <a:pt x="5193" y="5192"/>
                  </a:cubicBezTo>
                  <a:cubicBezTo>
                    <a:pt x="4707" y="5684"/>
                    <a:pt x="4317" y="6257"/>
                    <a:pt x="4028" y="6912"/>
                  </a:cubicBezTo>
                  <a:cubicBezTo>
                    <a:pt x="3740" y="7565"/>
                    <a:pt x="3596" y="8256"/>
                    <a:pt x="3596" y="8999"/>
                  </a:cubicBezTo>
                  <a:moveTo>
                    <a:pt x="9007" y="5591"/>
                  </a:moveTo>
                  <a:cubicBezTo>
                    <a:pt x="9185" y="5591"/>
                    <a:pt x="9343" y="5656"/>
                    <a:pt x="9473" y="5785"/>
                  </a:cubicBezTo>
                  <a:cubicBezTo>
                    <a:pt x="9603" y="5918"/>
                    <a:pt x="9668" y="6082"/>
                    <a:pt x="9668" y="6279"/>
                  </a:cubicBezTo>
                  <a:cubicBezTo>
                    <a:pt x="9668" y="6460"/>
                    <a:pt x="9603" y="6616"/>
                    <a:pt x="9473" y="6745"/>
                  </a:cubicBezTo>
                  <a:cubicBezTo>
                    <a:pt x="9343" y="6878"/>
                    <a:pt x="9185" y="6943"/>
                    <a:pt x="9007" y="6943"/>
                  </a:cubicBezTo>
                  <a:cubicBezTo>
                    <a:pt x="8439" y="6943"/>
                    <a:pt x="7953" y="7144"/>
                    <a:pt x="7552" y="7536"/>
                  </a:cubicBezTo>
                  <a:cubicBezTo>
                    <a:pt x="7151" y="7934"/>
                    <a:pt x="6950" y="8423"/>
                    <a:pt x="6950" y="8996"/>
                  </a:cubicBezTo>
                  <a:cubicBezTo>
                    <a:pt x="6950" y="9180"/>
                    <a:pt x="6885" y="9332"/>
                    <a:pt x="6755" y="9465"/>
                  </a:cubicBezTo>
                  <a:cubicBezTo>
                    <a:pt x="6622" y="9595"/>
                    <a:pt x="6467" y="9657"/>
                    <a:pt x="6289" y="9657"/>
                  </a:cubicBezTo>
                  <a:cubicBezTo>
                    <a:pt x="6080" y="9657"/>
                    <a:pt x="5913" y="9595"/>
                    <a:pt x="5786" y="9465"/>
                  </a:cubicBezTo>
                  <a:cubicBezTo>
                    <a:pt x="5659" y="9332"/>
                    <a:pt x="5599" y="9180"/>
                    <a:pt x="5599" y="8996"/>
                  </a:cubicBezTo>
                  <a:cubicBezTo>
                    <a:pt x="5599" y="8539"/>
                    <a:pt x="5684" y="8104"/>
                    <a:pt x="5862" y="7686"/>
                  </a:cubicBezTo>
                  <a:cubicBezTo>
                    <a:pt x="6037" y="7271"/>
                    <a:pt x="6280" y="6907"/>
                    <a:pt x="6597" y="6590"/>
                  </a:cubicBezTo>
                  <a:cubicBezTo>
                    <a:pt x="6905" y="6277"/>
                    <a:pt x="7264" y="6028"/>
                    <a:pt x="7676" y="5856"/>
                  </a:cubicBezTo>
                  <a:cubicBezTo>
                    <a:pt x="8086" y="5681"/>
                    <a:pt x="8529" y="5591"/>
                    <a:pt x="9007" y="5591"/>
                  </a:cubicBezTo>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grpSp>
        <p:nvGrpSpPr>
          <p:cNvPr id="7" name="组合 6"/>
          <p:cNvGrpSpPr/>
          <p:nvPr/>
        </p:nvGrpSpPr>
        <p:grpSpPr>
          <a:xfrm>
            <a:off x="4580931" y="5060726"/>
            <a:ext cx="744440" cy="744538"/>
            <a:chOff x="3435549" y="3739121"/>
            <a:chExt cx="558403" cy="558576"/>
          </a:xfrm>
        </p:grpSpPr>
        <p:sp>
          <p:nvSpPr>
            <p:cNvPr id="14351" name="AutoShape 15"/>
            <p:cNvSpPr/>
            <p:nvPr/>
          </p:nvSpPr>
          <p:spPr bwMode="auto">
            <a:xfrm>
              <a:off x="3435549" y="3739121"/>
              <a:ext cx="558403" cy="558576"/>
            </a:xfrm>
            <a:custGeom>
              <a:avLst/>
              <a:gdLst>
                <a:gd name="T0" fmla="*/ 744500 w 19679"/>
                <a:gd name="T1" fmla="*/ 817217 h 19679"/>
                <a:gd name="T2" fmla="*/ 744500 w 19679"/>
                <a:gd name="T3" fmla="*/ 817217 h 19679"/>
                <a:gd name="T4" fmla="*/ 744500 w 19679"/>
                <a:gd name="T5" fmla="*/ 817217 h 19679"/>
                <a:gd name="T6" fmla="*/ 744500 w 19679"/>
                <a:gd name="T7" fmla="*/ 81721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4"/>
            </a:solidFill>
            <a:ln w="25400" cap="flat" cmpd="sng">
              <a:solidFill>
                <a:srgbClr val="000000">
                  <a:alpha val="0"/>
                </a:srgbClr>
              </a:solidFill>
              <a:prstDash val="solid"/>
              <a:miter lim="0"/>
            </a:ln>
            <a:effectLst/>
          </p:spPr>
          <p:txBody>
            <a:bodyPr lIns="0" tIns="0" rIns="0" bIns="0" anchor="ctr"/>
            <a:lstStyle/>
            <a:p>
              <a:endParaRPr lang="zh-CN" altLang="en-US">
                <a:solidFill>
                  <a:schemeClr val="tx1">
                    <a:lumMod val="50000"/>
                    <a:lumOff val="50000"/>
                  </a:schemeClr>
                </a:solidFill>
              </a:endParaRPr>
            </a:p>
          </p:txBody>
        </p:sp>
        <p:sp>
          <p:nvSpPr>
            <p:cNvPr id="14354" name="AutoShape 18"/>
            <p:cNvSpPr/>
            <p:nvPr/>
          </p:nvSpPr>
          <p:spPr bwMode="auto">
            <a:xfrm>
              <a:off x="3595092" y="3883232"/>
              <a:ext cx="257175" cy="257850"/>
            </a:xfrm>
            <a:custGeom>
              <a:avLst/>
              <a:gdLst>
                <a:gd name="T0" fmla="*/ 342900 w 21600"/>
                <a:gd name="T1" fmla="*/ 343694 h 21600"/>
                <a:gd name="T2" fmla="*/ 342900 w 21600"/>
                <a:gd name="T3" fmla="*/ 343694 h 21600"/>
                <a:gd name="T4" fmla="*/ 342900 w 21600"/>
                <a:gd name="T5" fmla="*/ 343694 h 21600"/>
                <a:gd name="T6" fmla="*/ 342900 w 21600"/>
                <a:gd name="T7" fmla="*/ 343694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328" y="11543"/>
                  </a:moveTo>
                  <a:cubicBezTo>
                    <a:pt x="21492" y="11930"/>
                    <a:pt x="21571" y="12337"/>
                    <a:pt x="21571" y="12758"/>
                  </a:cubicBezTo>
                  <a:cubicBezTo>
                    <a:pt x="21571" y="13464"/>
                    <a:pt x="21388" y="14105"/>
                    <a:pt x="21017" y="14678"/>
                  </a:cubicBezTo>
                  <a:cubicBezTo>
                    <a:pt x="21111" y="15215"/>
                    <a:pt x="21077" y="15745"/>
                    <a:pt x="20924" y="16285"/>
                  </a:cubicBezTo>
                  <a:cubicBezTo>
                    <a:pt x="20769" y="16819"/>
                    <a:pt x="20512" y="17287"/>
                    <a:pt x="20141" y="17697"/>
                  </a:cubicBezTo>
                  <a:cubicBezTo>
                    <a:pt x="20105" y="18451"/>
                    <a:pt x="19901" y="19081"/>
                    <a:pt x="19531" y="19580"/>
                  </a:cubicBezTo>
                  <a:cubicBezTo>
                    <a:pt x="19161" y="20080"/>
                    <a:pt x="18700" y="20481"/>
                    <a:pt x="18146" y="20783"/>
                  </a:cubicBezTo>
                  <a:cubicBezTo>
                    <a:pt x="17593" y="21088"/>
                    <a:pt x="16982" y="21297"/>
                    <a:pt x="16321" y="21419"/>
                  </a:cubicBezTo>
                  <a:cubicBezTo>
                    <a:pt x="15660" y="21540"/>
                    <a:pt x="15010" y="21600"/>
                    <a:pt x="14380" y="21600"/>
                  </a:cubicBezTo>
                  <a:cubicBezTo>
                    <a:pt x="13730" y="21600"/>
                    <a:pt x="13077" y="21554"/>
                    <a:pt x="12424" y="21461"/>
                  </a:cubicBezTo>
                  <a:cubicBezTo>
                    <a:pt x="11772" y="21362"/>
                    <a:pt x="11127" y="21235"/>
                    <a:pt x="10497" y="21074"/>
                  </a:cubicBezTo>
                  <a:cubicBezTo>
                    <a:pt x="9864" y="20894"/>
                    <a:pt x="9237" y="20702"/>
                    <a:pt x="8610" y="20493"/>
                  </a:cubicBezTo>
                  <a:cubicBezTo>
                    <a:pt x="7982" y="20286"/>
                    <a:pt x="7341" y="20182"/>
                    <a:pt x="6680" y="20182"/>
                  </a:cubicBezTo>
                  <a:lnTo>
                    <a:pt x="1607" y="20182"/>
                  </a:lnTo>
                  <a:cubicBezTo>
                    <a:pt x="1167" y="20182"/>
                    <a:pt x="785" y="20029"/>
                    <a:pt x="471" y="19713"/>
                  </a:cubicBezTo>
                  <a:cubicBezTo>
                    <a:pt x="158" y="19405"/>
                    <a:pt x="0" y="19024"/>
                    <a:pt x="0" y="18572"/>
                  </a:cubicBezTo>
                  <a:lnTo>
                    <a:pt x="0" y="9880"/>
                  </a:lnTo>
                  <a:cubicBezTo>
                    <a:pt x="0" y="9440"/>
                    <a:pt x="158" y="9064"/>
                    <a:pt x="471" y="8753"/>
                  </a:cubicBezTo>
                  <a:cubicBezTo>
                    <a:pt x="785" y="8440"/>
                    <a:pt x="1167" y="8285"/>
                    <a:pt x="1607" y="8285"/>
                  </a:cubicBezTo>
                  <a:lnTo>
                    <a:pt x="6315" y="8285"/>
                  </a:lnTo>
                  <a:cubicBezTo>
                    <a:pt x="6558" y="8160"/>
                    <a:pt x="6750" y="8022"/>
                    <a:pt x="6897" y="7872"/>
                  </a:cubicBezTo>
                  <a:cubicBezTo>
                    <a:pt x="7041" y="7723"/>
                    <a:pt x="7197" y="7548"/>
                    <a:pt x="7369" y="7342"/>
                  </a:cubicBezTo>
                  <a:cubicBezTo>
                    <a:pt x="7513" y="7161"/>
                    <a:pt x="7663" y="6986"/>
                    <a:pt x="7810" y="6819"/>
                  </a:cubicBezTo>
                  <a:cubicBezTo>
                    <a:pt x="7957" y="6653"/>
                    <a:pt x="8112" y="6483"/>
                    <a:pt x="8276" y="6311"/>
                  </a:cubicBezTo>
                  <a:cubicBezTo>
                    <a:pt x="8570" y="5997"/>
                    <a:pt x="8918" y="5690"/>
                    <a:pt x="9302" y="5385"/>
                  </a:cubicBezTo>
                  <a:cubicBezTo>
                    <a:pt x="9692" y="5085"/>
                    <a:pt x="9989" y="4749"/>
                    <a:pt x="10195" y="4379"/>
                  </a:cubicBezTo>
                  <a:cubicBezTo>
                    <a:pt x="10339" y="4117"/>
                    <a:pt x="10443" y="3826"/>
                    <a:pt x="10506" y="3507"/>
                  </a:cubicBezTo>
                  <a:cubicBezTo>
                    <a:pt x="10565" y="3188"/>
                    <a:pt x="10627" y="2866"/>
                    <a:pt x="10675" y="2538"/>
                  </a:cubicBezTo>
                  <a:cubicBezTo>
                    <a:pt x="10726" y="2216"/>
                    <a:pt x="10780" y="1900"/>
                    <a:pt x="10845" y="1592"/>
                  </a:cubicBezTo>
                  <a:cubicBezTo>
                    <a:pt x="10907" y="1287"/>
                    <a:pt x="11014" y="1016"/>
                    <a:pt x="11161" y="776"/>
                  </a:cubicBezTo>
                  <a:cubicBezTo>
                    <a:pt x="11311" y="536"/>
                    <a:pt x="11523" y="350"/>
                    <a:pt x="11800" y="208"/>
                  </a:cubicBezTo>
                  <a:cubicBezTo>
                    <a:pt x="12074" y="67"/>
                    <a:pt x="12441" y="0"/>
                    <a:pt x="12902" y="0"/>
                  </a:cubicBezTo>
                  <a:cubicBezTo>
                    <a:pt x="13450" y="0"/>
                    <a:pt x="13956" y="112"/>
                    <a:pt x="14411" y="344"/>
                  </a:cubicBezTo>
                  <a:cubicBezTo>
                    <a:pt x="14869" y="573"/>
                    <a:pt x="15250" y="881"/>
                    <a:pt x="15567" y="1270"/>
                  </a:cubicBezTo>
                  <a:cubicBezTo>
                    <a:pt x="15880" y="1657"/>
                    <a:pt x="16126" y="2101"/>
                    <a:pt x="16304" y="2600"/>
                  </a:cubicBezTo>
                  <a:cubicBezTo>
                    <a:pt x="16479" y="3103"/>
                    <a:pt x="16570" y="3609"/>
                    <a:pt x="16570" y="4123"/>
                  </a:cubicBezTo>
                  <a:cubicBezTo>
                    <a:pt x="16570" y="4653"/>
                    <a:pt x="16491" y="5162"/>
                    <a:pt x="16332" y="5645"/>
                  </a:cubicBezTo>
                  <a:cubicBezTo>
                    <a:pt x="16174" y="6125"/>
                    <a:pt x="15982" y="6610"/>
                    <a:pt x="15759" y="7096"/>
                  </a:cubicBezTo>
                  <a:cubicBezTo>
                    <a:pt x="16072" y="7079"/>
                    <a:pt x="16389" y="7057"/>
                    <a:pt x="16705" y="7034"/>
                  </a:cubicBezTo>
                  <a:cubicBezTo>
                    <a:pt x="17019" y="7011"/>
                    <a:pt x="17335" y="7000"/>
                    <a:pt x="17652" y="7000"/>
                  </a:cubicBezTo>
                  <a:cubicBezTo>
                    <a:pt x="18149" y="7000"/>
                    <a:pt x="18630" y="7048"/>
                    <a:pt x="19099" y="7144"/>
                  </a:cubicBezTo>
                  <a:cubicBezTo>
                    <a:pt x="19568" y="7237"/>
                    <a:pt x="19986" y="7395"/>
                    <a:pt x="20356" y="7616"/>
                  </a:cubicBezTo>
                  <a:cubicBezTo>
                    <a:pt x="20726" y="7839"/>
                    <a:pt x="21026" y="8144"/>
                    <a:pt x="21255" y="8528"/>
                  </a:cubicBezTo>
                  <a:cubicBezTo>
                    <a:pt x="21486" y="8918"/>
                    <a:pt x="21600" y="9409"/>
                    <a:pt x="21600" y="10002"/>
                  </a:cubicBezTo>
                  <a:cubicBezTo>
                    <a:pt x="21600" y="10265"/>
                    <a:pt x="21580" y="10519"/>
                    <a:pt x="21535" y="10773"/>
                  </a:cubicBezTo>
                  <a:cubicBezTo>
                    <a:pt x="21484" y="11030"/>
                    <a:pt x="21419" y="11284"/>
                    <a:pt x="21328" y="11543"/>
                  </a:cubicBezTo>
                  <a:moveTo>
                    <a:pt x="4258" y="18519"/>
                  </a:moveTo>
                  <a:cubicBezTo>
                    <a:pt x="4555" y="18519"/>
                    <a:pt x="4809" y="18417"/>
                    <a:pt x="5024" y="18214"/>
                  </a:cubicBezTo>
                  <a:cubicBezTo>
                    <a:pt x="5233" y="18013"/>
                    <a:pt x="5340" y="17759"/>
                    <a:pt x="5340" y="17454"/>
                  </a:cubicBezTo>
                  <a:cubicBezTo>
                    <a:pt x="5340" y="17155"/>
                    <a:pt x="5233" y="16900"/>
                    <a:pt x="5024" y="16686"/>
                  </a:cubicBezTo>
                  <a:cubicBezTo>
                    <a:pt x="4812" y="16477"/>
                    <a:pt x="4557" y="16372"/>
                    <a:pt x="4258" y="16372"/>
                  </a:cubicBezTo>
                  <a:cubicBezTo>
                    <a:pt x="3941" y="16372"/>
                    <a:pt x="3684" y="16477"/>
                    <a:pt x="3486" y="16686"/>
                  </a:cubicBezTo>
                  <a:cubicBezTo>
                    <a:pt x="3289" y="16900"/>
                    <a:pt x="3190" y="17155"/>
                    <a:pt x="3190" y="17454"/>
                  </a:cubicBezTo>
                  <a:cubicBezTo>
                    <a:pt x="3190" y="17767"/>
                    <a:pt x="3289" y="18024"/>
                    <a:pt x="3486" y="18222"/>
                  </a:cubicBezTo>
                  <a:cubicBezTo>
                    <a:pt x="3681" y="18420"/>
                    <a:pt x="3939" y="18519"/>
                    <a:pt x="4258" y="18519"/>
                  </a:cubicBezTo>
                  <a:moveTo>
                    <a:pt x="19164" y="14342"/>
                  </a:moveTo>
                  <a:cubicBezTo>
                    <a:pt x="19703" y="13901"/>
                    <a:pt x="19975" y="13345"/>
                    <a:pt x="19975" y="12679"/>
                  </a:cubicBezTo>
                  <a:cubicBezTo>
                    <a:pt x="19975" y="12473"/>
                    <a:pt x="19918" y="12281"/>
                    <a:pt x="19805" y="12097"/>
                  </a:cubicBezTo>
                  <a:cubicBezTo>
                    <a:pt x="19695" y="11919"/>
                    <a:pt x="19576" y="11761"/>
                    <a:pt x="19446" y="11623"/>
                  </a:cubicBezTo>
                  <a:cubicBezTo>
                    <a:pt x="19590" y="11363"/>
                    <a:pt x="19720" y="11106"/>
                    <a:pt x="19833" y="10849"/>
                  </a:cubicBezTo>
                  <a:cubicBezTo>
                    <a:pt x="19944" y="10592"/>
                    <a:pt x="20003" y="10312"/>
                    <a:pt x="20003" y="10002"/>
                  </a:cubicBezTo>
                  <a:cubicBezTo>
                    <a:pt x="20003" y="9688"/>
                    <a:pt x="19924" y="9440"/>
                    <a:pt x="19766" y="9251"/>
                  </a:cubicBezTo>
                  <a:cubicBezTo>
                    <a:pt x="19607" y="9070"/>
                    <a:pt x="19415" y="8929"/>
                    <a:pt x="19184" y="8833"/>
                  </a:cubicBezTo>
                  <a:cubicBezTo>
                    <a:pt x="18955" y="8739"/>
                    <a:pt x="18698" y="8683"/>
                    <a:pt x="18418" y="8663"/>
                  </a:cubicBezTo>
                  <a:cubicBezTo>
                    <a:pt x="18138" y="8643"/>
                    <a:pt x="17884" y="8635"/>
                    <a:pt x="17649" y="8635"/>
                  </a:cubicBezTo>
                  <a:cubicBezTo>
                    <a:pt x="17242" y="8635"/>
                    <a:pt x="16835" y="8649"/>
                    <a:pt x="16423" y="8677"/>
                  </a:cubicBezTo>
                  <a:cubicBezTo>
                    <a:pt x="16010" y="8706"/>
                    <a:pt x="15606" y="8720"/>
                    <a:pt x="15199" y="8720"/>
                  </a:cubicBezTo>
                  <a:cubicBezTo>
                    <a:pt x="14917" y="8720"/>
                    <a:pt x="14643" y="8706"/>
                    <a:pt x="14366" y="8677"/>
                  </a:cubicBezTo>
                  <a:cubicBezTo>
                    <a:pt x="14089" y="8649"/>
                    <a:pt x="13829" y="8584"/>
                    <a:pt x="13574" y="8474"/>
                  </a:cubicBezTo>
                  <a:cubicBezTo>
                    <a:pt x="13574" y="8104"/>
                    <a:pt x="13645" y="7754"/>
                    <a:pt x="13792" y="7421"/>
                  </a:cubicBezTo>
                  <a:cubicBezTo>
                    <a:pt x="13936" y="7087"/>
                    <a:pt x="14094" y="6751"/>
                    <a:pt x="14275" y="6413"/>
                  </a:cubicBezTo>
                  <a:cubicBezTo>
                    <a:pt x="14448" y="6074"/>
                    <a:pt x="14606" y="5721"/>
                    <a:pt x="14747" y="5351"/>
                  </a:cubicBezTo>
                  <a:cubicBezTo>
                    <a:pt x="14886" y="4984"/>
                    <a:pt x="14953" y="4574"/>
                    <a:pt x="14953" y="4122"/>
                  </a:cubicBezTo>
                  <a:cubicBezTo>
                    <a:pt x="14953" y="3823"/>
                    <a:pt x="14905" y="3529"/>
                    <a:pt x="14812" y="3236"/>
                  </a:cubicBezTo>
                  <a:cubicBezTo>
                    <a:pt x="14716" y="2945"/>
                    <a:pt x="14583" y="2677"/>
                    <a:pt x="14411" y="2439"/>
                  </a:cubicBezTo>
                  <a:cubicBezTo>
                    <a:pt x="14238" y="2199"/>
                    <a:pt x="14027" y="2002"/>
                    <a:pt x="13775" y="1843"/>
                  </a:cubicBezTo>
                  <a:cubicBezTo>
                    <a:pt x="13521" y="1688"/>
                    <a:pt x="13230" y="1606"/>
                    <a:pt x="12893" y="1606"/>
                  </a:cubicBezTo>
                  <a:lnTo>
                    <a:pt x="12744" y="1606"/>
                  </a:lnTo>
                  <a:cubicBezTo>
                    <a:pt x="12681" y="1606"/>
                    <a:pt x="12631" y="1617"/>
                    <a:pt x="12594" y="1634"/>
                  </a:cubicBezTo>
                  <a:cubicBezTo>
                    <a:pt x="12523" y="1671"/>
                    <a:pt x="12481" y="1705"/>
                    <a:pt x="12472" y="1742"/>
                  </a:cubicBezTo>
                  <a:cubicBezTo>
                    <a:pt x="12464" y="1778"/>
                    <a:pt x="12450" y="1838"/>
                    <a:pt x="12430" y="1920"/>
                  </a:cubicBezTo>
                  <a:cubicBezTo>
                    <a:pt x="12323" y="2450"/>
                    <a:pt x="12221" y="3007"/>
                    <a:pt x="12128" y="3586"/>
                  </a:cubicBezTo>
                  <a:cubicBezTo>
                    <a:pt x="12034" y="4167"/>
                    <a:pt x="11854" y="4698"/>
                    <a:pt x="11596" y="5176"/>
                  </a:cubicBezTo>
                  <a:cubicBezTo>
                    <a:pt x="11334" y="5636"/>
                    <a:pt x="11000" y="6034"/>
                    <a:pt x="10596" y="6367"/>
                  </a:cubicBezTo>
                  <a:cubicBezTo>
                    <a:pt x="10189" y="6701"/>
                    <a:pt x="9802" y="7051"/>
                    <a:pt x="9432" y="7421"/>
                  </a:cubicBezTo>
                  <a:cubicBezTo>
                    <a:pt x="9169" y="7700"/>
                    <a:pt x="8949" y="7954"/>
                    <a:pt x="8771" y="8183"/>
                  </a:cubicBezTo>
                  <a:cubicBezTo>
                    <a:pt x="8593" y="8412"/>
                    <a:pt x="8403" y="8632"/>
                    <a:pt x="8211" y="8833"/>
                  </a:cubicBezTo>
                  <a:cubicBezTo>
                    <a:pt x="8016" y="9036"/>
                    <a:pt x="7799" y="9222"/>
                    <a:pt x="7556" y="9400"/>
                  </a:cubicBezTo>
                  <a:cubicBezTo>
                    <a:pt x="7313" y="9575"/>
                    <a:pt x="7019" y="9736"/>
                    <a:pt x="6674" y="9880"/>
                  </a:cubicBezTo>
                  <a:lnTo>
                    <a:pt x="6646" y="9880"/>
                  </a:lnTo>
                  <a:lnTo>
                    <a:pt x="6646" y="18572"/>
                  </a:lnTo>
                  <a:cubicBezTo>
                    <a:pt x="7279" y="18572"/>
                    <a:pt x="7889" y="18649"/>
                    <a:pt x="8485" y="18795"/>
                  </a:cubicBezTo>
                  <a:cubicBezTo>
                    <a:pt x="9081" y="18945"/>
                    <a:pt x="9683" y="19103"/>
                    <a:pt x="10294" y="19270"/>
                  </a:cubicBezTo>
                  <a:cubicBezTo>
                    <a:pt x="10901" y="19439"/>
                    <a:pt x="11537" y="19592"/>
                    <a:pt x="12207" y="19741"/>
                  </a:cubicBezTo>
                  <a:cubicBezTo>
                    <a:pt x="12874" y="19891"/>
                    <a:pt x="13594" y="19965"/>
                    <a:pt x="14374" y="19965"/>
                  </a:cubicBezTo>
                  <a:cubicBezTo>
                    <a:pt x="14781" y="19965"/>
                    <a:pt x="15222" y="19939"/>
                    <a:pt x="15699" y="19885"/>
                  </a:cubicBezTo>
                  <a:cubicBezTo>
                    <a:pt x="16177" y="19829"/>
                    <a:pt x="16626" y="19710"/>
                    <a:pt x="17047" y="19527"/>
                  </a:cubicBezTo>
                  <a:cubicBezTo>
                    <a:pt x="17468" y="19343"/>
                    <a:pt x="17816" y="19086"/>
                    <a:pt x="18101" y="18762"/>
                  </a:cubicBezTo>
                  <a:cubicBezTo>
                    <a:pt x="18387" y="18440"/>
                    <a:pt x="18525" y="18010"/>
                    <a:pt x="18525" y="17477"/>
                  </a:cubicBezTo>
                  <a:cubicBezTo>
                    <a:pt x="18525" y="17386"/>
                    <a:pt x="18522" y="17304"/>
                    <a:pt x="18517" y="17225"/>
                  </a:cubicBezTo>
                  <a:cubicBezTo>
                    <a:pt x="18503" y="17152"/>
                    <a:pt x="18488" y="17070"/>
                    <a:pt x="18471" y="16980"/>
                  </a:cubicBezTo>
                  <a:cubicBezTo>
                    <a:pt x="18785" y="16836"/>
                    <a:pt x="19028" y="16596"/>
                    <a:pt x="19195" y="16262"/>
                  </a:cubicBezTo>
                  <a:cubicBezTo>
                    <a:pt x="19364" y="15929"/>
                    <a:pt x="19446" y="15593"/>
                    <a:pt x="19446" y="15263"/>
                  </a:cubicBezTo>
                  <a:cubicBezTo>
                    <a:pt x="19449" y="14912"/>
                    <a:pt x="19350" y="14605"/>
                    <a:pt x="19164" y="14342"/>
                  </a:cubicBezTo>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grpSp>
        <p:nvGrpSpPr>
          <p:cNvPr id="8" name="组合 7"/>
          <p:cNvGrpSpPr/>
          <p:nvPr/>
        </p:nvGrpSpPr>
        <p:grpSpPr>
          <a:xfrm>
            <a:off x="7809485" y="2920776"/>
            <a:ext cx="743647" cy="744538"/>
            <a:chOff x="5857280" y="2133663"/>
            <a:chExt cx="557808" cy="558576"/>
          </a:xfrm>
        </p:grpSpPr>
        <p:sp>
          <p:nvSpPr>
            <p:cNvPr id="14355" name="AutoShape 19"/>
            <p:cNvSpPr/>
            <p:nvPr/>
          </p:nvSpPr>
          <p:spPr bwMode="auto">
            <a:xfrm>
              <a:off x="5857280" y="2133663"/>
              <a:ext cx="557808" cy="558576"/>
            </a:xfrm>
            <a:custGeom>
              <a:avLst/>
              <a:gdLst>
                <a:gd name="T0" fmla="*/ 743706 w 19679"/>
                <a:gd name="T1" fmla="*/ 817217 h 19679"/>
                <a:gd name="T2" fmla="*/ 743706 w 19679"/>
                <a:gd name="T3" fmla="*/ 817217 h 19679"/>
                <a:gd name="T4" fmla="*/ 743706 w 19679"/>
                <a:gd name="T5" fmla="*/ 817217 h 19679"/>
                <a:gd name="T6" fmla="*/ 743706 w 19679"/>
                <a:gd name="T7" fmla="*/ 81721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3"/>
            </a:solidFill>
            <a:ln w="25400" cap="flat" cmpd="sng">
              <a:solidFill>
                <a:srgbClr val="000000">
                  <a:alpha val="0"/>
                </a:srgbClr>
              </a:solidFill>
              <a:prstDash val="solid"/>
              <a:miter lim="0"/>
            </a:ln>
            <a:effectLst/>
          </p:spPr>
          <p:txBody>
            <a:bodyPr lIns="0" tIns="0" rIns="0" bIns="0" anchor="ctr"/>
            <a:lstStyle/>
            <a:p>
              <a:endParaRPr lang="zh-CN" altLang="en-US">
                <a:solidFill>
                  <a:schemeClr val="tx1">
                    <a:lumMod val="50000"/>
                    <a:lumOff val="50000"/>
                  </a:schemeClr>
                </a:solidFill>
              </a:endParaRPr>
            </a:p>
          </p:txBody>
        </p:sp>
        <p:sp>
          <p:nvSpPr>
            <p:cNvPr id="14356" name="AutoShape 20"/>
            <p:cNvSpPr/>
            <p:nvPr/>
          </p:nvSpPr>
          <p:spPr bwMode="auto">
            <a:xfrm>
              <a:off x="6010275" y="2294447"/>
              <a:ext cx="257771" cy="214379"/>
            </a:xfrm>
            <a:custGeom>
              <a:avLst/>
              <a:gdLst>
                <a:gd name="T0" fmla="*/ 343694 w 21600"/>
                <a:gd name="T1" fmla="*/ 285750 h 21600"/>
                <a:gd name="T2" fmla="*/ 343694 w 21600"/>
                <a:gd name="T3" fmla="*/ 285750 h 21600"/>
                <a:gd name="T4" fmla="*/ 343694 w 21600"/>
                <a:gd name="T5" fmla="*/ 285750 h 21600"/>
                <a:gd name="T6" fmla="*/ 343694 w 21600"/>
                <a:gd name="T7" fmla="*/ 2857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0263" y="3222"/>
                  </a:moveTo>
                  <a:cubicBezTo>
                    <a:pt x="20632" y="3222"/>
                    <a:pt x="20946" y="3384"/>
                    <a:pt x="21208" y="3713"/>
                  </a:cubicBezTo>
                  <a:cubicBezTo>
                    <a:pt x="21470" y="4042"/>
                    <a:pt x="21599" y="4427"/>
                    <a:pt x="21599" y="4865"/>
                  </a:cubicBezTo>
                  <a:lnTo>
                    <a:pt x="21599" y="19984"/>
                  </a:lnTo>
                  <a:cubicBezTo>
                    <a:pt x="21599" y="20421"/>
                    <a:pt x="21470" y="20803"/>
                    <a:pt x="21208" y="21121"/>
                  </a:cubicBezTo>
                  <a:cubicBezTo>
                    <a:pt x="20946" y="21441"/>
                    <a:pt x="20632" y="21599"/>
                    <a:pt x="20263" y="21599"/>
                  </a:cubicBezTo>
                  <a:lnTo>
                    <a:pt x="1348" y="21599"/>
                  </a:lnTo>
                  <a:cubicBezTo>
                    <a:pt x="981" y="21599"/>
                    <a:pt x="663" y="21441"/>
                    <a:pt x="399" y="21121"/>
                  </a:cubicBezTo>
                  <a:cubicBezTo>
                    <a:pt x="134" y="20803"/>
                    <a:pt x="0" y="20421"/>
                    <a:pt x="0" y="19984"/>
                  </a:cubicBezTo>
                  <a:lnTo>
                    <a:pt x="0" y="4865"/>
                  </a:lnTo>
                  <a:cubicBezTo>
                    <a:pt x="0" y="4427"/>
                    <a:pt x="134" y="4042"/>
                    <a:pt x="399" y="3713"/>
                  </a:cubicBezTo>
                  <a:cubicBezTo>
                    <a:pt x="663" y="3384"/>
                    <a:pt x="981" y="3222"/>
                    <a:pt x="1348" y="3222"/>
                  </a:cubicBezTo>
                  <a:lnTo>
                    <a:pt x="5638" y="3222"/>
                  </a:lnTo>
                  <a:lnTo>
                    <a:pt x="6318" y="1460"/>
                  </a:lnTo>
                  <a:cubicBezTo>
                    <a:pt x="6458" y="1057"/>
                    <a:pt x="6717" y="713"/>
                    <a:pt x="7089" y="425"/>
                  </a:cubicBezTo>
                  <a:cubicBezTo>
                    <a:pt x="7466" y="143"/>
                    <a:pt x="7838" y="0"/>
                    <a:pt x="8203" y="0"/>
                  </a:cubicBezTo>
                  <a:lnTo>
                    <a:pt x="13396" y="0"/>
                  </a:lnTo>
                  <a:cubicBezTo>
                    <a:pt x="13763" y="0"/>
                    <a:pt x="14135" y="143"/>
                    <a:pt x="14510" y="425"/>
                  </a:cubicBezTo>
                  <a:cubicBezTo>
                    <a:pt x="14884" y="713"/>
                    <a:pt x="15146" y="1057"/>
                    <a:pt x="15293" y="1460"/>
                  </a:cubicBezTo>
                  <a:lnTo>
                    <a:pt x="15961" y="3222"/>
                  </a:lnTo>
                  <a:lnTo>
                    <a:pt x="20263" y="3222"/>
                  </a:lnTo>
                  <a:close/>
                  <a:moveTo>
                    <a:pt x="10806" y="19185"/>
                  </a:moveTo>
                  <a:cubicBezTo>
                    <a:pt x="11572" y="19185"/>
                    <a:pt x="12299" y="19002"/>
                    <a:pt x="12987" y="18650"/>
                  </a:cubicBezTo>
                  <a:cubicBezTo>
                    <a:pt x="13672" y="18294"/>
                    <a:pt x="14270" y="17810"/>
                    <a:pt x="14774" y="17196"/>
                  </a:cubicBezTo>
                  <a:cubicBezTo>
                    <a:pt x="15278" y="16582"/>
                    <a:pt x="15677" y="15862"/>
                    <a:pt x="15974" y="15048"/>
                  </a:cubicBezTo>
                  <a:cubicBezTo>
                    <a:pt x="16270" y="14234"/>
                    <a:pt x="16419" y="13356"/>
                    <a:pt x="16419" y="12421"/>
                  </a:cubicBezTo>
                  <a:cubicBezTo>
                    <a:pt x="16419" y="11499"/>
                    <a:pt x="16270" y="10623"/>
                    <a:pt x="15974" y="9795"/>
                  </a:cubicBezTo>
                  <a:cubicBezTo>
                    <a:pt x="15677" y="8966"/>
                    <a:pt x="15278" y="8249"/>
                    <a:pt x="14774" y="7644"/>
                  </a:cubicBezTo>
                  <a:cubicBezTo>
                    <a:pt x="14270" y="7036"/>
                    <a:pt x="13672" y="6557"/>
                    <a:pt x="12987" y="6199"/>
                  </a:cubicBezTo>
                  <a:cubicBezTo>
                    <a:pt x="12299" y="5843"/>
                    <a:pt x="11572" y="5667"/>
                    <a:pt x="10806" y="5667"/>
                  </a:cubicBezTo>
                  <a:cubicBezTo>
                    <a:pt x="10039" y="5667"/>
                    <a:pt x="9312" y="5846"/>
                    <a:pt x="8619" y="6199"/>
                  </a:cubicBezTo>
                  <a:cubicBezTo>
                    <a:pt x="7929" y="6557"/>
                    <a:pt x="7332" y="7036"/>
                    <a:pt x="6827" y="7644"/>
                  </a:cubicBezTo>
                  <a:cubicBezTo>
                    <a:pt x="6323" y="8249"/>
                    <a:pt x="5922" y="8963"/>
                    <a:pt x="5625" y="9789"/>
                  </a:cubicBezTo>
                  <a:cubicBezTo>
                    <a:pt x="5329" y="10612"/>
                    <a:pt x="5180" y="11490"/>
                    <a:pt x="5180" y="12421"/>
                  </a:cubicBezTo>
                  <a:cubicBezTo>
                    <a:pt x="5180" y="13356"/>
                    <a:pt x="5329" y="14234"/>
                    <a:pt x="5625" y="15048"/>
                  </a:cubicBezTo>
                  <a:cubicBezTo>
                    <a:pt x="5922" y="15862"/>
                    <a:pt x="6323" y="16582"/>
                    <a:pt x="6827" y="17196"/>
                  </a:cubicBezTo>
                  <a:cubicBezTo>
                    <a:pt x="7332" y="17810"/>
                    <a:pt x="7929" y="18294"/>
                    <a:pt x="8619" y="18650"/>
                  </a:cubicBezTo>
                  <a:cubicBezTo>
                    <a:pt x="9312" y="19005"/>
                    <a:pt x="10039" y="19185"/>
                    <a:pt x="10806" y="19185"/>
                  </a:cubicBezTo>
                  <a:moveTo>
                    <a:pt x="10806" y="7832"/>
                  </a:moveTo>
                  <a:cubicBezTo>
                    <a:pt x="11337" y="7832"/>
                    <a:pt x="11834" y="7953"/>
                    <a:pt x="12294" y="8191"/>
                  </a:cubicBezTo>
                  <a:cubicBezTo>
                    <a:pt x="12754" y="8432"/>
                    <a:pt x="13158" y="8755"/>
                    <a:pt x="13501" y="9169"/>
                  </a:cubicBezTo>
                  <a:cubicBezTo>
                    <a:pt x="13846" y="9583"/>
                    <a:pt x="14118" y="10068"/>
                    <a:pt x="14316" y="10623"/>
                  </a:cubicBezTo>
                  <a:cubicBezTo>
                    <a:pt x="14515" y="11184"/>
                    <a:pt x="14615" y="11781"/>
                    <a:pt x="14615" y="12421"/>
                  </a:cubicBezTo>
                  <a:cubicBezTo>
                    <a:pt x="14615" y="13056"/>
                    <a:pt x="14515" y="13649"/>
                    <a:pt x="14316" y="14205"/>
                  </a:cubicBezTo>
                  <a:cubicBezTo>
                    <a:pt x="14118" y="14757"/>
                    <a:pt x="13846" y="15245"/>
                    <a:pt x="13501" y="15668"/>
                  </a:cubicBezTo>
                  <a:cubicBezTo>
                    <a:pt x="13158" y="16091"/>
                    <a:pt x="12752" y="16420"/>
                    <a:pt x="12289" y="16661"/>
                  </a:cubicBezTo>
                  <a:cubicBezTo>
                    <a:pt x="11824" y="16899"/>
                    <a:pt x="11330" y="17016"/>
                    <a:pt x="10806" y="17016"/>
                  </a:cubicBezTo>
                  <a:cubicBezTo>
                    <a:pt x="10274" y="17016"/>
                    <a:pt x="9777" y="16899"/>
                    <a:pt x="9312" y="16661"/>
                  </a:cubicBezTo>
                  <a:cubicBezTo>
                    <a:pt x="8847" y="16420"/>
                    <a:pt x="8443" y="16091"/>
                    <a:pt x="8100" y="15668"/>
                  </a:cubicBezTo>
                  <a:cubicBezTo>
                    <a:pt x="7755" y="15245"/>
                    <a:pt x="7483" y="14754"/>
                    <a:pt x="7285" y="14199"/>
                  </a:cubicBezTo>
                  <a:cubicBezTo>
                    <a:pt x="7084" y="13641"/>
                    <a:pt x="6984" y="13044"/>
                    <a:pt x="6984" y="12421"/>
                  </a:cubicBezTo>
                  <a:cubicBezTo>
                    <a:pt x="6984" y="11781"/>
                    <a:pt x="7084" y="11184"/>
                    <a:pt x="7285" y="10623"/>
                  </a:cubicBezTo>
                  <a:cubicBezTo>
                    <a:pt x="7483" y="10068"/>
                    <a:pt x="7755" y="9583"/>
                    <a:pt x="8100" y="9169"/>
                  </a:cubicBezTo>
                  <a:cubicBezTo>
                    <a:pt x="8443" y="8755"/>
                    <a:pt x="8847" y="8431"/>
                    <a:pt x="9312" y="8191"/>
                  </a:cubicBezTo>
                  <a:cubicBezTo>
                    <a:pt x="9777" y="7953"/>
                    <a:pt x="10274" y="7832"/>
                    <a:pt x="10806" y="7832"/>
                  </a:cubicBezTo>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grpSp>
        <p:nvGrpSpPr>
          <p:cNvPr id="9" name="组合 8"/>
          <p:cNvGrpSpPr/>
          <p:nvPr/>
        </p:nvGrpSpPr>
        <p:grpSpPr>
          <a:xfrm>
            <a:off x="7809485" y="3966145"/>
            <a:ext cx="743647" cy="744538"/>
            <a:chOff x="5857280" y="2917932"/>
            <a:chExt cx="557808" cy="558576"/>
          </a:xfrm>
        </p:grpSpPr>
        <p:sp>
          <p:nvSpPr>
            <p:cNvPr id="14357" name="AutoShape 21"/>
            <p:cNvSpPr/>
            <p:nvPr/>
          </p:nvSpPr>
          <p:spPr bwMode="auto">
            <a:xfrm>
              <a:off x="5857280" y="2917932"/>
              <a:ext cx="557808" cy="558576"/>
            </a:xfrm>
            <a:custGeom>
              <a:avLst/>
              <a:gdLst>
                <a:gd name="T0" fmla="*/ 743706 w 19679"/>
                <a:gd name="T1" fmla="*/ 817217 h 19679"/>
                <a:gd name="T2" fmla="*/ 743706 w 19679"/>
                <a:gd name="T3" fmla="*/ 817217 h 19679"/>
                <a:gd name="T4" fmla="*/ 743706 w 19679"/>
                <a:gd name="T5" fmla="*/ 817217 h 19679"/>
                <a:gd name="T6" fmla="*/ 743706 w 19679"/>
                <a:gd name="T7" fmla="*/ 81721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4"/>
            </a:solidFill>
            <a:ln w="25400" cap="flat" cmpd="sng">
              <a:solidFill>
                <a:srgbClr val="000000">
                  <a:alpha val="0"/>
                </a:srgbClr>
              </a:solidFill>
              <a:prstDash val="solid"/>
              <a:miter lim="0"/>
            </a:ln>
            <a:effectLst/>
          </p:spPr>
          <p:txBody>
            <a:bodyPr lIns="0" tIns="0" rIns="0" bIns="0" anchor="ctr"/>
            <a:lstStyle/>
            <a:p>
              <a:endParaRPr lang="zh-CN" altLang="en-US">
                <a:solidFill>
                  <a:schemeClr val="tx1">
                    <a:lumMod val="50000"/>
                    <a:lumOff val="50000"/>
                  </a:schemeClr>
                </a:solidFill>
              </a:endParaRPr>
            </a:p>
          </p:txBody>
        </p:sp>
        <p:sp>
          <p:nvSpPr>
            <p:cNvPr id="14359" name="AutoShape 23"/>
            <p:cNvSpPr/>
            <p:nvPr/>
          </p:nvSpPr>
          <p:spPr bwMode="auto">
            <a:xfrm>
              <a:off x="6015038" y="3101345"/>
              <a:ext cx="257175" cy="214379"/>
            </a:xfrm>
            <a:custGeom>
              <a:avLst/>
              <a:gdLst>
                <a:gd name="T0" fmla="*/ 342900 w 21600"/>
                <a:gd name="T1" fmla="*/ 285750 h 21600"/>
                <a:gd name="T2" fmla="*/ 342900 w 21600"/>
                <a:gd name="T3" fmla="*/ 285750 h 21600"/>
                <a:gd name="T4" fmla="*/ 342900 w 21600"/>
                <a:gd name="T5" fmla="*/ 285750 h 21600"/>
                <a:gd name="T6" fmla="*/ 342900 w 21600"/>
                <a:gd name="T7" fmla="*/ 2857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0263" y="0"/>
                  </a:moveTo>
                  <a:cubicBezTo>
                    <a:pt x="20630" y="0"/>
                    <a:pt x="20943" y="161"/>
                    <a:pt x="21205" y="478"/>
                  </a:cubicBezTo>
                  <a:cubicBezTo>
                    <a:pt x="21467" y="798"/>
                    <a:pt x="21600" y="1177"/>
                    <a:pt x="21600" y="1618"/>
                  </a:cubicBezTo>
                  <a:lnTo>
                    <a:pt x="21600" y="19981"/>
                  </a:lnTo>
                  <a:cubicBezTo>
                    <a:pt x="21600" y="20422"/>
                    <a:pt x="21467" y="20801"/>
                    <a:pt x="21205" y="21121"/>
                  </a:cubicBezTo>
                  <a:cubicBezTo>
                    <a:pt x="20943" y="21438"/>
                    <a:pt x="20630" y="21599"/>
                    <a:pt x="20263" y="21599"/>
                  </a:cubicBezTo>
                  <a:lnTo>
                    <a:pt x="1346" y="21599"/>
                  </a:lnTo>
                  <a:cubicBezTo>
                    <a:pt x="981" y="21599"/>
                    <a:pt x="663" y="21438"/>
                    <a:pt x="399" y="21121"/>
                  </a:cubicBezTo>
                  <a:cubicBezTo>
                    <a:pt x="132" y="20801"/>
                    <a:pt x="0" y="20422"/>
                    <a:pt x="0" y="19981"/>
                  </a:cubicBezTo>
                  <a:lnTo>
                    <a:pt x="0" y="1618"/>
                  </a:lnTo>
                  <a:cubicBezTo>
                    <a:pt x="0" y="1177"/>
                    <a:pt x="132" y="798"/>
                    <a:pt x="399" y="478"/>
                  </a:cubicBezTo>
                  <a:cubicBezTo>
                    <a:pt x="663" y="161"/>
                    <a:pt x="981" y="0"/>
                    <a:pt x="1346" y="0"/>
                  </a:cubicBezTo>
                  <a:lnTo>
                    <a:pt x="20263" y="0"/>
                  </a:lnTo>
                  <a:close/>
                  <a:moveTo>
                    <a:pt x="4051" y="2170"/>
                  </a:moveTo>
                  <a:cubicBezTo>
                    <a:pt x="4051" y="2020"/>
                    <a:pt x="4010" y="1891"/>
                    <a:pt x="3924" y="1782"/>
                  </a:cubicBezTo>
                  <a:cubicBezTo>
                    <a:pt x="3838" y="1677"/>
                    <a:pt x="3728" y="1621"/>
                    <a:pt x="3593" y="1621"/>
                  </a:cubicBezTo>
                  <a:lnTo>
                    <a:pt x="1801" y="1621"/>
                  </a:lnTo>
                  <a:cubicBezTo>
                    <a:pt x="1676" y="1621"/>
                    <a:pt x="1569" y="1674"/>
                    <a:pt x="1481" y="1776"/>
                  </a:cubicBezTo>
                  <a:cubicBezTo>
                    <a:pt x="1390" y="1879"/>
                    <a:pt x="1344" y="2011"/>
                    <a:pt x="1344" y="2170"/>
                  </a:cubicBezTo>
                  <a:lnTo>
                    <a:pt x="1344" y="4320"/>
                  </a:lnTo>
                  <a:cubicBezTo>
                    <a:pt x="1344" y="4470"/>
                    <a:pt x="1388" y="4602"/>
                    <a:pt x="1473" y="4708"/>
                  </a:cubicBezTo>
                  <a:cubicBezTo>
                    <a:pt x="1559" y="4816"/>
                    <a:pt x="1669" y="4866"/>
                    <a:pt x="1801" y="4866"/>
                  </a:cubicBezTo>
                  <a:lnTo>
                    <a:pt x="3593" y="4866"/>
                  </a:lnTo>
                  <a:cubicBezTo>
                    <a:pt x="3721" y="4866"/>
                    <a:pt x="3828" y="4819"/>
                    <a:pt x="3917" y="4717"/>
                  </a:cubicBezTo>
                  <a:cubicBezTo>
                    <a:pt x="4007" y="4614"/>
                    <a:pt x="4051" y="4482"/>
                    <a:pt x="4051" y="4320"/>
                  </a:cubicBezTo>
                  <a:lnTo>
                    <a:pt x="4051" y="2170"/>
                  </a:lnTo>
                  <a:close/>
                  <a:moveTo>
                    <a:pt x="4051" y="7201"/>
                  </a:moveTo>
                  <a:cubicBezTo>
                    <a:pt x="4051" y="7055"/>
                    <a:pt x="4010" y="6925"/>
                    <a:pt x="3924" y="6817"/>
                  </a:cubicBezTo>
                  <a:cubicBezTo>
                    <a:pt x="3838" y="6708"/>
                    <a:pt x="3728" y="6655"/>
                    <a:pt x="3593" y="6655"/>
                  </a:cubicBezTo>
                  <a:lnTo>
                    <a:pt x="1801" y="6655"/>
                  </a:lnTo>
                  <a:cubicBezTo>
                    <a:pt x="1676" y="6655"/>
                    <a:pt x="1569" y="6708"/>
                    <a:pt x="1481" y="6817"/>
                  </a:cubicBezTo>
                  <a:cubicBezTo>
                    <a:pt x="1390" y="6925"/>
                    <a:pt x="1344" y="7055"/>
                    <a:pt x="1344" y="7201"/>
                  </a:cubicBezTo>
                  <a:lnTo>
                    <a:pt x="1344" y="9369"/>
                  </a:lnTo>
                  <a:cubicBezTo>
                    <a:pt x="1344" y="9516"/>
                    <a:pt x="1388" y="9645"/>
                    <a:pt x="1473" y="9757"/>
                  </a:cubicBezTo>
                  <a:cubicBezTo>
                    <a:pt x="1559" y="9863"/>
                    <a:pt x="1669" y="9915"/>
                    <a:pt x="1801" y="9915"/>
                  </a:cubicBezTo>
                  <a:lnTo>
                    <a:pt x="3593" y="9915"/>
                  </a:lnTo>
                  <a:cubicBezTo>
                    <a:pt x="3721" y="9915"/>
                    <a:pt x="3828" y="9863"/>
                    <a:pt x="3917" y="9757"/>
                  </a:cubicBezTo>
                  <a:cubicBezTo>
                    <a:pt x="4007" y="9645"/>
                    <a:pt x="4051" y="9516"/>
                    <a:pt x="4051" y="9369"/>
                  </a:cubicBezTo>
                  <a:lnTo>
                    <a:pt x="4051" y="7201"/>
                  </a:lnTo>
                  <a:close/>
                  <a:moveTo>
                    <a:pt x="4051" y="12233"/>
                  </a:moveTo>
                  <a:cubicBezTo>
                    <a:pt x="4051" y="12083"/>
                    <a:pt x="4010" y="11957"/>
                    <a:pt x="3924" y="11845"/>
                  </a:cubicBezTo>
                  <a:cubicBezTo>
                    <a:pt x="3838" y="11739"/>
                    <a:pt x="3728" y="11687"/>
                    <a:pt x="3593" y="11687"/>
                  </a:cubicBezTo>
                  <a:lnTo>
                    <a:pt x="1801" y="11687"/>
                  </a:lnTo>
                  <a:cubicBezTo>
                    <a:pt x="1676" y="11687"/>
                    <a:pt x="1569" y="11739"/>
                    <a:pt x="1481" y="11845"/>
                  </a:cubicBezTo>
                  <a:cubicBezTo>
                    <a:pt x="1390" y="11957"/>
                    <a:pt x="1344" y="12083"/>
                    <a:pt x="1344" y="12233"/>
                  </a:cubicBezTo>
                  <a:lnTo>
                    <a:pt x="1344" y="14401"/>
                  </a:lnTo>
                  <a:cubicBezTo>
                    <a:pt x="1344" y="14547"/>
                    <a:pt x="1388" y="14677"/>
                    <a:pt x="1473" y="14785"/>
                  </a:cubicBezTo>
                  <a:cubicBezTo>
                    <a:pt x="1559" y="14894"/>
                    <a:pt x="1669" y="14947"/>
                    <a:pt x="1801" y="14947"/>
                  </a:cubicBezTo>
                  <a:lnTo>
                    <a:pt x="3593" y="14947"/>
                  </a:lnTo>
                  <a:cubicBezTo>
                    <a:pt x="3721" y="14947"/>
                    <a:pt x="3828" y="14894"/>
                    <a:pt x="3917" y="14785"/>
                  </a:cubicBezTo>
                  <a:cubicBezTo>
                    <a:pt x="4007" y="14677"/>
                    <a:pt x="4051" y="14547"/>
                    <a:pt x="4051" y="14401"/>
                  </a:cubicBezTo>
                  <a:lnTo>
                    <a:pt x="4051" y="12233"/>
                  </a:lnTo>
                  <a:close/>
                  <a:moveTo>
                    <a:pt x="4051" y="17285"/>
                  </a:moveTo>
                  <a:cubicBezTo>
                    <a:pt x="4051" y="17135"/>
                    <a:pt x="4010" y="17006"/>
                    <a:pt x="3924" y="16897"/>
                  </a:cubicBezTo>
                  <a:cubicBezTo>
                    <a:pt x="3838" y="16791"/>
                    <a:pt x="3728" y="16736"/>
                    <a:pt x="3593" y="16736"/>
                  </a:cubicBezTo>
                  <a:lnTo>
                    <a:pt x="1801" y="16736"/>
                  </a:lnTo>
                  <a:cubicBezTo>
                    <a:pt x="1676" y="16736"/>
                    <a:pt x="1569" y="16788"/>
                    <a:pt x="1481" y="16891"/>
                  </a:cubicBezTo>
                  <a:cubicBezTo>
                    <a:pt x="1390" y="16994"/>
                    <a:pt x="1344" y="17123"/>
                    <a:pt x="1344" y="17285"/>
                  </a:cubicBezTo>
                  <a:lnTo>
                    <a:pt x="1344" y="19435"/>
                  </a:lnTo>
                  <a:cubicBezTo>
                    <a:pt x="1344" y="19585"/>
                    <a:pt x="1388" y="19714"/>
                    <a:pt x="1473" y="19823"/>
                  </a:cubicBezTo>
                  <a:cubicBezTo>
                    <a:pt x="1559" y="19928"/>
                    <a:pt x="1669" y="19984"/>
                    <a:pt x="1801" y="19984"/>
                  </a:cubicBezTo>
                  <a:lnTo>
                    <a:pt x="3593" y="19984"/>
                  </a:lnTo>
                  <a:cubicBezTo>
                    <a:pt x="3721" y="19984"/>
                    <a:pt x="3828" y="19931"/>
                    <a:pt x="3917" y="19828"/>
                  </a:cubicBezTo>
                  <a:cubicBezTo>
                    <a:pt x="4007" y="19726"/>
                    <a:pt x="4051" y="19596"/>
                    <a:pt x="4051" y="19435"/>
                  </a:cubicBezTo>
                  <a:lnTo>
                    <a:pt x="4051" y="17285"/>
                  </a:lnTo>
                  <a:close/>
                  <a:moveTo>
                    <a:pt x="16194" y="2170"/>
                  </a:moveTo>
                  <a:cubicBezTo>
                    <a:pt x="16194" y="2020"/>
                    <a:pt x="16150" y="1891"/>
                    <a:pt x="16064" y="1782"/>
                  </a:cubicBezTo>
                  <a:cubicBezTo>
                    <a:pt x="15979" y="1677"/>
                    <a:pt x="15871" y="1621"/>
                    <a:pt x="15736" y="1621"/>
                  </a:cubicBezTo>
                  <a:lnTo>
                    <a:pt x="5858" y="1621"/>
                  </a:lnTo>
                  <a:cubicBezTo>
                    <a:pt x="5731" y="1621"/>
                    <a:pt x="5623" y="1674"/>
                    <a:pt x="5535" y="1776"/>
                  </a:cubicBezTo>
                  <a:cubicBezTo>
                    <a:pt x="5444" y="1879"/>
                    <a:pt x="5400" y="2011"/>
                    <a:pt x="5400" y="2170"/>
                  </a:cubicBezTo>
                  <a:lnTo>
                    <a:pt x="5400" y="9369"/>
                  </a:lnTo>
                  <a:cubicBezTo>
                    <a:pt x="5400" y="9516"/>
                    <a:pt x="5442" y="9645"/>
                    <a:pt x="5527" y="9757"/>
                  </a:cubicBezTo>
                  <a:cubicBezTo>
                    <a:pt x="5616" y="9863"/>
                    <a:pt x="5723" y="9915"/>
                    <a:pt x="5858" y="9915"/>
                  </a:cubicBezTo>
                  <a:lnTo>
                    <a:pt x="15736" y="9915"/>
                  </a:lnTo>
                  <a:cubicBezTo>
                    <a:pt x="15861" y="9915"/>
                    <a:pt x="15969" y="9863"/>
                    <a:pt x="16059" y="9757"/>
                  </a:cubicBezTo>
                  <a:cubicBezTo>
                    <a:pt x="16147" y="9645"/>
                    <a:pt x="16194" y="9516"/>
                    <a:pt x="16194" y="9369"/>
                  </a:cubicBezTo>
                  <a:lnTo>
                    <a:pt x="16194" y="2170"/>
                  </a:lnTo>
                  <a:close/>
                  <a:moveTo>
                    <a:pt x="16194" y="12233"/>
                  </a:moveTo>
                  <a:cubicBezTo>
                    <a:pt x="16194" y="12083"/>
                    <a:pt x="16150" y="11957"/>
                    <a:pt x="16064" y="11845"/>
                  </a:cubicBezTo>
                  <a:cubicBezTo>
                    <a:pt x="15979" y="11739"/>
                    <a:pt x="15871" y="11687"/>
                    <a:pt x="15736" y="11687"/>
                  </a:cubicBezTo>
                  <a:lnTo>
                    <a:pt x="5858" y="11687"/>
                  </a:lnTo>
                  <a:cubicBezTo>
                    <a:pt x="5731" y="11687"/>
                    <a:pt x="5623" y="11739"/>
                    <a:pt x="5535" y="11845"/>
                  </a:cubicBezTo>
                  <a:cubicBezTo>
                    <a:pt x="5444" y="11957"/>
                    <a:pt x="5400" y="12083"/>
                    <a:pt x="5400" y="12233"/>
                  </a:cubicBezTo>
                  <a:lnTo>
                    <a:pt x="5400" y="19432"/>
                  </a:lnTo>
                  <a:cubicBezTo>
                    <a:pt x="5400" y="19582"/>
                    <a:pt x="5442" y="19711"/>
                    <a:pt x="5527" y="19820"/>
                  </a:cubicBezTo>
                  <a:cubicBezTo>
                    <a:pt x="5616" y="19925"/>
                    <a:pt x="5723" y="19981"/>
                    <a:pt x="5858" y="19981"/>
                  </a:cubicBezTo>
                  <a:lnTo>
                    <a:pt x="15736" y="19981"/>
                  </a:lnTo>
                  <a:cubicBezTo>
                    <a:pt x="15861" y="19981"/>
                    <a:pt x="15969" y="19928"/>
                    <a:pt x="16059" y="19826"/>
                  </a:cubicBezTo>
                  <a:cubicBezTo>
                    <a:pt x="16147" y="19723"/>
                    <a:pt x="16194" y="19593"/>
                    <a:pt x="16194" y="19432"/>
                  </a:cubicBezTo>
                  <a:lnTo>
                    <a:pt x="16194" y="12233"/>
                  </a:lnTo>
                  <a:close/>
                  <a:moveTo>
                    <a:pt x="20263" y="2170"/>
                  </a:moveTo>
                  <a:cubicBezTo>
                    <a:pt x="20263" y="2020"/>
                    <a:pt x="20216" y="1891"/>
                    <a:pt x="20128" y="1782"/>
                  </a:cubicBezTo>
                  <a:cubicBezTo>
                    <a:pt x="20038" y="1677"/>
                    <a:pt x="19930" y="1621"/>
                    <a:pt x="19805" y="1621"/>
                  </a:cubicBezTo>
                  <a:lnTo>
                    <a:pt x="18001" y="1621"/>
                  </a:lnTo>
                  <a:cubicBezTo>
                    <a:pt x="17876" y="1621"/>
                    <a:pt x="17768" y="1674"/>
                    <a:pt x="17678" y="1776"/>
                  </a:cubicBezTo>
                  <a:cubicBezTo>
                    <a:pt x="17589" y="1879"/>
                    <a:pt x="17545" y="2011"/>
                    <a:pt x="17545" y="2170"/>
                  </a:cubicBezTo>
                  <a:lnTo>
                    <a:pt x="17545" y="4320"/>
                  </a:lnTo>
                  <a:cubicBezTo>
                    <a:pt x="17545" y="4470"/>
                    <a:pt x="17589" y="4602"/>
                    <a:pt x="17678" y="4708"/>
                  </a:cubicBezTo>
                  <a:cubicBezTo>
                    <a:pt x="17768" y="4816"/>
                    <a:pt x="17876" y="4866"/>
                    <a:pt x="18001" y="4866"/>
                  </a:cubicBezTo>
                  <a:lnTo>
                    <a:pt x="19805" y="4866"/>
                  </a:lnTo>
                  <a:cubicBezTo>
                    <a:pt x="19930" y="4866"/>
                    <a:pt x="20038" y="4819"/>
                    <a:pt x="20128" y="4717"/>
                  </a:cubicBezTo>
                  <a:cubicBezTo>
                    <a:pt x="20216" y="4614"/>
                    <a:pt x="20263" y="4482"/>
                    <a:pt x="20263" y="4320"/>
                  </a:cubicBezTo>
                  <a:lnTo>
                    <a:pt x="20263" y="2170"/>
                  </a:lnTo>
                  <a:close/>
                  <a:moveTo>
                    <a:pt x="20263" y="7201"/>
                  </a:moveTo>
                  <a:cubicBezTo>
                    <a:pt x="20263" y="7055"/>
                    <a:pt x="20216" y="6925"/>
                    <a:pt x="20128" y="6817"/>
                  </a:cubicBezTo>
                  <a:cubicBezTo>
                    <a:pt x="20038" y="6708"/>
                    <a:pt x="19930" y="6655"/>
                    <a:pt x="19805" y="6655"/>
                  </a:cubicBezTo>
                  <a:lnTo>
                    <a:pt x="18001" y="6655"/>
                  </a:lnTo>
                  <a:cubicBezTo>
                    <a:pt x="17876" y="6655"/>
                    <a:pt x="17768" y="6708"/>
                    <a:pt x="17678" y="6817"/>
                  </a:cubicBezTo>
                  <a:cubicBezTo>
                    <a:pt x="17589" y="6925"/>
                    <a:pt x="17545" y="7055"/>
                    <a:pt x="17545" y="7201"/>
                  </a:cubicBezTo>
                  <a:lnTo>
                    <a:pt x="17545" y="9369"/>
                  </a:lnTo>
                  <a:cubicBezTo>
                    <a:pt x="17545" y="9516"/>
                    <a:pt x="17589" y="9645"/>
                    <a:pt x="17678" y="9757"/>
                  </a:cubicBezTo>
                  <a:cubicBezTo>
                    <a:pt x="17768" y="9863"/>
                    <a:pt x="17876" y="9915"/>
                    <a:pt x="18001" y="9915"/>
                  </a:cubicBezTo>
                  <a:lnTo>
                    <a:pt x="19805" y="9915"/>
                  </a:lnTo>
                  <a:cubicBezTo>
                    <a:pt x="19930" y="9915"/>
                    <a:pt x="20038" y="9863"/>
                    <a:pt x="20128" y="9757"/>
                  </a:cubicBezTo>
                  <a:cubicBezTo>
                    <a:pt x="20216" y="9645"/>
                    <a:pt x="20263" y="9516"/>
                    <a:pt x="20263" y="9369"/>
                  </a:cubicBezTo>
                  <a:lnTo>
                    <a:pt x="20263" y="7201"/>
                  </a:lnTo>
                  <a:close/>
                  <a:moveTo>
                    <a:pt x="20263" y="12233"/>
                  </a:moveTo>
                  <a:cubicBezTo>
                    <a:pt x="20263" y="12083"/>
                    <a:pt x="20216" y="11957"/>
                    <a:pt x="20128" y="11845"/>
                  </a:cubicBezTo>
                  <a:cubicBezTo>
                    <a:pt x="20038" y="11739"/>
                    <a:pt x="19930" y="11687"/>
                    <a:pt x="19805" y="11687"/>
                  </a:cubicBezTo>
                  <a:lnTo>
                    <a:pt x="18001" y="11687"/>
                  </a:lnTo>
                  <a:cubicBezTo>
                    <a:pt x="17876" y="11687"/>
                    <a:pt x="17768" y="11739"/>
                    <a:pt x="17678" y="11845"/>
                  </a:cubicBezTo>
                  <a:cubicBezTo>
                    <a:pt x="17589" y="11957"/>
                    <a:pt x="17545" y="12083"/>
                    <a:pt x="17545" y="12233"/>
                  </a:cubicBezTo>
                  <a:lnTo>
                    <a:pt x="17545" y="14401"/>
                  </a:lnTo>
                  <a:cubicBezTo>
                    <a:pt x="17545" y="14547"/>
                    <a:pt x="17589" y="14677"/>
                    <a:pt x="17678" y="14785"/>
                  </a:cubicBezTo>
                  <a:cubicBezTo>
                    <a:pt x="17768" y="14894"/>
                    <a:pt x="17876" y="14947"/>
                    <a:pt x="18001" y="14947"/>
                  </a:cubicBezTo>
                  <a:lnTo>
                    <a:pt x="19805" y="14947"/>
                  </a:lnTo>
                  <a:cubicBezTo>
                    <a:pt x="19930" y="14947"/>
                    <a:pt x="20038" y="14894"/>
                    <a:pt x="20128" y="14785"/>
                  </a:cubicBezTo>
                  <a:cubicBezTo>
                    <a:pt x="20216" y="14677"/>
                    <a:pt x="20263" y="14547"/>
                    <a:pt x="20263" y="14401"/>
                  </a:cubicBezTo>
                  <a:lnTo>
                    <a:pt x="20263" y="12233"/>
                  </a:lnTo>
                  <a:close/>
                  <a:moveTo>
                    <a:pt x="20263" y="17285"/>
                  </a:moveTo>
                  <a:cubicBezTo>
                    <a:pt x="20263" y="17135"/>
                    <a:pt x="20216" y="17006"/>
                    <a:pt x="20128" y="16897"/>
                  </a:cubicBezTo>
                  <a:cubicBezTo>
                    <a:pt x="20038" y="16791"/>
                    <a:pt x="19930" y="16736"/>
                    <a:pt x="19805" y="16736"/>
                  </a:cubicBezTo>
                  <a:lnTo>
                    <a:pt x="18001" y="16736"/>
                  </a:lnTo>
                  <a:cubicBezTo>
                    <a:pt x="17876" y="16736"/>
                    <a:pt x="17768" y="16788"/>
                    <a:pt x="17678" y="16891"/>
                  </a:cubicBezTo>
                  <a:cubicBezTo>
                    <a:pt x="17589" y="16994"/>
                    <a:pt x="17545" y="17123"/>
                    <a:pt x="17545" y="17285"/>
                  </a:cubicBezTo>
                  <a:lnTo>
                    <a:pt x="17545" y="19435"/>
                  </a:lnTo>
                  <a:cubicBezTo>
                    <a:pt x="17545" y="19585"/>
                    <a:pt x="17589" y="19714"/>
                    <a:pt x="17678" y="19823"/>
                  </a:cubicBezTo>
                  <a:cubicBezTo>
                    <a:pt x="17768" y="19928"/>
                    <a:pt x="17876" y="19984"/>
                    <a:pt x="18001" y="19984"/>
                  </a:cubicBezTo>
                  <a:lnTo>
                    <a:pt x="19805" y="19984"/>
                  </a:lnTo>
                  <a:cubicBezTo>
                    <a:pt x="19930" y="19984"/>
                    <a:pt x="20038" y="19931"/>
                    <a:pt x="20128" y="19828"/>
                  </a:cubicBezTo>
                  <a:cubicBezTo>
                    <a:pt x="20216" y="19726"/>
                    <a:pt x="20263" y="19596"/>
                    <a:pt x="20263" y="19435"/>
                  </a:cubicBezTo>
                  <a:lnTo>
                    <a:pt x="20263" y="17285"/>
                  </a:lnTo>
                  <a:close/>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grpSp>
        <p:nvGrpSpPr>
          <p:cNvPr id="10" name="组合 9"/>
          <p:cNvGrpSpPr/>
          <p:nvPr/>
        </p:nvGrpSpPr>
        <p:grpSpPr>
          <a:xfrm>
            <a:off x="7809485" y="5060726"/>
            <a:ext cx="743647" cy="744538"/>
            <a:chOff x="5857280" y="3739121"/>
            <a:chExt cx="557808" cy="558576"/>
          </a:xfrm>
        </p:grpSpPr>
        <p:sp>
          <p:nvSpPr>
            <p:cNvPr id="14358" name="AutoShape 22"/>
            <p:cNvSpPr/>
            <p:nvPr/>
          </p:nvSpPr>
          <p:spPr bwMode="auto">
            <a:xfrm>
              <a:off x="5857280" y="3739121"/>
              <a:ext cx="557808" cy="558576"/>
            </a:xfrm>
            <a:custGeom>
              <a:avLst/>
              <a:gdLst>
                <a:gd name="T0" fmla="*/ 743706 w 19679"/>
                <a:gd name="T1" fmla="*/ 817217 h 19679"/>
                <a:gd name="T2" fmla="*/ 743706 w 19679"/>
                <a:gd name="T3" fmla="*/ 817217 h 19679"/>
                <a:gd name="T4" fmla="*/ 743706 w 19679"/>
                <a:gd name="T5" fmla="*/ 817217 h 19679"/>
                <a:gd name="T6" fmla="*/ 743706 w 19679"/>
                <a:gd name="T7" fmla="*/ 81721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1"/>
            </a:solidFill>
            <a:ln w="25400" cap="flat" cmpd="sng">
              <a:solidFill>
                <a:srgbClr val="000000">
                  <a:alpha val="0"/>
                </a:srgbClr>
              </a:solidFill>
              <a:prstDash val="solid"/>
              <a:miter lim="0"/>
            </a:ln>
            <a:effectLst/>
          </p:spPr>
          <p:txBody>
            <a:bodyPr lIns="0" tIns="0" rIns="0" bIns="0" anchor="ctr"/>
            <a:lstStyle/>
            <a:p>
              <a:endParaRPr lang="zh-CN" altLang="en-US">
                <a:solidFill>
                  <a:schemeClr val="tx1">
                    <a:lumMod val="50000"/>
                    <a:lumOff val="50000"/>
                  </a:schemeClr>
                </a:solidFill>
              </a:endParaRPr>
            </a:p>
          </p:txBody>
        </p:sp>
        <p:sp>
          <p:nvSpPr>
            <p:cNvPr id="14360" name="AutoShape 24"/>
            <p:cNvSpPr/>
            <p:nvPr/>
          </p:nvSpPr>
          <p:spPr bwMode="auto">
            <a:xfrm>
              <a:off x="6011466" y="3885613"/>
              <a:ext cx="256580" cy="256659"/>
            </a:xfrm>
            <a:custGeom>
              <a:avLst/>
              <a:gdLst>
                <a:gd name="T0" fmla="*/ 342107 w 21600"/>
                <a:gd name="T1" fmla="*/ 342106 h 21600"/>
                <a:gd name="T2" fmla="*/ 342107 w 21600"/>
                <a:gd name="T3" fmla="*/ 342106 h 21600"/>
                <a:gd name="T4" fmla="*/ 342107 w 21600"/>
                <a:gd name="T5" fmla="*/ 342106 h 21600"/>
                <a:gd name="T6" fmla="*/ 342107 w 21600"/>
                <a:gd name="T7" fmla="*/ 34210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8897" y="0"/>
                  </a:moveTo>
                  <a:cubicBezTo>
                    <a:pt x="19649" y="0"/>
                    <a:pt x="20287" y="264"/>
                    <a:pt x="20812" y="796"/>
                  </a:cubicBezTo>
                  <a:cubicBezTo>
                    <a:pt x="21335" y="1321"/>
                    <a:pt x="21600" y="1962"/>
                    <a:pt x="21600" y="2711"/>
                  </a:cubicBezTo>
                  <a:lnTo>
                    <a:pt x="21600" y="18882"/>
                  </a:lnTo>
                  <a:cubicBezTo>
                    <a:pt x="21600" y="19267"/>
                    <a:pt x="21526" y="19623"/>
                    <a:pt x="21382" y="19952"/>
                  </a:cubicBezTo>
                  <a:cubicBezTo>
                    <a:pt x="21235" y="20281"/>
                    <a:pt x="21041" y="20563"/>
                    <a:pt x="20803" y="20804"/>
                  </a:cubicBezTo>
                  <a:cubicBezTo>
                    <a:pt x="20566" y="21042"/>
                    <a:pt x="20278" y="21232"/>
                    <a:pt x="19940" y="21376"/>
                  </a:cubicBezTo>
                  <a:cubicBezTo>
                    <a:pt x="19602" y="21523"/>
                    <a:pt x="19256" y="21594"/>
                    <a:pt x="18897" y="21594"/>
                  </a:cubicBezTo>
                  <a:lnTo>
                    <a:pt x="12065" y="21594"/>
                  </a:lnTo>
                  <a:lnTo>
                    <a:pt x="12065" y="12552"/>
                  </a:lnTo>
                  <a:lnTo>
                    <a:pt x="14486" y="12552"/>
                  </a:lnTo>
                  <a:cubicBezTo>
                    <a:pt x="14594" y="12552"/>
                    <a:pt x="14697" y="12516"/>
                    <a:pt x="14788" y="12440"/>
                  </a:cubicBezTo>
                  <a:cubicBezTo>
                    <a:pt x="14876" y="12367"/>
                    <a:pt x="14920" y="12267"/>
                    <a:pt x="14920" y="12143"/>
                  </a:cubicBezTo>
                  <a:lnTo>
                    <a:pt x="15088" y="9779"/>
                  </a:lnTo>
                  <a:cubicBezTo>
                    <a:pt x="15088" y="9649"/>
                    <a:pt x="15050" y="9538"/>
                    <a:pt x="14976" y="9444"/>
                  </a:cubicBezTo>
                  <a:cubicBezTo>
                    <a:pt x="14882" y="9350"/>
                    <a:pt x="14773" y="9303"/>
                    <a:pt x="14653" y="9303"/>
                  </a:cubicBezTo>
                  <a:lnTo>
                    <a:pt x="12065" y="9303"/>
                  </a:lnTo>
                  <a:lnTo>
                    <a:pt x="12065" y="8263"/>
                  </a:lnTo>
                  <a:cubicBezTo>
                    <a:pt x="12065" y="7878"/>
                    <a:pt x="12115" y="7622"/>
                    <a:pt x="12215" y="7496"/>
                  </a:cubicBezTo>
                  <a:cubicBezTo>
                    <a:pt x="12312" y="7370"/>
                    <a:pt x="12565" y="7308"/>
                    <a:pt x="12964" y="7308"/>
                  </a:cubicBezTo>
                  <a:cubicBezTo>
                    <a:pt x="13202" y="7308"/>
                    <a:pt x="13458" y="7326"/>
                    <a:pt x="13745" y="7367"/>
                  </a:cubicBezTo>
                  <a:cubicBezTo>
                    <a:pt x="14033" y="7405"/>
                    <a:pt x="14306" y="7455"/>
                    <a:pt x="14568" y="7520"/>
                  </a:cubicBezTo>
                  <a:cubicBezTo>
                    <a:pt x="14624" y="7520"/>
                    <a:pt x="14685" y="7514"/>
                    <a:pt x="14759" y="7499"/>
                  </a:cubicBezTo>
                  <a:cubicBezTo>
                    <a:pt x="14829" y="7484"/>
                    <a:pt x="14882" y="7458"/>
                    <a:pt x="14920" y="7423"/>
                  </a:cubicBezTo>
                  <a:cubicBezTo>
                    <a:pt x="15014" y="7367"/>
                    <a:pt x="15079" y="7264"/>
                    <a:pt x="15117" y="7114"/>
                  </a:cubicBezTo>
                  <a:lnTo>
                    <a:pt x="15437" y="4837"/>
                  </a:lnTo>
                  <a:cubicBezTo>
                    <a:pt x="15478" y="4564"/>
                    <a:pt x="15361" y="4403"/>
                    <a:pt x="15088" y="4347"/>
                  </a:cubicBezTo>
                  <a:cubicBezTo>
                    <a:pt x="14245" y="4112"/>
                    <a:pt x="13364" y="4000"/>
                    <a:pt x="12444" y="4009"/>
                  </a:cubicBezTo>
                  <a:cubicBezTo>
                    <a:pt x="9625" y="4009"/>
                    <a:pt x="8212" y="5384"/>
                    <a:pt x="8212" y="8128"/>
                  </a:cubicBezTo>
                  <a:lnTo>
                    <a:pt x="8212" y="9308"/>
                  </a:lnTo>
                  <a:lnTo>
                    <a:pt x="6764" y="9308"/>
                  </a:lnTo>
                  <a:cubicBezTo>
                    <a:pt x="6455" y="9308"/>
                    <a:pt x="6306" y="9458"/>
                    <a:pt x="6317" y="9758"/>
                  </a:cubicBezTo>
                  <a:lnTo>
                    <a:pt x="6317" y="12120"/>
                  </a:lnTo>
                  <a:cubicBezTo>
                    <a:pt x="6317" y="12234"/>
                    <a:pt x="6356" y="12334"/>
                    <a:pt x="6444" y="12425"/>
                  </a:cubicBezTo>
                  <a:cubicBezTo>
                    <a:pt x="6526" y="12514"/>
                    <a:pt x="6632" y="12558"/>
                    <a:pt x="6764" y="12558"/>
                  </a:cubicBezTo>
                  <a:lnTo>
                    <a:pt x="8212" y="12558"/>
                  </a:lnTo>
                  <a:lnTo>
                    <a:pt x="8212" y="21600"/>
                  </a:lnTo>
                  <a:lnTo>
                    <a:pt x="2684" y="21600"/>
                  </a:lnTo>
                  <a:cubicBezTo>
                    <a:pt x="2320" y="21600"/>
                    <a:pt x="1973" y="21529"/>
                    <a:pt x="1647" y="21382"/>
                  </a:cubicBezTo>
                  <a:cubicBezTo>
                    <a:pt x="1321" y="21238"/>
                    <a:pt x="1033" y="21047"/>
                    <a:pt x="795" y="20809"/>
                  </a:cubicBezTo>
                  <a:cubicBezTo>
                    <a:pt x="558" y="20569"/>
                    <a:pt x="364" y="20287"/>
                    <a:pt x="220" y="19957"/>
                  </a:cubicBezTo>
                  <a:cubicBezTo>
                    <a:pt x="76" y="19628"/>
                    <a:pt x="0" y="19273"/>
                    <a:pt x="0" y="18888"/>
                  </a:cubicBezTo>
                  <a:lnTo>
                    <a:pt x="0" y="2717"/>
                  </a:lnTo>
                  <a:cubicBezTo>
                    <a:pt x="0" y="2352"/>
                    <a:pt x="76" y="2000"/>
                    <a:pt x="220" y="1662"/>
                  </a:cubicBezTo>
                  <a:cubicBezTo>
                    <a:pt x="364" y="1327"/>
                    <a:pt x="558" y="1036"/>
                    <a:pt x="795" y="801"/>
                  </a:cubicBezTo>
                  <a:cubicBezTo>
                    <a:pt x="1033" y="557"/>
                    <a:pt x="1321" y="369"/>
                    <a:pt x="1647" y="222"/>
                  </a:cubicBezTo>
                  <a:cubicBezTo>
                    <a:pt x="1973" y="75"/>
                    <a:pt x="2320" y="5"/>
                    <a:pt x="2684" y="5"/>
                  </a:cubicBezTo>
                  <a:lnTo>
                    <a:pt x="18897" y="5"/>
                  </a:lnTo>
                  <a:lnTo>
                    <a:pt x="18897" y="0"/>
                  </a:lnTo>
                  <a:close/>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sp>
        <p:nvSpPr>
          <p:cNvPr id="14361" name="AutoShape 25"/>
          <p:cNvSpPr/>
          <p:nvPr/>
        </p:nvSpPr>
        <p:spPr bwMode="auto">
          <a:xfrm>
            <a:off x="2211101" y="2954115"/>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algn="l"/>
            <a:r>
              <a:rPr lang="es-ES" altLang="zh-CN" sz="1700" dirty="0">
                <a:solidFill>
                  <a:schemeClr val="tx1">
                    <a:lumMod val="50000"/>
                    <a:lumOff val="50000"/>
                  </a:schemeClr>
                </a:solidFill>
              </a:rPr>
              <a:t>RESEARCH</a:t>
            </a:r>
            <a:endParaRPr lang="es-ES" altLang="zh-CN" dirty="0">
              <a:solidFill>
                <a:schemeClr val="tx1">
                  <a:lumMod val="50000"/>
                  <a:lumOff val="50000"/>
                </a:schemeClr>
              </a:solidFill>
            </a:endParaRPr>
          </a:p>
        </p:txBody>
      </p:sp>
      <p:sp>
        <p:nvSpPr>
          <p:cNvPr id="14362" name="AutoShape 26"/>
          <p:cNvSpPr/>
          <p:nvPr/>
        </p:nvSpPr>
        <p:spPr bwMode="auto">
          <a:xfrm>
            <a:off x="5476957" y="3261297"/>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4363" name="AutoShape 27"/>
          <p:cNvSpPr/>
          <p:nvPr/>
        </p:nvSpPr>
        <p:spPr bwMode="auto">
          <a:xfrm>
            <a:off x="5477750" y="2954115"/>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algn="l"/>
            <a:r>
              <a:rPr lang="es-ES" altLang="zh-CN" sz="1700">
                <a:solidFill>
                  <a:schemeClr val="tx1">
                    <a:lumMod val="50000"/>
                    <a:lumOff val="50000"/>
                  </a:schemeClr>
                </a:solidFill>
              </a:rPr>
              <a:t>RESEARCH</a:t>
            </a:r>
            <a:endParaRPr lang="es-ES" altLang="zh-CN">
              <a:solidFill>
                <a:schemeClr val="tx1">
                  <a:lumMod val="50000"/>
                  <a:lumOff val="50000"/>
                </a:schemeClr>
              </a:solidFill>
            </a:endParaRPr>
          </a:p>
        </p:txBody>
      </p:sp>
      <p:sp>
        <p:nvSpPr>
          <p:cNvPr id="14364" name="AutoShape 28"/>
          <p:cNvSpPr/>
          <p:nvPr/>
        </p:nvSpPr>
        <p:spPr bwMode="auto">
          <a:xfrm>
            <a:off x="8744401" y="3261297"/>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4365" name="AutoShape 29"/>
          <p:cNvSpPr/>
          <p:nvPr/>
        </p:nvSpPr>
        <p:spPr bwMode="auto">
          <a:xfrm>
            <a:off x="8745193" y="2954115"/>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algn="l"/>
            <a:r>
              <a:rPr lang="es-ES" altLang="zh-CN" sz="1700">
                <a:solidFill>
                  <a:schemeClr val="tx1">
                    <a:lumMod val="50000"/>
                    <a:lumOff val="50000"/>
                  </a:schemeClr>
                </a:solidFill>
              </a:rPr>
              <a:t>RESEARCH</a:t>
            </a:r>
            <a:endParaRPr lang="es-ES" altLang="zh-CN">
              <a:solidFill>
                <a:schemeClr val="tx1">
                  <a:lumMod val="50000"/>
                  <a:lumOff val="50000"/>
                </a:schemeClr>
              </a:solidFill>
            </a:endParaRPr>
          </a:p>
        </p:txBody>
      </p:sp>
      <p:sp>
        <p:nvSpPr>
          <p:cNvPr id="14366" name="AutoShape 30"/>
          <p:cNvSpPr/>
          <p:nvPr/>
        </p:nvSpPr>
        <p:spPr bwMode="auto">
          <a:xfrm>
            <a:off x="2210307" y="4332066"/>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4367" name="AutoShape 31"/>
          <p:cNvSpPr/>
          <p:nvPr/>
        </p:nvSpPr>
        <p:spPr bwMode="auto">
          <a:xfrm>
            <a:off x="2211101" y="4024883"/>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algn="l"/>
            <a:r>
              <a:rPr lang="es-ES" altLang="zh-CN" sz="1700">
                <a:solidFill>
                  <a:schemeClr val="tx1">
                    <a:lumMod val="50000"/>
                    <a:lumOff val="50000"/>
                  </a:schemeClr>
                </a:solidFill>
              </a:rPr>
              <a:t>RESEARCH</a:t>
            </a:r>
            <a:endParaRPr lang="es-ES" altLang="zh-CN">
              <a:solidFill>
                <a:schemeClr val="tx1">
                  <a:lumMod val="50000"/>
                  <a:lumOff val="50000"/>
                </a:schemeClr>
              </a:solidFill>
            </a:endParaRPr>
          </a:p>
        </p:txBody>
      </p:sp>
      <p:sp>
        <p:nvSpPr>
          <p:cNvPr id="14368" name="AutoShape 32"/>
          <p:cNvSpPr/>
          <p:nvPr/>
        </p:nvSpPr>
        <p:spPr bwMode="auto">
          <a:xfrm>
            <a:off x="5476957" y="4332066"/>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4369" name="AutoShape 33"/>
          <p:cNvSpPr/>
          <p:nvPr/>
        </p:nvSpPr>
        <p:spPr bwMode="auto">
          <a:xfrm>
            <a:off x="5477750" y="4024883"/>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algn="l"/>
            <a:r>
              <a:rPr lang="es-ES" altLang="zh-CN" sz="1700">
                <a:solidFill>
                  <a:schemeClr val="tx1">
                    <a:lumMod val="50000"/>
                    <a:lumOff val="50000"/>
                  </a:schemeClr>
                </a:solidFill>
              </a:rPr>
              <a:t>RESEARCH</a:t>
            </a:r>
            <a:endParaRPr lang="es-ES" altLang="zh-CN">
              <a:solidFill>
                <a:schemeClr val="tx1">
                  <a:lumMod val="50000"/>
                  <a:lumOff val="50000"/>
                </a:schemeClr>
              </a:solidFill>
            </a:endParaRPr>
          </a:p>
        </p:txBody>
      </p:sp>
      <p:sp>
        <p:nvSpPr>
          <p:cNvPr id="14370" name="AutoShape 34"/>
          <p:cNvSpPr/>
          <p:nvPr/>
        </p:nvSpPr>
        <p:spPr bwMode="auto">
          <a:xfrm>
            <a:off x="8744401" y="4332066"/>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4371" name="AutoShape 35"/>
          <p:cNvSpPr/>
          <p:nvPr/>
        </p:nvSpPr>
        <p:spPr bwMode="auto">
          <a:xfrm>
            <a:off x="8745193" y="4024883"/>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algn="l"/>
            <a:r>
              <a:rPr lang="es-ES" altLang="zh-CN" sz="1700">
                <a:solidFill>
                  <a:schemeClr val="tx1">
                    <a:lumMod val="50000"/>
                    <a:lumOff val="50000"/>
                  </a:schemeClr>
                </a:solidFill>
              </a:rPr>
              <a:t>RESEARCH</a:t>
            </a:r>
            <a:endParaRPr lang="es-ES" altLang="zh-CN">
              <a:solidFill>
                <a:schemeClr val="tx1">
                  <a:lumMod val="50000"/>
                  <a:lumOff val="50000"/>
                </a:schemeClr>
              </a:solidFill>
            </a:endParaRPr>
          </a:p>
        </p:txBody>
      </p:sp>
      <p:sp>
        <p:nvSpPr>
          <p:cNvPr id="14372" name="AutoShape 36"/>
          <p:cNvSpPr/>
          <p:nvPr/>
        </p:nvSpPr>
        <p:spPr bwMode="auto">
          <a:xfrm>
            <a:off x="2210307" y="5435379"/>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4373" name="AutoShape 37"/>
          <p:cNvSpPr/>
          <p:nvPr/>
        </p:nvSpPr>
        <p:spPr bwMode="auto">
          <a:xfrm>
            <a:off x="2211101" y="5128196"/>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algn="l"/>
            <a:r>
              <a:rPr lang="es-ES" altLang="zh-CN" sz="1700">
                <a:solidFill>
                  <a:schemeClr val="tx1">
                    <a:lumMod val="50000"/>
                    <a:lumOff val="50000"/>
                  </a:schemeClr>
                </a:solidFill>
              </a:rPr>
              <a:t>RESEARCH</a:t>
            </a:r>
            <a:endParaRPr lang="es-ES" altLang="zh-CN">
              <a:solidFill>
                <a:schemeClr val="tx1">
                  <a:lumMod val="50000"/>
                  <a:lumOff val="50000"/>
                </a:schemeClr>
              </a:solidFill>
            </a:endParaRPr>
          </a:p>
        </p:txBody>
      </p:sp>
      <p:sp>
        <p:nvSpPr>
          <p:cNvPr id="14374" name="AutoShape 38"/>
          <p:cNvSpPr/>
          <p:nvPr/>
        </p:nvSpPr>
        <p:spPr bwMode="auto">
          <a:xfrm>
            <a:off x="5476957" y="5435379"/>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4375" name="AutoShape 39"/>
          <p:cNvSpPr/>
          <p:nvPr/>
        </p:nvSpPr>
        <p:spPr bwMode="auto">
          <a:xfrm>
            <a:off x="5477750" y="5128196"/>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algn="l"/>
            <a:r>
              <a:rPr lang="es-ES" altLang="zh-CN" sz="1700">
                <a:solidFill>
                  <a:schemeClr val="tx1">
                    <a:lumMod val="50000"/>
                    <a:lumOff val="50000"/>
                  </a:schemeClr>
                </a:solidFill>
              </a:rPr>
              <a:t>RESEARCH</a:t>
            </a:r>
            <a:endParaRPr lang="es-ES" altLang="zh-CN">
              <a:solidFill>
                <a:schemeClr val="tx1">
                  <a:lumMod val="50000"/>
                  <a:lumOff val="50000"/>
                </a:schemeClr>
              </a:solidFill>
            </a:endParaRPr>
          </a:p>
        </p:txBody>
      </p:sp>
      <p:sp>
        <p:nvSpPr>
          <p:cNvPr id="14376" name="AutoShape 40"/>
          <p:cNvSpPr/>
          <p:nvPr/>
        </p:nvSpPr>
        <p:spPr bwMode="auto">
          <a:xfrm>
            <a:off x="8744401" y="5435379"/>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4377" name="AutoShape 41"/>
          <p:cNvSpPr/>
          <p:nvPr/>
        </p:nvSpPr>
        <p:spPr bwMode="auto">
          <a:xfrm>
            <a:off x="8745193" y="5128196"/>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algn="l"/>
            <a:r>
              <a:rPr lang="es-ES" altLang="zh-CN" sz="1700">
                <a:solidFill>
                  <a:schemeClr val="tx1">
                    <a:lumMod val="50000"/>
                    <a:lumOff val="50000"/>
                  </a:schemeClr>
                </a:solidFill>
              </a:rPr>
              <a:t>RESEARCH</a:t>
            </a:r>
            <a:endParaRPr lang="es-ES" altLang="zh-CN">
              <a:solidFill>
                <a:schemeClr val="tx1">
                  <a:lumMod val="50000"/>
                  <a:lumOff val="50000"/>
                </a:schemeClr>
              </a:solidFill>
            </a:endParaRPr>
          </a:p>
        </p:txBody>
      </p:sp>
      <p:sp>
        <p:nvSpPr>
          <p:cNvPr id="11" name="标题 10"/>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342"/>
                                        </p:tgtEl>
                                        <p:attrNameLst>
                                          <p:attrName>style.visibility</p:attrName>
                                        </p:attrNameLst>
                                      </p:cBhvr>
                                      <p:to>
                                        <p:strVal val="visible"/>
                                      </p:to>
                                    </p:set>
                                    <p:animEffect transition="in" filter="wipe(left)">
                                      <p:cBhvr>
                                        <p:cTn id="7" dur="500"/>
                                        <p:tgtEl>
                                          <p:spTgt spid="14342"/>
                                        </p:tgtEl>
                                      </p:cBhvr>
                                    </p:animEffect>
                                  </p:childTnLst>
                                </p:cTn>
                              </p:par>
                            </p:childTnLst>
                          </p:cTn>
                        </p:par>
                        <p:par>
                          <p:cTn id="8" fill="hold">
                            <p:stCondLst>
                              <p:cond delay="500"/>
                            </p:stCondLst>
                            <p:childTnLst>
                              <p:par>
                                <p:cTn id="9" presetID="31"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p:cTn id="11" dur="250" fill="hold"/>
                                        <p:tgtEl>
                                          <p:spTgt spid="2"/>
                                        </p:tgtEl>
                                        <p:attrNameLst>
                                          <p:attrName>ppt_w</p:attrName>
                                        </p:attrNameLst>
                                      </p:cBhvr>
                                      <p:tavLst>
                                        <p:tav tm="0">
                                          <p:val>
                                            <p:fltVal val="0"/>
                                          </p:val>
                                        </p:tav>
                                        <p:tav tm="100000">
                                          <p:val>
                                            <p:strVal val="#ppt_w"/>
                                          </p:val>
                                        </p:tav>
                                      </p:tavLst>
                                    </p:anim>
                                    <p:anim calcmode="lin" valueType="num">
                                      <p:cBhvr>
                                        <p:cTn id="12" dur="250" fill="hold"/>
                                        <p:tgtEl>
                                          <p:spTgt spid="2"/>
                                        </p:tgtEl>
                                        <p:attrNameLst>
                                          <p:attrName>ppt_h</p:attrName>
                                        </p:attrNameLst>
                                      </p:cBhvr>
                                      <p:tavLst>
                                        <p:tav tm="0">
                                          <p:val>
                                            <p:fltVal val="0"/>
                                          </p:val>
                                        </p:tav>
                                        <p:tav tm="100000">
                                          <p:val>
                                            <p:strVal val="#ppt_h"/>
                                          </p:val>
                                        </p:tav>
                                      </p:tavLst>
                                    </p:anim>
                                    <p:anim calcmode="lin" valueType="num">
                                      <p:cBhvr>
                                        <p:cTn id="13" dur="250" fill="hold"/>
                                        <p:tgtEl>
                                          <p:spTgt spid="2"/>
                                        </p:tgtEl>
                                        <p:attrNameLst>
                                          <p:attrName>style.rotation</p:attrName>
                                        </p:attrNameLst>
                                      </p:cBhvr>
                                      <p:tavLst>
                                        <p:tav tm="0">
                                          <p:val>
                                            <p:fltVal val="90"/>
                                          </p:val>
                                        </p:tav>
                                        <p:tav tm="100000">
                                          <p:val>
                                            <p:fltVal val="0"/>
                                          </p:val>
                                        </p:tav>
                                      </p:tavLst>
                                    </p:anim>
                                    <p:animEffect transition="in" filter="fade">
                                      <p:cBhvr>
                                        <p:cTn id="14" dur="250"/>
                                        <p:tgtEl>
                                          <p:spTgt spid="2"/>
                                        </p:tgtEl>
                                      </p:cBhvr>
                                    </p:animEffect>
                                  </p:childTnLst>
                                </p:cTn>
                              </p:par>
                            </p:childTnLst>
                          </p:cTn>
                        </p:par>
                        <p:par>
                          <p:cTn id="15" fill="hold">
                            <p:stCondLst>
                              <p:cond delay="1000"/>
                            </p:stCondLst>
                            <p:childTnLst>
                              <p:par>
                                <p:cTn id="16" presetID="9" presetClass="entr" presetSubtype="0" fill="hold" grpId="0" nodeType="afterEffect">
                                  <p:stCondLst>
                                    <p:cond delay="0"/>
                                  </p:stCondLst>
                                  <p:childTnLst>
                                    <p:set>
                                      <p:cBhvr>
                                        <p:cTn id="17" dur="1" fill="hold">
                                          <p:stCondLst>
                                            <p:cond delay="0"/>
                                          </p:stCondLst>
                                        </p:cTn>
                                        <p:tgtEl>
                                          <p:spTgt spid="14341"/>
                                        </p:tgtEl>
                                        <p:attrNameLst>
                                          <p:attrName>style.visibility</p:attrName>
                                        </p:attrNameLst>
                                      </p:cBhvr>
                                      <p:to>
                                        <p:strVal val="visible"/>
                                      </p:to>
                                    </p:set>
                                    <p:animEffect transition="in" filter="dissolve">
                                      <p:cBhvr>
                                        <p:cTn id="18" dur="250"/>
                                        <p:tgtEl>
                                          <p:spTgt spid="14341"/>
                                        </p:tgtEl>
                                      </p:cBhvr>
                                    </p:animEffect>
                                  </p:childTnLst>
                                </p:cTn>
                              </p:par>
                            </p:childTnLst>
                          </p:cTn>
                        </p:par>
                        <p:par>
                          <p:cTn id="19" fill="hold">
                            <p:stCondLst>
                              <p:cond delay="1500"/>
                            </p:stCondLst>
                            <p:childTnLst>
                              <p:par>
                                <p:cTn id="20" presetID="2" presetClass="entr" presetSubtype="2" fill="hold" grpId="0" nodeType="afterEffect">
                                  <p:stCondLst>
                                    <p:cond delay="0"/>
                                  </p:stCondLst>
                                  <p:childTnLst>
                                    <p:set>
                                      <p:cBhvr>
                                        <p:cTn id="21" dur="1" fill="hold">
                                          <p:stCondLst>
                                            <p:cond delay="0"/>
                                          </p:stCondLst>
                                        </p:cTn>
                                        <p:tgtEl>
                                          <p:spTgt spid="14361"/>
                                        </p:tgtEl>
                                        <p:attrNameLst>
                                          <p:attrName>style.visibility</p:attrName>
                                        </p:attrNameLst>
                                      </p:cBhvr>
                                      <p:to>
                                        <p:strVal val="visible"/>
                                      </p:to>
                                    </p:set>
                                    <p:anim calcmode="lin" valueType="num">
                                      <p:cBhvr additive="base">
                                        <p:cTn id="22" dur="250" fill="hold"/>
                                        <p:tgtEl>
                                          <p:spTgt spid="14361"/>
                                        </p:tgtEl>
                                        <p:attrNameLst>
                                          <p:attrName>ppt_x</p:attrName>
                                        </p:attrNameLst>
                                      </p:cBhvr>
                                      <p:tavLst>
                                        <p:tav tm="0">
                                          <p:val>
                                            <p:strVal val="1+#ppt_w/2"/>
                                          </p:val>
                                        </p:tav>
                                        <p:tav tm="100000">
                                          <p:val>
                                            <p:strVal val="#ppt_x"/>
                                          </p:val>
                                        </p:tav>
                                      </p:tavLst>
                                    </p:anim>
                                    <p:anim calcmode="lin" valueType="num">
                                      <p:cBhvr additive="base">
                                        <p:cTn id="23" dur="250" fill="hold"/>
                                        <p:tgtEl>
                                          <p:spTgt spid="14361"/>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31"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p:cTn id="27" dur="250" fill="hold"/>
                                        <p:tgtEl>
                                          <p:spTgt spid="5"/>
                                        </p:tgtEl>
                                        <p:attrNameLst>
                                          <p:attrName>ppt_w</p:attrName>
                                        </p:attrNameLst>
                                      </p:cBhvr>
                                      <p:tavLst>
                                        <p:tav tm="0">
                                          <p:val>
                                            <p:fltVal val="0"/>
                                          </p:val>
                                        </p:tav>
                                        <p:tav tm="100000">
                                          <p:val>
                                            <p:strVal val="#ppt_w"/>
                                          </p:val>
                                        </p:tav>
                                      </p:tavLst>
                                    </p:anim>
                                    <p:anim calcmode="lin" valueType="num">
                                      <p:cBhvr>
                                        <p:cTn id="28" dur="250" fill="hold"/>
                                        <p:tgtEl>
                                          <p:spTgt spid="5"/>
                                        </p:tgtEl>
                                        <p:attrNameLst>
                                          <p:attrName>ppt_h</p:attrName>
                                        </p:attrNameLst>
                                      </p:cBhvr>
                                      <p:tavLst>
                                        <p:tav tm="0">
                                          <p:val>
                                            <p:fltVal val="0"/>
                                          </p:val>
                                        </p:tav>
                                        <p:tav tm="100000">
                                          <p:val>
                                            <p:strVal val="#ppt_h"/>
                                          </p:val>
                                        </p:tav>
                                      </p:tavLst>
                                    </p:anim>
                                    <p:anim calcmode="lin" valueType="num">
                                      <p:cBhvr>
                                        <p:cTn id="29" dur="250" fill="hold"/>
                                        <p:tgtEl>
                                          <p:spTgt spid="5"/>
                                        </p:tgtEl>
                                        <p:attrNameLst>
                                          <p:attrName>style.rotation</p:attrName>
                                        </p:attrNameLst>
                                      </p:cBhvr>
                                      <p:tavLst>
                                        <p:tav tm="0">
                                          <p:val>
                                            <p:fltVal val="90"/>
                                          </p:val>
                                        </p:tav>
                                        <p:tav tm="100000">
                                          <p:val>
                                            <p:fltVal val="0"/>
                                          </p:val>
                                        </p:tav>
                                      </p:tavLst>
                                    </p:anim>
                                    <p:animEffect transition="in" filter="fade">
                                      <p:cBhvr>
                                        <p:cTn id="30" dur="250"/>
                                        <p:tgtEl>
                                          <p:spTgt spid="5"/>
                                        </p:tgtEl>
                                      </p:cBhvr>
                                    </p:animEffect>
                                  </p:childTnLst>
                                </p:cTn>
                              </p:par>
                            </p:childTnLst>
                          </p:cTn>
                        </p:par>
                        <p:par>
                          <p:cTn id="31" fill="hold">
                            <p:stCondLst>
                              <p:cond delay="2500"/>
                            </p:stCondLst>
                            <p:childTnLst>
                              <p:par>
                                <p:cTn id="32" presetID="9" presetClass="entr" presetSubtype="0" fill="hold" grpId="0" nodeType="afterEffect">
                                  <p:stCondLst>
                                    <p:cond delay="0"/>
                                  </p:stCondLst>
                                  <p:childTnLst>
                                    <p:set>
                                      <p:cBhvr>
                                        <p:cTn id="33" dur="1" fill="hold">
                                          <p:stCondLst>
                                            <p:cond delay="0"/>
                                          </p:stCondLst>
                                        </p:cTn>
                                        <p:tgtEl>
                                          <p:spTgt spid="14362"/>
                                        </p:tgtEl>
                                        <p:attrNameLst>
                                          <p:attrName>style.visibility</p:attrName>
                                        </p:attrNameLst>
                                      </p:cBhvr>
                                      <p:to>
                                        <p:strVal val="visible"/>
                                      </p:to>
                                    </p:set>
                                    <p:animEffect transition="in" filter="dissolve">
                                      <p:cBhvr>
                                        <p:cTn id="34" dur="250"/>
                                        <p:tgtEl>
                                          <p:spTgt spid="14362"/>
                                        </p:tgtEl>
                                      </p:cBhvr>
                                    </p:animEffect>
                                  </p:childTnLst>
                                </p:cTn>
                              </p:par>
                            </p:childTnLst>
                          </p:cTn>
                        </p:par>
                        <p:par>
                          <p:cTn id="35" fill="hold">
                            <p:stCondLst>
                              <p:cond delay="3000"/>
                            </p:stCondLst>
                            <p:childTnLst>
                              <p:par>
                                <p:cTn id="36" presetID="2" presetClass="entr" presetSubtype="2" fill="hold" grpId="0" nodeType="afterEffect">
                                  <p:stCondLst>
                                    <p:cond delay="0"/>
                                  </p:stCondLst>
                                  <p:childTnLst>
                                    <p:set>
                                      <p:cBhvr>
                                        <p:cTn id="37" dur="1" fill="hold">
                                          <p:stCondLst>
                                            <p:cond delay="0"/>
                                          </p:stCondLst>
                                        </p:cTn>
                                        <p:tgtEl>
                                          <p:spTgt spid="14363"/>
                                        </p:tgtEl>
                                        <p:attrNameLst>
                                          <p:attrName>style.visibility</p:attrName>
                                        </p:attrNameLst>
                                      </p:cBhvr>
                                      <p:to>
                                        <p:strVal val="visible"/>
                                      </p:to>
                                    </p:set>
                                    <p:anim calcmode="lin" valueType="num">
                                      <p:cBhvr additive="base">
                                        <p:cTn id="38" dur="250" fill="hold"/>
                                        <p:tgtEl>
                                          <p:spTgt spid="14363"/>
                                        </p:tgtEl>
                                        <p:attrNameLst>
                                          <p:attrName>ppt_x</p:attrName>
                                        </p:attrNameLst>
                                      </p:cBhvr>
                                      <p:tavLst>
                                        <p:tav tm="0">
                                          <p:val>
                                            <p:strVal val="1+#ppt_w/2"/>
                                          </p:val>
                                        </p:tav>
                                        <p:tav tm="100000">
                                          <p:val>
                                            <p:strVal val="#ppt_x"/>
                                          </p:val>
                                        </p:tav>
                                      </p:tavLst>
                                    </p:anim>
                                    <p:anim calcmode="lin" valueType="num">
                                      <p:cBhvr additive="base">
                                        <p:cTn id="39" dur="250" fill="hold"/>
                                        <p:tgtEl>
                                          <p:spTgt spid="14363"/>
                                        </p:tgtEl>
                                        <p:attrNameLst>
                                          <p:attrName>ppt_y</p:attrName>
                                        </p:attrNameLst>
                                      </p:cBhvr>
                                      <p:tavLst>
                                        <p:tav tm="0">
                                          <p:val>
                                            <p:strVal val="#ppt_y"/>
                                          </p:val>
                                        </p:tav>
                                        <p:tav tm="100000">
                                          <p:val>
                                            <p:strVal val="#ppt_y"/>
                                          </p:val>
                                        </p:tav>
                                      </p:tavLst>
                                    </p:anim>
                                  </p:childTnLst>
                                </p:cTn>
                              </p:par>
                            </p:childTnLst>
                          </p:cTn>
                        </p:par>
                        <p:par>
                          <p:cTn id="40" fill="hold">
                            <p:stCondLst>
                              <p:cond delay="3500"/>
                            </p:stCondLst>
                            <p:childTnLst>
                              <p:par>
                                <p:cTn id="41" presetID="31" presetClass="entr" presetSubtype="0" fill="hold" nodeType="after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p:cTn id="43" dur="250" fill="hold"/>
                                        <p:tgtEl>
                                          <p:spTgt spid="8"/>
                                        </p:tgtEl>
                                        <p:attrNameLst>
                                          <p:attrName>ppt_w</p:attrName>
                                        </p:attrNameLst>
                                      </p:cBhvr>
                                      <p:tavLst>
                                        <p:tav tm="0">
                                          <p:val>
                                            <p:fltVal val="0"/>
                                          </p:val>
                                        </p:tav>
                                        <p:tav tm="100000">
                                          <p:val>
                                            <p:strVal val="#ppt_w"/>
                                          </p:val>
                                        </p:tav>
                                      </p:tavLst>
                                    </p:anim>
                                    <p:anim calcmode="lin" valueType="num">
                                      <p:cBhvr>
                                        <p:cTn id="44" dur="250" fill="hold"/>
                                        <p:tgtEl>
                                          <p:spTgt spid="8"/>
                                        </p:tgtEl>
                                        <p:attrNameLst>
                                          <p:attrName>ppt_h</p:attrName>
                                        </p:attrNameLst>
                                      </p:cBhvr>
                                      <p:tavLst>
                                        <p:tav tm="0">
                                          <p:val>
                                            <p:fltVal val="0"/>
                                          </p:val>
                                        </p:tav>
                                        <p:tav tm="100000">
                                          <p:val>
                                            <p:strVal val="#ppt_h"/>
                                          </p:val>
                                        </p:tav>
                                      </p:tavLst>
                                    </p:anim>
                                    <p:anim calcmode="lin" valueType="num">
                                      <p:cBhvr>
                                        <p:cTn id="45" dur="250" fill="hold"/>
                                        <p:tgtEl>
                                          <p:spTgt spid="8"/>
                                        </p:tgtEl>
                                        <p:attrNameLst>
                                          <p:attrName>style.rotation</p:attrName>
                                        </p:attrNameLst>
                                      </p:cBhvr>
                                      <p:tavLst>
                                        <p:tav tm="0">
                                          <p:val>
                                            <p:fltVal val="90"/>
                                          </p:val>
                                        </p:tav>
                                        <p:tav tm="100000">
                                          <p:val>
                                            <p:fltVal val="0"/>
                                          </p:val>
                                        </p:tav>
                                      </p:tavLst>
                                    </p:anim>
                                    <p:animEffect transition="in" filter="fade">
                                      <p:cBhvr>
                                        <p:cTn id="46" dur="250"/>
                                        <p:tgtEl>
                                          <p:spTgt spid="8"/>
                                        </p:tgtEl>
                                      </p:cBhvr>
                                    </p:animEffect>
                                  </p:childTnLst>
                                </p:cTn>
                              </p:par>
                            </p:childTnLst>
                          </p:cTn>
                        </p:par>
                        <p:par>
                          <p:cTn id="47" fill="hold">
                            <p:stCondLst>
                              <p:cond delay="4000"/>
                            </p:stCondLst>
                            <p:childTnLst>
                              <p:par>
                                <p:cTn id="48" presetID="9" presetClass="entr" presetSubtype="0" fill="hold" grpId="0" nodeType="afterEffect">
                                  <p:stCondLst>
                                    <p:cond delay="0"/>
                                  </p:stCondLst>
                                  <p:childTnLst>
                                    <p:set>
                                      <p:cBhvr>
                                        <p:cTn id="49" dur="1" fill="hold">
                                          <p:stCondLst>
                                            <p:cond delay="0"/>
                                          </p:stCondLst>
                                        </p:cTn>
                                        <p:tgtEl>
                                          <p:spTgt spid="14364"/>
                                        </p:tgtEl>
                                        <p:attrNameLst>
                                          <p:attrName>style.visibility</p:attrName>
                                        </p:attrNameLst>
                                      </p:cBhvr>
                                      <p:to>
                                        <p:strVal val="visible"/>
                                      </p:to>
                                    </p:set>
                                    <p:animEffect transition="in" filter="dissolve">
                                      <p:cBhvr>
                                        <p:cTn id="50" dur="250"/>
                                        <p:tgtEl>
                                          <p:spTgt spid="14364"/>
                                        </p:tgtEl>
                                      </p:cBhvr>
                                    </p:animEffect>
                                  </p:childTnLst>
                                </p:cTn>
                              </p:par>
                            </p:childTnLst>
                          </p:cTn>
                        </p:par>
                        <p:par>
                          <p:cTn id="51" fill="hold">
                            <p:stCondLst>
                              <p:cond delay="4500"/>
                            </p:stCondLst>
                            <p:childTnLst>
                              <p:par>
                                <p:cTn id="52" presetID="2" presetClass="entr" presetSubtype="2" fill="hold" grpId="0" nodeType="afterEffect">
                                  <p:stCondLst>
                                    <p:cond delay="0"/>
                                  </p:stCondLst>
                                  <p:childTnLst>
                                    <p:set>
                                      <p:cBhvr>
                                        <p:cTn id="53" dur="1" fill="hold">
                                          <p:stCondLst>
                                            <p:cond delay="0"/>
                                          </p:stCondLst>
                                        </p:cTn>
                                        <p:tgtEl>
                                          <p:spTgt spid="14365"/>
                                        </p:tgtEl>
                                        <p:attrNameLst>
                                          <p:attrName>style.visibility</p:attrName>
                                        </p:attrNameLst>
                                      </p:cBhvr>
                                      <p:to>
                                        <p:strVal val="visible"/>
                                      </p:to>
                                    </p:set>
                                    <p:anim calcmode="lin" valueType="num">
                                      <p:cBhvr additive="base">
                                        <p:cTn id="54" dur="250" fill="hold"/>
                                        <p:tgtEl>
                                          <p:spTgt spid="14365"/>
                                        </p:tgtEl>
                                        <p:attrNameLst>
                                          <p:attrName>ppt_x</p:attrName>
                                        </p:attrNameLst>
                                      </p:cBhvr>
                                      <p:tavLst>
                                        <p:tav tm="0">
                                          <p:val>
                                            <p:strVal val="1+#ppt_w/2"/>
                                          </p:val>
                                        </p:tav>
                                        <p:tav tm="100000">
                                          <p:val>
                                            <p:strVal val="#ppt_x"/>
                                          </p:val>
                                        </p:tav>
                                      </p:tavLst>
                                    </p:anim>
                                    <p:anim calcmode="lin" valueType="num">
                                      <p:cBhvr additive="base">
                                        <p:cTn id="55" dur="250" fill="hold"/>
                                        <p:tgtEl>
                                          <p:spTgt spid="14365"/>
                                        </p:tgtEl>
                                        <p:attrNameLst>
                                          <p:attrName>ppt_y</p:attrName>
                                        </p:attrNameLst>
                                      </p:cBhvr>
                                      <p:tavLst>
                                        <p:tav tm="0">
                                          <p:val>
                                            <p:strVal val="#ppt_y"/>
                                          </p:val>
                                        </p:tav>
                                        <p:tav tm="100000">
                                          <p:val>
                                            <p:strVal val="#ppt_y"/>
                                          </p:val>
                                        </p:tav>
                                      </p:tavLst>
                                    </p:anim>
                                  </p:childTnLst>
                                </p:cTn>
                              </p:par>
                            </p:childTnLst>
                          </p:cTn>
                        </p:par>
                        <p:par>
                          <p:cTn id="56" fill="hold">
                            <p:stCondLst>
                              <p:cond delay="5000"/>
                            </p:stCondLst>
                            <p:childTnLst>
                              <p:par>
                                <p:cTn id="57" presetID="31" presetClass="entr" presetSubtype="0" fill="hold" nodeType="afterEffect">
                                  <p:stCondLst>
                                    <p:cond delay="0"/>
                                  </p:stCondLst>
                                  <p:childTnLst>
                                    <p:set>
                                      <p:cBhvr>
                                        <p:cTn id="58" dur="1" fill="hold">
                                          <p:stCondLst>
                                            <p:cond delay="0"/>
                                          </p:stCondLst>
                                        </p:cTn>
                                        <p:tgtEl>
                                          <p:spTgt spid="3"/>
                                        </p:tgtEl>
                                        <p:attrNameLst>
                                          <p:attrName>style.visibility</p:attrName>
                                        </p:attrNameLst>
                                      </p:cBhvr>
                                      <p:to>
                                        <p:strVal val="visible"/>
                                      </p:to>
                                    </p:set>
                                    <p:anim calcmode="lin" valueType="num">
                                      <p:cBhvr>
                                        <p:cTn id="59" dur="250" fill="hold"/>
                                        <p:tgtEl>
                                          <p:spTgt spid="3"/>
                                        </p:tgtEl>
                                        <p:attrNameLst>
                                          <p:attrName>ppt_w</p:attrName>
                                        </p:attrNameLst>
                                      </p:cBhvr>
                                      <p:tavLst>
                                        <p:tav tm="0">
                                          <p:val>
                                            <p:fltVal val="0"/>
                                          </p:val>
                                        </p:tav>
                                        <p:tav tm="100000">
                                          <p:val>
                                            <p:strVal val="#ppt_w"/>
                                          </p:val>
                                        </p:tav>
                                      </p:tavLst>
                                    </p:anim>
                                    <p:anim calcmode="lin" valueType="num">
                                      <p:cBhvr>
                                        <p:cTn id="60" dur="250" fill="hold"/>
                                        <p:tgtEl>
                                          <p:spTgt spid="3"/>
                                        </p:tgtEl>
                                        <p:attrNameLst>
                                          <p:attrName>ppt_h</p:attrName>
                                        </p:attrNameLst>
                                      </p:cBhvr>
                                      <p:tavLst>
                                        <p:tav tm="0">
                                          <p:val>
                                            <p:fltVal val="0"/>
                                          </p:val>
                                        </p:tav>
                                        <p:tav tm="100000">
                                          <p:val>
                                            <p:strVal val="#ppt_h"/>
                                          </p:val>
                                        </p:tav>
                                      </p:tavLst>
                                    </p:anim>
                                    <p:anim calcmode="lin" valueType="num">
                                      <p:cBhvr>
                                        <p:cTn id="61" dur="250" fill="hold"/>
                                        <p:tgtEl>
                                          <p:spTgt spid="3"/>
                                        </p:tgtEl>
                                        <p:attrNameLst>
                                          <p:attrName>style.rotation</p:attrName>
                                        </p:attrNameLst>
                                      </p:cBhvr>
                                      <p:tavLst>
                                        <p:tav tm="0">
                                          <p:val>
                                            <p:fltVal val="90"/>
                                          </p:val>
                                        </p:tav>
                                        <p:tav tm="100000">
                                          <p:val>
                                            <p:fltVal val="0"/>
                                          </p:val>
                                        </p:tav>
                                      </p:tavLst>
                                    </p:anim>
                                    <p:animEffect transition="in" filter="fade">
                                      <p:cBhvr>
                                        <p:cTn id="62" dur="250"/>
                                        <p:tgtEl>
                                          <p:spTgt spid="3"/>
                                        </p:tgtEl>
                                      </p:cBhvr>
                                    </p:animEffect>
                                  </p:childTnLst>
                                </p:cTn>
                              </p:par>
                            </p:childTnLst>
                          </p:cTn>
                        </p:par>
                        <p:par>
                          <p:cTn id="63" fill="hold">
                            <p:stCondLst>
                              <p:cond delay="5500"/>
                            </p:stCondLst>
                            <p:childTnLst>
                              <p:par>
                                <p:cTn id="64" presetID="9" presetClass="entr" presetSubtype="0" fill="hold" grpId="0" nodeType="afterEffect">
                                  <p:stCondLst>
                                    <p:cond delay="0"/>
                                  </p:stCondLst>
                                  <p:childTnLst>
                                    <p:set>
                                      <p:cBhvr>
                                        <p:cTn id="65" dur="1" fill="hold">
                                          <p:stCondLst>
                                            <p:cond delay="0"/>
                                          </p:stCondLst>
                                        </p:cTn>
                                        <p:tgtEl>
                                          <p:spTgt spid="14366"/>
                                        </p:tgtEl>
                                        <p:attrNameLst>
                                          <p:attrName>style.visibility</p:attrName>
                                        </p:attrNameLst>
                                      </p:cBhvr>
                                      <p:to>
                                        <p:strVal val="visible"/>
                                      </p:to>
                                    </p:set>
                                    <p:animEffect transition="in" filter="dissolve">
                                      <p:cBhvr>
                                        <p:cTn id="66" dur="250"/>
                                        <p:tgtEl>
                                          <p:spTgt spid="14366"/>
                                        </p:tgtEl>
                                      </p:cBhvr>
                                    </p:animEffect>
                                  </p:childTnLst>
                                </p:cTn>
                              </p:par>
                            </p:childTnLst>
                          </p:cTn>
                        </p:par>
                        <p:par>
                          <p:cTn id="67" fill="hold">
                            <p:stCondLst>
                              <p:cond delay="6000"/>
                            </p:stCondLst>
                            <p:childTnLst>
                              <p:par>
                                <p:cTn id="68" presetID="2" presetClass="entr" presetSubtype="2" fill="hold" grpId="0" nodeType="afterEffect">
                                  <p:stCondLst>
                                    <p:cond delay="0"/>
                                  </p:stCondLst>
                                  <p:childTnLst>
                                    <p:set>
                                      <p:cBhvr>
                                        <p:cTn id="69" dur="1" fill="hold">
                                          <p:stCondLst>
                                            <p:cond delay="0"/>
                                          </p:stCondLst>
                                        </p:cTn>
                                        <p:tgtEl>
                                          <p:spTgt spid="14367"/>
                                        </p:tgtEl>
                                        <p:attrNameLst>
                                          <p:attrName>style.visibility</p:attrName>
                                        </p:attrNameLst>
                                      </p:cBhvr>
                                      <p:to>
                                        <p:strVal val="visible"/>
                                      </p:to>
                                    </p:set>
                                    <p:anim calcmode="lin" valueType="num">
                                      <p:cBhvr additive="base">
                                        <p:cTn id="70" dur="250" fill="hold"/>
                                        <p:tgtEl>
                                          <p:spTgt spid="14367"/>
                                        </p:tgtEl>
                                        <p:attrNameLst>
                                          <p:attrName>ppt_x</p:attrName>
                                        </p:attrNameLst>
                                      </p:cBhvr>
                                      <p:tavLst>
                                        <p:tav tm="0">
                                          <p:val>
                                            <p:strVal val="1+#ppt_w/2"/>
                                          </p:val>
                                        </p:tav>
                                        <p:tav tm="100000">
                                          <p:val>
                                            <p:strVal val="#ppt_x"/>
                                          </p:val>
                                        </p:tav>
                                      </p:tavLst>
                                    </p:anim>
                                    <p:anim calcmode="lin" valueType="num">
                                      <p:cBhvr additive="base">
                                        <p:cTn id="71" dur="250" fill="hold"/>
                                        <p:tgtEl>
                                          <p:spTgt spid="14367"/>
                                        </p:tgtEl>
                                        <p:attrNameLst>
                                          <p:attrName>ppt_y</p:attrName>
                                        </p:attrNameLst>
                                      </p:cBhvr>
                                      <p:tavLst>
                                        <p:tav tm="0">
                                          <p:val>
                                            <p:strVal val="#ppt_y"/>
                                          </p:val>
                                        </p:tav>
                                        <p:tav tm="100000">
                                          <p:val>
                                            <p:strVal val="#ppt_y"/>
                                          </p:val>
                                        </p:tav>
                                      </p:tavLst>
                                    </p:anim>
                                  </p:childTnLst>
                                </p:cTn>
                              </p:par>
                            </p:childTnLst>
                          </p:cTn>
                        </p:par>
                        <p:par>
                          <p:cTn id="72" fill="hold">
                            <p:stCondLst>
                              <p:cond delay="6500"/>
                            </p:stCondLst>
                            <p:childTnLst>
                              <p:par>
                                <p:cTn id="73" presetID="31" presetClass="entr" presetSubtype="0" fill="hold" nodeType="afterEffect">
                                  <p:stCondLst>
                                    <p:cond delay="0"/>
                                  </p:stCondLst>
                                  <p:childTnLst>
                                    <p:set>
                                      <p:cBhvr>
                                        <p:cTn id="74" dur="1" fill="hold">
                                          <p:stCondLst>
                                            <p:cond delay="0"/>
                                          </p:stCondLst>
                                        </p:cTn>
                                        <p:tgtEl>
                                          <p:spTgt spid="6"/>
                                        </p:tgtEl>
                                        <p:attrNameLst>
                                          <p:attrName>style.visibility</p:attrName>
                                        </p:attrNameLst>
                                      </p:cBhvr>
                                      <p:to>
                                        <p:strVal val="visible"/>
                                      </p:to>
                                    </p:set>
                                    <p:anim calcmode="lin" valueType="num">
                                      <p:cBhvr>
                                        <p:cTn id="75" dur="250" fill="hold"/>
                                        <p:tgtEl>
                                          <p:spTgt spid="6"/>
                                        </p:tgtEl>
                                        <p:attrNameLst>
                                          <p:attrName>ppt_w</p:attrName>
                                        </p:attrNameLst>
                                      </p:cBhvr>
                                      <p:tavLst>
                                        <p:tav tm="0">
                                          <p:val>
                                            <p:fltVal val="0"/>
                                          </p:val>
                                        </p:tav>
                                        <p:tav tm="100000">
                                          <p:val>
                                            <p:strVal val="#ppt_w"/>
                                          </p:val>
                                        </p:tav>
                                      </p:tavLst>
                                    </p:anim>
                                    <p:anim calcmode="lin" valueType="num">
                                      <p:cBhvr>
                                        <p:cTn id="76" dur="250" fill="hold"/>
                                        <p:tgtEl>
                                          <p:spTgt spid="6"/>
                                        </p:tgtEl>
                                        <p:attrNameLst>
                                          <p:attrName>ppt_h</p:attrName>
                                        </p:attrNameLst>
                                      </p:cBhvr>
                                      <p:tavLst>
                                        <p:tav tm="0">
                                          <p:val>
                                            <p:fltVal val="0"/>
                                          </p:val>
                                        </p:tav>
                                        <p:tav tm="100000">
                                          <p:val>
                                            <p:strVal val="#ppt_h"/>
                                          </p:val>
                                        </p:tav>
                                      </p:tavLst>
                                    </p:anim>
                                    <p:anim calcmode="lin" valueType="num">
                                      <p:cBhvr>
                                        <p:cTn id="77" dur="250" fill="hold"/>
                                        <p:tgtEl>
                                          <p:spTgt spid="6"/>
                                        </p:tgtEl>
                                        <p:attrNameLst>
                                          <p:attrName>style.rotation</p:attrName>
                                        </p:attrNameLst>
                                      </p:cBhvr>
                                      <p:tavLst>
                                        <p:tav tm="0">
                                          <p:val>
                                            <p:fltVal val="90"/>
                                          </p:val>
                                        </p:tav>
                                        <p:tav tm="100000">
                                          <p:val>
                                            <p:fltVal val="0"/>
                                          </p:val>
                                        </p:tav>
                                      </p:tavLst>
                                    </p:anim>
                                    <p:animEffect transition="in" filter="fade">
                                      <p:cBhvr>
                                        <p:cTn id="78" dur="250"/>
                                        <p:tgtEl>
                                          <p:spTgt spid="6"/>
                                        </p:tgtEl>
                                      </p:cBhvr>
                                    </p:animEffect>
                                  </p:childTnLst>
                                </p:cTn>
                              </p:par>
                            </p:childTnLst>
                          </p:cTn>
                        </p:par>
                        <p:par>
                          <p:cTn id="79" fill="hold">
                            <p:stCondLst>
                              <p:cond delay="7000"/>
                            </p:stCondLst>
                            <p:childTnLst>
                              <p:par>
                                <p:cTn id="80" presetID="9" presetClass="entr" presetSubtype="0" fill="hold" grpId="0" nodeType="afterEffect">
                                  <p:stCondLst>
                                    <p:cond delay="0"/>
                                  </p:stCondLst>
                                  <p:childTnLst>
                                    <p:set>
                                      <p:cBhvr>
                                        <p:cTn id="81" dur="1" fill="hold">
                                          <p:stCondLst>
                                            <p:cond delay="0"/>
                                          </p:stCondLst>
                                        </p:cTn>
                                        <p:tgtEl>
                                          <p:spTgt spid="14368"/>
                                        </p:tgtEl>
                                        <p:attrNameLst>
                                          <p:attrName>style.visibility</p:attrName>
                                        </p:attrNameLst>
                                      </p:cBhvr>
                                      <p:to>
                                        <p:strVal val="visible"/>
                                      </p:to>
                                    </p:set>
                                    <p:animEffect transition="in" filter="dissolve">
                                      <p:cBhvr>
                                        <p:cTn id="82" dur="250"/>
                                        <p:tgtEl>
                                          <p:spTgt spid="14368"/>
                                        </p:tgtEl>
                                      </p:cBhvr>
                                    </p:animEffect>
                                  </p:childTnLst>
                                </p:cTn>
                              </p:par>
                            </p:childTnLst>
                          </p:cTn>
                        </p:par>
                        <p:par>
                          <p:cTn id="83" fill="hold">
                            <p:stCondLst>
                              <p:cond delay="7500"/>
                            </p:stCondLst>
                            <p:childTnLst>
                              <p:par>
                                <p:cTn id="84" presetID="2" presetClass="entr" presetSubtype="2" fill="hold" grpId="0" nodeType="afterEffect">
                                  <p:stCondLst>
                                    <p:cond delay="0"/>
                                  </p:stCondLst>
                                  <p:childTnLst>
                                    <p:set>
                                      <p:cBhvr>
                                        <p:cTn id="85" dur="1" fill="hold">
                                          <p:stCondLst>
                                            <p:cond delay="0"/>
                                          </p:stCondLst>
                                        </p:cTn>
                                        <p:tgtEl>
                                          <p:spTgt spid="14369"/>
                                        </p:tgtEl>
                                        <p:attrNameLst>
                                          <p:attrName>style.visibility</p:attrName>
                                        </p:attrNameLst>
                                      </p:cBhvr>
                                      <p:to>
                                        <p:strVal val="visible"/>
                                      </p:to>
                                    </p:set>
                                    <p:anim calcmode="lin" valueType="num">
                                      <p:cBhvr additive="base">
                                        <p:cTn id="86" dur="250" fill="hold"/>
                                        <p:tgtEl>
                                          <p:spTgt spid="14369"/>
                                        </p:tgtEl>
                                        <p:attrNameLst>
                                          <p:attrName>ppt_x</p:attrName>
                                        </p:attrNameLst>
                                      </p:cBhvr>
                                      <p:tavLst>
                                        <p:tav tm="0">
                                          <p:val>
                                            <p:strVal val="1+#ppt_w/2"/>
                                          </p:val>
                                        </p:tav>
                                        <p:tav tm="100000">
                                          <p:val>
                                            <p:strVal val="#ppt_x"/>
                                          </p:val>
                                        </p:tav>
                                      </p:tavLst>
                                    </p:anim>
                                    <p:anim calcmode="lin" valueType="num">
                                      <p:cBhvr additive="base">
                                        <p:cTn id="87" dur="250" fill="hold"/>
                                        <p:tgtEl>
                                          <p:spTgt spid="14369"/>
                                        </p:tgtEl>
                                        <p:attrNameLst>
                                          <p:attrName>ppt_y</p:attrName>
                                        </p:attrNameLst>
                                      </p:cBhvr>
                                      <p:tavLst>
                                        <p:tav tm="0">
                                          <p:val>
                                            <p:strVal val="#ppt_y"/>
                                          </p:val>
                                        </p:tav>
                                        <p:tav tm="100000">
                                          <p:val>
                                            <p:strVal val="#ppt_y"/>
                                          </p:val>
                                        </p:tav>
                                      </p:tavLst>
                                    </p:anim>
                                  </p:childTnLst>
                                </p:cTn>
                              </p:par>
                            </p:childTnLst>
                          </p:cTn>
                        </p:par>
                        <p:par>
                          <p:cTn id="88" fill="hold">
                            <p:stCondLst>
                              <p:cond delay="8000"/>
                            </p:stCondLst>
                            <p:childTnLst>
                              <p:par>
                                <p:cTn id="89" presetID="31" presetClass="entr" presetSubtype="0" fill="hold" nodeType="afterEffect">
                                  <p:stCondLst>
                                    <p:cond delay="0"/>
                                  </p:stCondLst>
                                  <p:childTnLst>
                                    <p:set>
                                      <p:cBhvr>
                                        <p:cTn id="90" dur="1" fill="hold">
                                          <p:stCondLst>
                                            <p:cond delay="0"/>
                                          </p:stCondLst>
                                        </p:cTn>
                                        <p:tgtEl>
                                          <p:spTgt spid="9"/>
                                        </p:tgtEl>
                                        <p:attrNameLst>
                                          <p:attrName>style.visibility</p:attrName>
                                        </p:attrNameLst>
                                      </p:cBhvr>
                                      <p:to>
                                        <p:strVal val="visible"/>
                                      </p:to>
                                    </p:set>
                                    <p:anim calcmode="lin" valueType="num">
                                      <p:cBhvr>
                                        <p:cTn id="91" dur="250" fill="hold"/>
                                        <p:tgtEl>
                                          <p:spTgt spid="9"/>
                                        </p:tgtEl>
                                        <p:attrNameLst>
                                          <p:attrName>ppt_w</p:attrName>
                                        </p:attrNameLst>
                                      </p:cBhvr>
                                      <p:tavLst>
                                        <p:tav tm="0">
                                          <p:val>
                                            <p:fltVal val="0"/>
                                          </p:val>
                                        </p:tav>
                                        <p:tav tm="100000">
                                          <p:val>
                                            <p:strVal val="#ppt_w"/>
                                          </p:val>
                                        </p:tav>
                                      </p:tavLst>
                                    </p:anim>
                                    <p:anim calcmode="lin" valueType="num">
                                      <p:cBhvr>
                                        <p:cTn id="92" dur="250" fill="hold"/>
                                        <p:tgtEl>
                                          <p:spTgt spid="9"/>
                                        </p:tgtEl>
                                        <p:attrNameLst>
                                          <p:attrName>ppt_h</p:attrName>
                                        </p:attrNameLst>
                                      </p:cBhvr>
                                      <p:tavLst>
                                        <p:tav tm="0">
                                          <p:val>
                                            <p:fltVal val="0"/>
                                          </p:val>
                                        </p:tav>
                                        <p:tav tm="100000">
                                          <p:val>
                                            <p:strVal val="#ppt_h"/>
                                          </p:val>
                                        </p:tav>
                                      </p:tavLst>
                                    </p:anim>
                                    <p:anim calcmode="lin" valueType="num">
                                      <p:cBhvr>
                                        <p:cTn id="93" dur="250" fill="hold"/>
                                        <p:tgtEl>
                                          <p:spTgt spid="9"/>
                                        </p:tgtEl>
                                        <p:attrNameLst>
                                          <p:attrName>style.rotation</p:attrName>
                                        </p:attrNameLst>
                                      </p:cBhvr>
                                      <p:tavLst>
                                        <p:tav tm="0">
                                          <p:val>
                                            <p:fltVal val="90"/>
                                          </p:val>
                                        </p:tav>
                                        <p:tav tm="100000">
                                          <p:val>
                                            <p:fltVal val="0"/>
                                          </p:val>
                                        </p:tav>
                                      </p:tavLst>
                                    </p:anim>
                                    <p:animEffect transition="in" filter="fade">
                                      <p:cBhvr>
                                        <p:cTn id="94" dur="250"/>
                                        <p:tgtEl>
                                          <p:spTgt spid="9"/>
                                        </p:tgtEl>
                                      </p:cBhvr>
                                    </p:animEffect>
                                  </p:childTnLst>
                                </p:cTn>
                              </p:par>
                            </p:childTnLst>
                          </p:cTn>
                        </p:par>
                        <p:par>
                          <p:cTn id="95" fill="hold">
                            <p:stCondLst>
                              <p:cond delay="8500"/>
                            </p:stCondLst>
                            <p:childTnLst>
                              <p:par>
                                <p:cTn id="96" presetID="9" presetClass="entr" presetSubtype="0" fill="hold" grpId="0" nodeType="afterEffect">
                                  <p:stCondLst>
                                    <p:cond delay="0"/>
                                  </p:stCondLst>
                                  <p:childTnLst>
                                    <p:set>
                                      <p:cBhvr>
                                        <p:cTn id="97" dur="1" fill="hold">
                                          <p:stCondLst>
                                            <p:cond delay="0"/>
                                          </p:stCondLst>
                                        </p:cTn>
                                        <p:tgtEl>
                                          <p:spTgt spid="14370"/>
                                        </p:tgtEl>
                                        <p:attrNameLst>
                                          <p:attrName>style.visibility</p:attrName>
                                        </p:attrNameLst>
                                      </p:cBhvr>
                                      <p:to>
                                        <p:strVal val="visible"/>
                                      </p:to>
                                    </p:set>
                                    <p:animEffect transition="in" filter="dissolve">
                                      <p:cBhvr>
                                        <p:cTn id="98" dur="250"/>
                                        <p:tgtEl>
                                          <p:spTgt spid="14370"/>
                                        </p:tgtEl>
                                      </p:cBhvr>
                                    </p:animEffect>
                                  </p:childTnLst>
                                </p:cTn>
                              </p:par>
                            </p:childTnLst>
                          </p:cTn>
                        </p:par>
                        <p:par>
                          <p:cTn id="99" fill="hold">
                            <p:stCondLst>
                              <p:cond delay="9000"/>
                            </p:stCondLst>
                            <p:childTnLst>
                              <p:par>
                                <p:cTn id="100" presetID="2" presetClass="entr" presetSubtype="2" fill="hold" grpId="0" nodeType="afterEffect">
                                  <p:stCondLst>
                                    <p:cond delay="0"/>
                                  </p:stCondLst>
                                  <p:childTnLst>
                                    <p:set>
                                      <p:cBhvr>
                                        <p:cTn id="101" dur="1" fill="hold">
                                          <p:stCondLst>
                                            <p:cond delay="0"/>
                                          </p:stCondLst>
                                        </p:cTn>
                                        <p:tgtEl>
                                          <p:spTgt spid="14371"/>
                                        </p:tgtEl>
                                        <p:attrNameLst>
                                          <p:attrName>style.visibility</p:attrName>
                                        </p:attrNameLst>
                                      </p:cBhvr>
                                      <p:to>
                                        <p:strVal val="visible"/>
                                      </p:to>
                                    </p:set>
                                    <p:anim calcmode="lin" valueType="num">
                                      <p:cBhvr additive="base">
                                        <p:cTn id="102" dur="250" fill="hold"/>
                                        <p:tgtEl>
                                          <p:spTgt spid="14371"/>
                                        </p:tgtEl>
                                        <p:attrNameLst>
                                          <p:attrName>ppt_x</p:attrName>
                                        </p:attrNameLst>
                                      </p:cBhvr>
                                      <p:tavLst>
                                        <p:tav tm="0">
                                          <p:val>
                                            <p:strVal val="1+#ppt_w/2"/>
                                          </p:val>
                                        </p:tav>
                                        <p:tav tm="100000">
                                          <p:val>
                                            <p:strVal val="#ppt_x"/>
                                          </p:val>
                                        </p:tav>
                                      </p:tavLst>
                                    </p:anim>
                                    <p:anim calcmode="lin" valueType="num">
                                      <p:cBhvr additive="base">
                                        <p:cTn id="103" dur="250" fill="hold"/>
                                        <p:tgtEl>
                                          <p:spTgt spid="14371"/>
                                        </p:tgtEl>
                                        <p:attrNameLst>
                                          <p:attrName>ppt_y</p:attrName>
                                        </p:attrNameLst>
                                      </p:cBhvr>
                                      <p:tavLst>
                                        <p:tav tm="0">
                                          <p:val>
                                            <p:strVal val="#ppt_y"/>
                                          </p:val>
                                        </p:tav>
                                        <p:tav tm="100000">
                                          <p:val>
                                            <p:strVal val="#ppt_y"/>
                                          </p:val>
                                        </p:tav>
                                      </p:tavLst>
                                    </p:anim>
                                  </p:childTnLst>
                                </p:cTn>
                              </p:par>
                            </p:childTnLst>
                          </p:cTn>
                        </p:par>
                        <p:par>
                          <p:cTn id="104" fill="hold">
                            <p:stCondLst>
                              <p:cond delay="9500"/>
                            </p:stCondLst>
                            <p:childTnLst>
                              <p:par>
                                <p:cTn id="105" presetID="31" presetClass="entr" presetSubtype="0" fill="hold" nodeType="afterEffect">
                                  <p:stCondLst>
                                    <p:cond delay="0"/>
                                  </p:stCondLst>
                                  <p:childTnLst>
                                    <p:set>
                                      <p:cBhvr>
                                        <p:cTn id="106" dur="1" fill="hold">
                                          <p:stCondLst>
                                            <p:cond delay="0"/>
                                          </p:stCondLst>
                                        </p:cTn>
                                        <p:tgtEl>
                                          <p:spTgt spid="4"/>
                                        </p:tgtEl>
                                        <p:attrNameLst>
                                          <p:attrName>style.visibility</p:attrName>
                                        </p:attrNameLst>
                                      </p:cBhvr>
                                      <p:to>
                                        <p:strVal val="visible"/>
                                      </p:to>
                                    </p:set>
                                    <p:anim calcmode="lin" valueType="num">
                                      <p:cBhvr>
                                        <p:cTn id="107" dur="250" fill="hold"/>
                                        <p:tgtEl>
                                          <p:spTgt spid="4"/>
                                        </p:tgtEl>
                                        <p:attrNameLst>
                                          <p:attrName>ppt_w</p:attrName>
                                        </p:attrNameLst>
                                      </p:cBhvr>
                                      <p:tavLst>
                                        <p:tav tm="0">
                                          <p:val>
                                            <p:fltVal val="0"/>
                                          </p:val>
                                        </p:tav>
                                        <p:tav tm="100000">
                                          <p:val>
                                            <p:strVal val="#ppt_w"/>
                                          </p:val>
                                        </p:tav>
                                      </p:tavLst>
                                    </p:anim>
                                    <p:anim calcmode="lin" valueType="num">
                                      <p:cBhvr>
                                        <p:cTn id="108" dur="250" fill="hold"/>
                                        <p:tgtEl>
                                          <p:spTgt spid="4"/>
                                        </p:tgtEl>
                                        <p:attrNameLst>
                                          <p:attrName>ppt_h</p:attrName>
                                        </p:attrNameLst>
                                      </p:cBhvr>
                                      <p:tavLst>
                                        <p:tav tm="0">
                                          <p:val>
                                            <p:fltVal val="0"/>
                                          </p:val>
                                        </p:tav>
                                        <p:tav tm="100000">
                                          <p:val>
                                            <p:strVal val="#ppt_h"/>
                                          </p:val>
                                        </p:tav>
                                      </p:tavLst>
                                    </p:anim>
                                    <p:anim calcmode="lin" valueType="num">
                                      <p:cBhvr>
                                        <p:cTn id="109" dur="250" fill="hold"/>
                                        <p:tgtEl>
                                          <p:spTgt spid="4"/>
                                        </p:tgtEl>
                                        <p:attrNameLst>
                                          <p:attrName>style.rotation</p:attrName>
                                        </p:attrNameLst>
                                      </p:cBhvr>
                                      <p:tavLst>
                                        <p:tav tm="0">
                                          <p:val>
                                            <p:fltVal val="90"/>
                                          </p:val>
                                        </p:tav>
                                        <p:tav tm="100000">
                                          <p:val>
                                            <p:fltVal val="0"/>
                                          </p:val>
                                        </p:tav>
                                      </p:tavLst>
                                    </p:anim>
                                    <p:animEffect transition="in" filter="fade">
                                      <p:cBhvr>
                                        <p:cTn id="110" dur="250"/>
                                        <p:tgtEl>
                                          <p:spTgt spid="4"/>
                                        </p:tgtEl>
                                      </p:cBhvr>
                                    </p:animEffect>
                                  </p:childTnLst>
                                </p:cTn>
                              </p:par>
                            </p:childTnLst>
                          </p:cTn>
                        </p:par>
                        <p:par>
                          <p:cTn id="111" fill="hold">
                            <p:stCondLst>
                              <p:cond delay="10000"/>
                            </p:stCondLst>
                            <p:childTnLst>
                              <p:par>
                                <p:cTn id="112" presetID="9" presetClass="entr" presetSubtype="0" fill="hold" grpId="0" nodeType="afterEffect">
                                  <p:stCondLst>
                                    <p:cond delay="0"/>
                                  </p:stCondLst>
                                  <p:childTnLst>
                                    <p:set>
                                      <p:cBhvr>
                                        <p:cTn id="113" dur="1" fill="hold">
                                          <p:stCondLst>
                                            <p:cond delay="0"/>
                                          </p:stCondLst>
                                        </p:cTn>
                                        <p:tgtEl>
                                          <p:spTgt spid="14372"/>
                                        </p:tgtEl>
                                        <p:attrNameLst>
                                          <p:attrName>style.visibility</p:attrName>
                                        </p:attrNameLst>
                                      </p:cBhvr>
                                      <p:to>
                                        <p:strVal val="visible"/>
                                      </p:to>
                                    </p:set>
                                    <p:animEffect transition="in" filter="dissolve">
                                      <p:cBhvr>
                                        <p:cTn id="114" dur="250"/>
                                        <p:tgtEl>
                                          <p:spTgt spid="14372"/>
                                        </p:tgtEl>
                                      </p:cBhvr>
                                    </p:animEffect>
                                  </p:childTnLst>
                                </p:cTn>
                              </p:par>
                            </p:childTnLst>
                          </p:cTn>
                        </p:par>
                        <p:par>
                          <p:cTn id="115" fill="hold">
                            <p:stCondLst>
                              <p:cond delay="10500"/>
                            </p:stCondLst>
                            <p:childTnLst>
                              <p:par>
                                <p:cTn id="116" presetID="2" presetClass="entr" presetSubtype="2" fill="hold" grpId="0" nodeType="afterEffect">
                                  <p:stCondLst>
                                    <p:cond delay="0"/>
                                  </p:stCondLst>
                                  <p:childTnLst>
                                    <p:set>
                                      <p:cBhvr>
                                        <p:cTn id="117" dur="1" fill="hold">
                                          <p:stCondLst>
                                            <p:cond delay="0"/>
                                          </p:stCondLst>
                                        </p:cTn>
                                        <p:tgtEl>
                                          <p:spTgt spid="14373"/>
                                        </p:tgtEl>
                                        <p:attrNameLst>
                                          <p:attrName>style.visibility</p:attrName>
                                        </p:attrNameLst>
                                      </p:cBhvr>
                                      <p:to>
                                        <p:strVal val="visible"/>
                                      </p:to>
                                    </p:set>
                                    <p:anim calcmode="lin" valueType="num">
                                      <p:cBhvr additive="base">
                                        <p:cTn id="118" dur="250" fill="hold"/>
                                        <p:tgtEl>
                                          <p:spTgt spid="14373"/>
                                        </p:tgtEl>
                                        <p:attrNameLst>
                                          <p:attrName>ppt_x</p:attrName>
                                        </p:attrNameLst>
                                      </p:cBhvr>
                                      <p:tavLst>
                                        <p:tav tm="0">
                                          <p:val>
                                            <p:strVal val="1+#ppt_w/2"/>
                                          </p:val>
                                        </p:tav>
                                        <p:tav tm="100000">
                                          <p:val>
                                            <p:strVal val="#ppt_x"/>
                                          </p:val>
                                        </p:tav>
                                      </p:tavLst>
                                    </p:anim>
                                    <p:anim calcmode="lin" valueType="num">
                                      <p:cBhvr additive="base">
                                        <p:cTn id="119" dur="250" fill="hold"/>
                                        <p:tgtEl>
                                          <p:spTgt spid="14373"/>
                                        </p:tgtEl>
                                        <p:attrNameLst>
                                          <p:attrName>ppt_y</p:attrName>
                                        </p:attrNameLst>
                                      </p:cBhvr>
                                      <p:tavLst>
                                        <p:tav tm="0">
                                          <p:val>
                                            <p:strVal val="#ppt_y"/>
                                          </p:val>
                                        </p:tav>
                                        <p:tav tm="100000">
                                          <p:val>
                                            <p:strVal val="#ppt_y"/>
                                          </p:val>
                                        </p:tav>
                                      </p:tavLst>
                                    </p:anim>
                                  </p:childTnLst>
                                </p:cTn>
                              </p:par>
                            </p:childTnLst>
                          </p:cTn>
                        </p:par>
                        <p:par>
                          <p:cTn id="120" fill="hold">
                            <p:stCondLst>
                              <p:cond delay="11000"/>
                            </p:stCondLst>
                            <p:childTnLst>
                              <p:par>
                                <p:cTn id="121" presetID="31" presetClass="entr" presetSubtype="0" fill="hold" nodeType="afterEffect">
                                  <p:stCondLst>
                                    <p:cond delay="0"/>
                                  </p:stCondLst>
                                  <p:childTnLst>
                                    <p:set>
                                      <p:cBhvr>
                                        <p:cTn id="122" dur="1" fill="hold">
                                          <p:stCondLst>
                                            <p:cond delay="0"/>
                                          </p:stCondLst>
                                        </p:cTn>
                                        <p:tgtEl>
                                          <p:spTgt spid="7"/>
                                        </p:tgtEl>
                                        <p:attrNameLst>
                                          <p:attrName>style.visibility</p:attrName>
                                        </p:attrNameLst>
                                      </p:cBhvr>
                                      <p:to>
                                        <p:strVal val="visible"/>
                                      </p:to>
                                    </p:set>
                                    <p:anim calcmode="lin" valueType="num">
                                      <p:cBhvr>
                                        <p:cTn id="123" dur="250" fill="hold"/>
                                        <p:tgtEl>
                                          <p:spTgt spid="7"/>
                                        </p:tgtEl>
                                        <p:attrNameLst>
                                          <p:attrName>ppt_w</p:attrName>
                                        </p:attrNameLst>
                                      </p:cBhvr>
                                      <p:tavLst>
                                        <p:tav tm="0">
                                          <p:val>
                                            <p:fltVal val="0"/>
                                          </p:val>
                                        </p:tav>
                                        <p:tav tm="100000">
                                          <p:val>
                                            <p:strVal val="#ppt_w"/>
                                          </p:val>
                                        </p:tav>
                                      </p:tavLst>
                                    </p:anim>
                                    <p:anim calcmode="lin" valueType="num">
                                      <p:cBhvr>
                                        <p:cTn id="124" dur="250" fill="hold"/>
                                        <p:tgtEl>
                                          <p:spTgt spid="7"/>
                                        </p:tgtEl>
                                        <p:attrNameLst>
                                          <p:attrName>ppt_h</p:attrName>
                                        </p:attrNameLst>
                                      </p:cBhvr>
                                      <p:tavLst>
                                        <p:tav tm="0">
                                          <p:val>
                                            <p:fltVal val="0"/>
                                          </p:val>
                                        </p:tav>
                                        <p:tav tm="100000">
                                          <p:val>
                                            <p:strVal val="#ppt_h"/>
                                          </p:val>
                                        </p:tav>
                                      </p:tavLst>
                                    </p:anim>
                                    <p:anim calcmode="lin" valueType="num">
                                      <p:cBhvr>
                                        <p:cTn id="125" dur="250" fill="hold"/>
                                        <p:tgtEl>
                                          <p:spTgt spid="7"/>
                                        </p:tgtEl>
                                        <p:attrNameLst>
                                          <p:attrName>style.rotation</p:attrName>
                                        </p:attrNameLst>
                                      </p:cBhvr>
                                      <p:tavLst>
                                        <p:tav tm="0">
                                          <p:val>
                                            <p:fltVal val="90"/>
                                          </p:val>
                                        </p:tav>
                                        <p:tav tm="100000">
                                          <p:val>
                                            <p:fltVal val="0"/>
                                          </p:val>
                                        </p:tav>
                                      </p:tavLst>
                                    </p:anim>
                                    <p:animEffect transition="in" filter="fade">
                                      <p:cBhvr>
                                        <p:cTn id="126" dur="250"/>
                                        <p:tgtEl>
                                          <p:spTgt spid="7"/>
                                        </p:tgtEl>
                                      </p:cBhvr>
                                    </p:animEffect>
                                  </p:childTnLst>
                                </p:cTn>
                              </p:par>
                            </p:childTnLst>
                          </p:cTn>
                        </p:par>
                        <p:par>
                          <p:cTn id="127" fill="hold">
                            <p:stCondLst>
                              <p:cond delay="11500"/>
                            </p:stCondLst>
                            <p:childTnLst>
                              <p:par>
                                <p:cTn id="128" presetID="9" presetClass="entr" presetSubtype="0" fill="hold" grpId="0" nodeType="afterEffect">
                                  <p:stCondLst>
                                    <p:cond delay="0"/>
                                  </p:stCondLst>
                                  <p:childTnLst>
                                    <p:set>
                                      <p:cBhvr>
                                        <p:cTn id="129" dur="1" fill="hold">
                                          <p:stCondLst>
                                            <p:cond delay="0"/>
                                          </p:stCondLst>
                                        </p:cTn>
                                        <p:tgtEl>
                                          <p:spTgt spid="14374"/>
                                        </p:tgtEl>
                                        <p:attrNameLst>
                                          <p:attrName>style.visibility</p:attrName>
                                        </p:attrNameLst>
                                      </p:cBhvr>
                                      <p:to>
                                        <p:strVal val="visible"/>
                                      </p:to>
                                    </p:set>
                                    <p:animEffect transition="in" filter="dissolve">
                                      <p:cBhvr>
                                        <p:cTn id="130" dur="250"/>
                                        <p:tgtEl>
                                          <p:spTgt spid="14374"/>
                                        </p:tgtEl>
                                      </p:cBhvr>
                                    </p:animEffect>
                                  </p:childTnLst>
                                </p:cTn>
                              </p:par>
                            </p:childTnLst>
                          </p:cTn>
                        </p:par>
                        <p:par>
                          <p:cTn id="131" fill="hold">
                            <p:stCondLst>
                              <p:cond delay="12000"/>
                            </p:stCondLst>
                            <p:childTnLst>
                              <p:par>
                                <p:cTn id="132" presetID="2" presetClass="entr" presetSubtype="2" fill="hold" grpId="0" nodeType="afterEffect">
                                  <p:stCondLst>
                                    <p:cond delay="0"/>
                                  </p:stCondLst>
                                  <p:childTnLst>
                                    <p:set>
                                      <p:cBhvr>
                                        <p:cTn id="133" dur="1" fill="hold">
                                          <p:stCondLst>
                                            <p:cond delay="0"/>
                                          </p:stCondLst>
                                        </p:cTn>
                                        <p:tgtEl>
                                          <p:spTgt spid="14375"/>
                                        </p:tgtEl>
                                        <p:attrNameLst>
                                          <p:attrName>style.visibility</p:attrName>
                                        </p:attrNameLst>
                                      </p:cBhvr>
                                      <p:to>
                                        <p:strVal val="visible"/>
                                      </p:to>
                                    </p:set>
                                    <p:anim calcmode="lin" valueType="num">
                                      <p:cBhvr additive="base">
                                        <p:cTn id="134" dur="250" fill="hold"/>
                                        <p:tgtEl>
                                          <p:spTgt spid="14375"/>
                                        </p:tgtEl>
                                        <p:attrNameLst>
                                          <p:attrName>ppt_x</p:attrName>
                                        </p:attrNameLst>
                                      </p:cBhvr>
                                      <p:tavLst>
                                        <p:tav tm="0">
                                          <p:val>
                                            <p:strVal val="1+#ppt_w/2"/>
                                          </p:val>
                                        </p:tav>
                                        <p:tav tm="100000">
                                          <p:val>
                                            <p:strVal val="#ppt_x"/>
                                          </p:val>
                                        </p:tav>
                                      </p:tavLst>
                                    </p:anim>
                                    <p:anim calcmode="lin" valueType="num">
                                      <p:cBhvr additive="base">
                                        <p:cTn id="135" dur="250" fill="hold"/>
                                        <p:tgtEl>
                                          <p:spTgt spid="14375"/>
                                        </p:tgtEl>
                                        <p:attrNameLst>
                                          <p:attrName>ppt_y</p:attrName>
                                        </p:attrNameLst>
                                      </p:cBhvr>
                                      <p:tavLst>
                                        <p:tav tm="0">
                                          <p:val>
                                            <p:strVal val="#ppt_y"/>
                                          </p:val>
                                        </p:tav>
                                        <p:tav tm="100000">
                                          <p:val>
                                            <p:strVal val="#ppt_y"/>
                                          </p:val>
                                        </p:tav>
                                      </p:tavLst>
                                    </p:anim>
                                  </p:childTnLst>
                                </p:cTn>
                              </p:par>
                            </p:childTnLst>
                          </p:cTn>
                        </p:par>
                        <p:par>
                          <p:cTn id="136" fill="hold">
                            <p:stCondLst>
                              <p:cond delay="12500"/>
                            </p:stCondLst>
                            <p:childTnLst>
                              <p:par>
                                <p:cTn id="137" presetID="31" presetClass="entr" presetSubtype="0" fill="hold" nodeType="afterEffect">
                                  <p:stCondLst>
                                    <p:cond delay="0"/>
                                  </p:stCondLst>
                                  <p:childTnLst>
                                    <p:set>
                                      <p:cBhvr>
                                        <p:cTn id="138" dur="1" fill="hold">
                                          <p:stCondLst>
                                            <p:cond delay="0"/>
                                          </p:stCondLst>
                                        </p:cTn>
                                        <p:tgtEl>
                                          <p:spTgt spid="10"/>
                                        </p:tgtEl>
                                        <p:attrNameLst>
                                          <p:attrName>style.visibility</p:attrName>
                                        </p:attrNameLst>
                                      </p:cBhvr>
                                      <p:to>
                                        <p:strVal val="visible"/>
                                      </p:to>
                                    </p:set>
                                    <p:anim calcmode="lin" valueType="num">
                                      <p:cBhvr>
                                        <p:cTn id="139" dur="250" fill="hold"/>
                                        <p:tgtEl>
                                          <p:spTgt spid="10"/>
                                        </p:tgtEl>
                                        <p:attrNameLst>
                                          <p:attrName>ppt_w</p:attrName>
                                        </p:attrNameLst>
                                      </p:cBhvr>
                                      <p:tavLst>
                                        <p:tav tm="0">
                                          <p:val>
                                            <p:fltVal val="0"/>
                                          </p:val>
                                        </p:tav>
                                        <p:tav tm="100000">
                                          <p:val>
                                            <p:strVal val="#ppt_w"/>
                                          </p:val>
                                        </p:tav>
                                      </p:tavLst>
                                    </p:anim>
                                    <p:anim calcmode="lin" valueType="num">
                                      <p:cBhvr>
                                        <p:cTn id="140" dur="250" fill="hold"/>
                                        <p:tgtEl>
                                          <p:spTgt spid="10"/>
                                        </p:tgtEl>
                                        <p:attrNameLst>
                                          <p:attrName>ppt_h</p:attrName>
                                        </p:attrNameLst>
                                      </p:cBhvr>
                                      <p:tavLst>
                                        <p:tav tm="0">
                                          <p:val>
                                            <p:fltVal val="0"/>
                                          </p:val>
                                        </p:tav>
                                        <p:tav tm="100000">
                                          <p:val>
                                            <p:strVal val="#ppt_h"/>
                                          </p:val>
                                        </p:tav>
                                      </p:tavLst>
                                    </p:anim>
                                    <p:anim calcmode="lin" valueType="num">
                                      <p:cBhvr>
                                        <p:cTn id="141" dur="250" fill="hold"/>
                                        <p:tgtEl>
                                          <p:spTgt spid="10"/>
                                        </p:tgtEl>
                                        <p:attrNameLst>
                                          <p:attrName>style.rotation</p:attrName>
                                        </p:attrNameLst>
                                      </p:cBhvr>
                                      <p:tavLst>
                                        <p:tav tm="0">
                                          <p:val>
                                            <p:fltVal val="90"/>
                                          </p:val>
                                        </p:tav>
                                        <p:tav tm="100000">
                                          <p:val>
                                            <p:fltVal val="0"/>
                                          </p:val>
                                        </p:tav>
                                      </p:tavLst>
                                    </p:anim>
                                    <p:animEffect transition="in" filter="fade">
                                      <p:cBhvr>
                                        <p:cTn id="142" dur="250"/>
                                        <p:tgtEl>
                                          <p:spTgt spid="10"/>
                                        </p:tgtEl>
                                      </p:cBhvr>
                                    </p:animEffect>
                                  </p:childTnLst>
                                </p:cTn>
                              </p:par>
                            </p:childTnLst>
                          </p:cTn>
                        </p:par>
                        <p:par>
                          <p:cTn id="143" fill="hold">
                            <p:stCondLst>
                              <p:cond delay="13000"/>
                            </p:stCondLst>
                            <p:childTnLst>
                              <p:par>
                                <p:cTn id="144" presetID="9" presetClass="entr" presetSubtype="0" fill="hold" grpId="0" nodeType="afterEffect">
                                  <p:stCondLst>
                                    <p:cond delay="0"/>
                                  </p:stCondLst>
                                  <p:childTnLst>
                                    <p:set>
                                      <p:cBhvr>
                                        <p:cTn id="145" dur="1" fill="hold">
                                          <p:stCondLst>
                                            <p:cond delay="0"/>
                                          </p:stCondLst>
                                        </p:cTn>
                                        <p:tgtEl>
                                          <p:spTgt spid="14376"/>
                                        </p:tgtEl>
                                        <p:attrNameLst>
                                          <p:attrName>style.visibility</p:attrName>
                                        </p:attrNameLst>
                                      </p:cBhvr>
                                      <p:to>
                                        <p:strVal val="visible"/>
                                      </p:to>
                                    </p:set>
                                    <p:animEffect transition="in" filter="dissolve">
                                      <p:cBhvr>
                                        <p:cTn id="146" dur="250"/>
                                        <p:tgtEl>
                                          <p:spTgt spid="14376"/>
                                        </p:tgtEl>
                                      </p:cBhvr>
                                    </p:animEffect>
                                  </p:childTnLst>
                                </p:cTn>
                              </p:par>
                            </p:childTnLst>
                          </p:cTn>
                        </p:par>
                        <p:par>
                          <p:cTn id="147" fill="hold">
                            <p:stCondLst>
                              <p:cond delay="13500"/>
                            </p:stCondLst>
                            <p:childTnLst>
                              <p:par>
                                <p:cTn id="148" presetID="2" presetClass="entr" presetSubtype="2" fill="hold" grpId="0" nodeType="afterEffect">
                                  <p:stCondLst>
                                    <p:cond delay="0"/>
                                  </p:stCondLst>
                                  <p:childTnLst>
                                    <p:set>
                                      <p:cBhvr>
                                        <p:cTn id="149" dur="1" fill="hold">
                                          <p:stCondLst>
                                            <p:cond delay="0"/>
                                          </p:stCondLst>
                                        </p:cTn>
                                        <p:tgtEl>
                                          <p:spTgt spid="14377"/>
                                        </p:tgtEl>
                                        <p:attrNameLst>
                                          <p:attrName>style.visibility</p:attrName>
                                        </p:attrNameLst>
                                      </p:cBhvr>
                                      <p:to>
                                        <p:strVal val="visible"/>
                                      </p:to>
                                    </p:set>
                                    <p:anim calcmode="lin" valueType="num">
                                      <p:cBhvr additive="base">
                                        <p:cTn id="150" dur="250" fill="hold"/>
                                        <p:tgtEl>
                                          <p:spTgt spid="14377"/>
                                        </p:tgtEl>
                                        <p:attrNameLst>
                                          <p:attrName>ppt_x</p:attrName>
                                        </p:attrNameLst>
                                      </p:cBhvr>
                                      <p:tavLst>
                                        <p:tav tm="0">
                                          <p:val>
                                            <p:strVal val="1+#ppt_w/2"/>
                                          </p:val>
                                        </p:tav>
                                        <p:tav tm="100000">
                                          <p:val>
                                            <p:strVal val="#ppt_x"/>
                                          </p:val>
                                        </p:tav>
                                      </p:tavLst>
                                    </p:anim>
                                    <p:anim calcmode="lin" valueType="num">
                                      <p:cBhvr additive="base">
                                        <p:cTn id="151" dur="250" fill="hold"/>
                                        <p:tgtEl>
                                          <p:spTgt spid="1437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1" grpId="0" autoUpdateAnimBg="0"/>
      <p:bldP spid="14342" grpId="0"/>
      <p:bldP spid="14361" grpId="0" autoUpdateAnimBg="0"/>
      <p:bldP spid="14362" grpId="0" autoUpdateAnimBg="0"/>
      <p:bldP spid="14363" grpId="0" autoUpdateAnimBg="0"/>
      <p:bldP spid="14364" grpId="0" autoUpdateAnimBg="0"/>
      <p:bldP spid="14365" grpId="0" autoUpdateAnimBg="0"/>
      <p:bldP spid="14366" grpId="0" autoUpdateAnimBg="0"/>
      <p:bldP spid="14367" grpId="0" autoUpdateAnimBg="0"/>
      <p:bldP spid="14368" grpId="0" autoUpdateAnimBg="0"/>
      <p:bldP spid="14369" grpId="0" autoUpdateAnimBg="0"/>
      <p:bldP spid="14370" grpId="0" autoUpdateAnimBg="0"/>
      <p:bldP spid="14371" grpId="0" autoUpdateAnimBg="0"/>
      <p:bldP spid="14372" grpId="0" autoUpdateAnimBg="0"/>
      <p:bldP spid="14373" grpId="0" autoUpdateAnimBg="0"/>
      <p:bldP spid="14374" grpId="0" autoUpdateAnimBg="0"/>
      <p:bldP spid="14375" grpId="0" autoUpdateAnimBg="0"/>
      <p:bldP spid="14376" grpId="0" autoUpdateAnimBg="0"/>
      <p:bldP spid="14377" grpId="0" autoUpdateAnimBg="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7" name="AutoShape 5"/>
          <p:cNvSpPr/>
          <p:nvPr/>
        </p:nvSpPr>
        <p:spPr bwMode="auto">
          <a:xfrm>
            <a:off x="1355551" y="1886415"/>
            <a:ext cx="9406301" cy="4754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lgn="ctr"/>
            <a:r>
              <a:rPr lang="zh-CN" altLang="en-US" sz="1200" dirty="0">
                <a:solidFill>
                  <a:schemeClr val="tx1">
                    <a:lumMod val="50000"/>
                    <a:lumOff val="50000"/>
                  </a:schemeClr>
                </a:solidFill>
                <a:latin typeface="+mn-ea"/>
              </a:rPr>
              <a:t>此处添加详细文本描述，建议与</a:t>
            </a:r>
            <a:r>
              <a:rPr lang="zh-CN" altLang="en-US" sz="1200" dirty="0" smtClean="0">
                <a:solidFill>
                  <a:schemeClr val="tx1">
                    <a:lumMod val="50000"/>
                    <a:lumOff val="50000"/>
                  </a:schemeClr>
                </a:solidFill>
                <a:latin typeface="+mn-ea"/>
              </a:rPr>
              <a:t>标亮亮图文旗舰店</a:t>
            </a:r>
            <a:r>
              <a:rPr lang="en-US" altLang="zh-CN" sz="1200" dirty="0" smtClean="0">
                <a:solidFill>
                  <a:schemeClr val="tx1">
                    <a:lumMod val="50000"/>
                    <a:lumOff val="50000"/>
                  </a:schemeClr>
                </a:solidFill>
                <a:latin typeface="+mn-ea"/>
              </a:rPr>
              <a:t>https://liangliangtuwen.tmall.com</a:t>
            </a:r>
            <a:r>
              <a:rPr lang="zh-CN" altLang="en-US" sz="1200" dirty="0" smtClean="0">
                <a:solidFill>
                  <a:schemeClr val="tx1">
                    <a:lumMod val="50000"/>
                    <a:lumOff val="50000"/>
                  </a:schemeClr>
                </a:solidFill>
                <a:latin typeface="+mn-ea"/>
              </a:rPr>
              <a:t>题</a:t>
            </a:r>
            <a:r>
              <a:rPr lang="zh-CN" altLang="en-US" sz="1200" dirty="0">
                <a:solidFill>
                  <a:schemeClr val="tx1">
                    <a:lumMod val="50000"/>
                    <a:lumOff val="50000"/>
                  </a:schemeClr>
                </a:solidFill>
                <a:latin typeface="+mn-ea"/>
              </a:rPr>
              <a:t>相关并符合整体语言风格，语言描述尽量简洁生动。尽量将每页幻灯片的字数控制在</a:t>
            </a:r>
            <a:r>
              <a:rPr lang="en-US" altLang="zh-CN" sz="1200" dirty="0">
                <a:solidFill>
                  <a:schemeClr val="tx1">
                    <a:lumMod val="50000"/>
                    <a:lumOff val="50000"/>
                  </a:schemeClr>
                </a:solidFill>
                <a:latin typeface="+mn-ea"/>
              </a:rPr>
              <a:t>200</a:t>
            </a:r>
            <a:r>
              <a:rPr lang="zh-CN" altLang="en-US" sz="1200" dirty="0">
                <a:solidFill>
                  <a:schemeClr val="tx1">
                    <a:lumMod val="50000"/>
                    <a:lumOff val="50000"/>
                  </a:schemeClr>
                </a:solidFill>
                <a:latin typeface="+mn-ea"/>
              </a:rPr>
              <a:t>字以内，据统计每页幻灯片的最好控制在</a:t>
            </a:r>
            <a:r>
              <a:rPr lang="en-US" altLang="zh-CN" sz="1200" dirty="0">
                <a:solidFill>
                  <a:schemeClr val="tx1">
                    <a:lumMod val="50000"/>
                    <a:lumOff val="50000"/>
                  </a:schemeClr>
                </a:solidFill>
                <a:latin typeface="+mn-ea"/>
              </a:rPr>
              <a:t>5</a:t>
            </a:r>
            <a:r>
              <a:rPr lang="zh-CN" altLang="en-US" sz="1200" dirty="0">
                <a:solidFill>
                  <a:schemeClr val="tx1">
                    <a:lumMod val="50000"/>
                    <a:lumOff val="50000"/>
                  </a:schemeClr>
                </a:solidFill>
                <a:latin typeface="+mn-ea"/>
              </a:rPr>
              <a:t>分钟之内。此处添加详细文本描述，建议与标题相关并符合整体语言风格，语言描述尽量简洁生动。尽量将每页幻灯片的字数控制在</a:t>
            </a:r>
            <a:r>
              <a:rPr lang="en-US" altLang="zh-CN" sz="1200" dirty="0">
                <a:solidFill>
                  <a:schemeClr val="tx1">
                    <a:lumMod val="50000"/>
                    <a:lumOff val="50000"/>
                  </a:schemeClr>
                </a:solidFill>
                <a:latin typeface="+mn-ea"/>
              </a:rPr>
              <a:t>200</a:t>
            </a:r>
            <a:r>
              <a:rPr lang="zh-CN" altLang="en-US" sz="1200" dirty="0">
                <a:solidFill>
                  <a:schemeClr val="tx1">
                    <a:lumMod val="50000"/>
                    <a:lumOff val="50000"/>
                  </a:schemeClr>
                </a:solidFill>
                <a:latin typeface="+mn-ea"/>
              </a:rPr>
              <a:t>字以内，据统计每页幻灯片的最好控制在</a:t>
            </a:r>
            <a:r>
              <a:rPr lang="en-US" altLang="zh-CN" sz="1200" dirty="0">
                <a:solidFill>
                  <a:schemeClr val="tx1">
                    <a:lumMod val="50000"/>
                    <a:lumOff val="50000"/>
                  </a:schemeClr>
                </a:solidFill>
                <a:latin typeface="+mn-ea"/>
              </a:rPr>
              <a:t>5</a:t>
            </a:r>
            <a:r>
              <a:rPr lang="zh-CN" altLang="en-US" sz="1200" dirty="0">
                <a:solidFill>
                  <a:schemeClr val="tx1">
                    <a:lumMod val="50000"/>
                    <a:lumOff val="50000"/>
                  </a:schemeClr>
                </a:solidFill>
                <a:latin typeface="+mn-ea"/>
              </a:rPr>
              <a:t>分钟之内。</a:t>
            </a:r>
          </a:p>
        </p:txBody>
      </p:sp>
      <p:sp>
        <p:nvSpPr>
          <p:cNvPr id="18438" name="AutoShape 6"/>
          <p:cNvSpPr/>
          <p:nvPr/>
        </p:nvSpPr>
        <p:spPr bwMode="auto">
          <a:xfrm>
            <a:off x="8591227" y="3119747"/>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8439" name="AutoShape 7"/>
          <p:cNvSpPr/>
          <p:nvPr/>
        </p:nvSpPr>
        <p:spPr bwMode="auto">
          <a:xfrm>
            <a:off x="8592020" y="2812564"/>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defTabSz="608965">
              <a:defRPr/>
            </a:pPr>
            <a:r>
              <a:rPr lang="zh-CN" altLang="en-US" sz="1600" dirty="0">
                <a:solidFill>
                  <a:schemeClr val="tx1">
                    <a:lumMod val="50000"/>
                    <a:lumOff val="50000"/>
                  </a:schemeClr>
                </a:solidFill>
                <a:ea typeface="微软雅黑" panose="020B0503020204020204" pitchFamily="34" charset="-122"/>
              </a:rPr>
              <a:t>这输入标题</a:t>
            </a:r>
            <a:endParaRPr lang="en-AU" altLang="zh-CN" sz="1600" dirty="0">
              <a:solidFill>
                <a:schemeClr val="tx1">
                  <a:lumMod val="50000"/>
                  <a:lumOff val="50000"/>
                </a:schemeClr>
              </a:solidFill>
              <a:latin typeface="Roboto Condensed" panose="02000000000000000000" pitchFamily="2" charset="0"/>
              <a:ea typeface="Arial" panose="020B0604020202020204"/>
              <a:cs typeface="Arial" panose="020B0604020202020204"/>
            </a:endParaRPr>
          </a:p>
        </p:txBody>
      </p:sp>
      <p:sp>
        <p:nvSpPr>
          <p:cNvPr id="18440" name="AutoShape 8"/>
          <p:cNvSpPr/>
          <p:nvPr/>
        </p:nvSpPr>
        <p:spPr bwMode="auto">
          <a:xfrm>
            <a:off x="8591227" y="4190515"/>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8441" name="AutoShape 9"/>
          <p:cNvSpPr/>
          <p:nvPr/>
        </p:nvSpPr>
        <p:spPr bwMode="auto">
          <a:xfrm>
            <a:off x="8592020" y="3883332"/>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defTabSz="608965">
              <a:defRPr/>
            </a:pPr>
            <a:r>
              <a:rPr lang="zh-CN" altLang="en-US" sz="1600" dirty="0">
                <a:solidFill>
                  <a:schemeClr val="tx1">
                    <a:lumMod val="50000"/>
                    <a:lumOff val="50000"/>
                  </a:schemeClr>
                </a:solidFill>
                <a:ea typeface="微软雅黑" panose="020B0503020204020204" pitchFamily="34" charset="-122"/>
              </a:rPr>
              <a:t>这输入标题</a:t>
            </a:r>
            <a:endParaRPr lang="en-AU" altLang="zh-CN" sz="1600" dirty="0">
              <a:solidFill>
                <a:schemeClr val="tx1">
                  <a:lumMod val="50000"/>
                  <a:lumOff val="50000"/>
                </a:schemeClr>
              </a:solidFill>
              <a:latin typeface="Roboto Condensed" panose="02000000000000000000" pitchFamily="2" charset="0"/>
              <a:ea typeface="Arial" panose="020B0604020202020204"/>
              <a:cs typeface="Arial" panose="020B0604020202020204"/>
            </a:endParaRPr>
          </a:p>
        </p:txBody>
      </p:sp>
      <p:sp>
        <p:nvSpPr>
          <p:cNvPr id="18442" name="AutoShape 10"/>
          <p:cNvSpPr/>
          <p:nvPr/>
        </p:nvSpPr>
        <p:spPr bwMode="auto">
          <a:xfrm>
            <a:off x="8591227" y="5293827"/>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8443" name="AutoShape 11"/>
          <p:cNvSpPr/>
          <p:nvPr/>
        </p:nvSpPr>
        <p:spPr bwMode="auto">
          <a:xfrm>
            <a:off x="8592020" y="4986645"/>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defTabSz="608965">
              <a:defRPr/>
            </a:pPr>
            <a:r>
              <a:rPr lang="zh-CN" altLang="en-US" sz="1600" dirty="0">
                <a:solidFill>
                  <a:schemeClr val="tx1">
                    <a:lumMod val="50000"/>
                    <a:lumOff val="50000"/>
                  </a:schemeClr>
                </a:solidFill>
                <a:ea typeface="微软雅黑" panose="020B0503020204020204" pitchFamily="34" charset="-122"/>
              </a:rPr>
              <a:t>这输入标题</a:t>
            </a:r>
            <a:endParaRPr lang="en-AU" altLang="zh-CN" sz="1600" dirty="0">
              <a:solidFill>
                <a:schemeClr val="tx1">
                  <a:lumMod val="50000"/>
                  <a:lumOff val="50000"/>
                </a:schemeClr>
              </a:solidFill>
              <a:latin typeface="Roboto Condensed" panose="02000000000000000000" pitchFamily="2" charset="0"/>
              <a:ea typeface="Arial" panose="020B0604020202020204"/>
              <a:cs typeface="Arial" panose="020B0604020202020204"/>
            </a:endParaRPr>
          </a:p>
        </p:txBody>
      </p:sp>
      <p:sp>
        <p:nvSpPr>
          <p:cNvPr id="18444" name="AutoShape 12"/>
          <p:cNvSpPr/>
          <p:nvPr/>
        </p:nvSpPr>
        <p:spPr bwMode="auto">
          <a:xfrm>
            <a:off x="1361106" y="3119747"/>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lgn="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8445" name="AutoShape 13"/>
          <p:cNvSpPr/>
          <p:nvPr/>
        </p:nvSpPr>
        <p:spPr bwMode="auto">
          <a:xfrm>
            <a:off x="2384116" y="2812564"/>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defTabSz="608965">
              <a:defRPr/>
            </a:pPr>
            <a:r>
              <a:rPr lang="zh-CN" altLang="en-US" sz="1600" dirty="0">
                <a:solidFill>
                  <a:schemeClr val="tx1">
                    <a:lumMod val="50000"/>
                    <a:lumOff val="50000"/>
                  </a:schemeClr>
                </a:solidFill>
                <a:ea typeface="微软雅黑" panose="020B0503020204020204" pitchFamily="34" charset="-122"/>
              </a:rPr>
              <a:t>这输入标题</a:t>
            </a:r>
            <a:endParaRPr lang="en-AU" altLang="zh-CN" sz="1600" dirty="0">
              <a:solidFill>
                <a:schemeClr val="tx1">
                  <a:lumMod val="50000"/>
                  <a:lumOff val="50000"/>
                </a:schemeClr>
              </a:solidFill>
              <a:latin typeface="Roboto Condensed" panose="02000000000000000000" pitchFamily="2" charset="0"/>
              <a:ea typeface="Arial" panose="020B0604020202020204"/>
              <a:cs typeface="Arial" panose="020B0604020202020204"/>
            </a:endParaRPr>
          </a:p>
        </p:txBody>
      </p:sp>
      <p:sp>
        <p:nvSpPr>
          <p:cNvPr id="18446" name="AutoShape 14"/>
          <p:cNvSpPr/>
          <p:nvPr/>
        </p:nvSpPr>
        <p:spPr bwMode="auto">
          <a:xfrm>
            <a:off x="1361106" y="4190515"/>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lgn="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8447" name="AutoShape 15"/>
          <p:cNvSpPr/>
          <p:nvPr/>
        </p:nvSpPr>
        <p:spPr bwMode="auto">
          <a:xfrm>
            <a:off x="2384116" y="3883332"/>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defTabSz="608965">
              <a:defRPr/>
            </a:pPr>
            <a:r>
              <a:rPr lang="zh-CN" altLang="en-US" sz="1600" dirty="0">
                <a:solidFill>
                  <a:schemeClr val="tx1">
                    <a:lumMod val="50000"/>
                    <a:lumOff val="50000"/>
                  </a:schemeClr>
                </a:solidFill>
                <a:ea typeface="微软雅黑" panose="020B0503020204020204" pitchFamily="34" charset="-122"/>
              </a:rPr>
              <a:t>这输入标题</a:t>
            </a:r>
            <a:endParaRPr lang="en-AU" altLang="zh-CN" sz="1600" dirty="0">
              <a:solidFill>
                <a:schemeClr val="tx1">
                  <a:lumMod val="50000"/>
                  <a:lumOff val="50000"/>
                </a:schemeClr>
              </a:solidFill>
              <a:latin typeface="Roboto Condensed" panose="02000000000000000000" pitchFamily="2" charset="0"/>
              <a:ea typeface="Arial" panose="020B0604020202020204"/>
              <a:cs typeface="Arial" panose="020B0604020202020204"/>
            </a:endParaRPr>
          </a:p>
        </p:txBody>
      </p:sp>
      <p:sp>
        <p:nvSpPr>
          <p:cNvPr id="18448" name="AutoShape 16"/>
          <p:cNvSpPr/>
          <p:nvPr/>
        </p:nvSpPr>
        <p:spPr bwMode="auto">
          <a:xfrm>
            <a:off x="1361106" y="5293827"/>
            <a:ext cx="2181735" cy="3071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algn="r">
              <a:defRPr/>
            </a:pPr>
            <a:r>
              <a:rPr lang="zh-CN" altLang="en-US" sz="900" dirty="0">
                <a:solidFill>
                  <a:schemeClr val="tx1">
                    <a:lumMod val="50000"/>
                    <a:lumOff val="50000"/>
                  </a:schemeClr>
                </a:solidFill>
                <a:ea typeface="微软雅黑" panose="020B0503020204020204" pitchFamily="34" charset="-122"/>
              </a:rPr>
              <a:t>所有文字都可以随意更改成您的文字内容 鼠标点击修改的地方</a:t>
            </a:r>
            <a:endParaRPr lang="en-US" altLang="zh-CN" sz="900" dirty="0">
              <a:solidFill>
                <a:schemeClr val="tx1">
                  <a:lumMod val="50000"/>
                  <a:lumOff val="50000"/>
                </a:schemeClr>
              </a:solidFill>
              <a:ea typeface="微软雅黑" panose="020B0503020204020204" pitchFamily="34" charset="-122"/>
            </a:endParaRPr>
          </a:p>
        </p:txBody>
      </p:sp>
      <p:sp>
        <p:nvSpPr>
          <p:cNvPr id="18449" name="AutoShape 17"/>
          <p:cNvSpPr/>
          <p:nvPr/>
        </p:nvSpPr>
        <p:spPr bwMode="auto">
          <a:xfrm>
            <a:off x="2384116" y="4986645"/>
            <a:ext cx="1168248"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46" tIns="19046" rIns="19046" bIns="19046" anchor="ctr"/>
          <a:lstStyle/>
          <a:p>
            <a:pPr defTabSz="608965">
              <a:defRPr/>
            </a:pPr>
            <a:r>
              <a:rPr lang="zh-CN" altLang="en-US" sz="1600" dirty="0">
                <a:solidFill>
                  <a:schemeClr val="tx1">
                    <a:lumMod val="50000"/>
                    <a:lumOff val="50000"/>
                  </a:schemeClr>
                </a:solidFill>
                <a:ea typeface="微软雅黑" panose="020B0503020204020204" pitchFamily="34" charset="-122"/>
              </a:rPr>
              <a:t>这输入标题</a:t>
            </a:r>
            <a:endParaRPr lang="en-AU" altLang="zh-CN" sz="1600" dirty="0">
              <a:solidFill>
                <a:schemeClr val="tx1">
                  <a:lumMod val="50000"/>
                  <a:lumOff val="50000"/>
                </a:schemeClr>
              </a:solidFill>
              <a:latin typeface="Roboto Condensed" panose="02000000000000000000" pitchFamily="2" charset="0"/>
              <a:ea typeface="Arial" panose="020B0604020202020204"/>
              <a:cs typeface="Arial" panose="020B0604020202020204"/>
            </a:endParaRPr>
          </a:p>
        </p:txBody>
      </p:sp>
      <p:grpSp>
        <p:nvGrpSpPr>
          <p:cNvPr id="2" name="组合 1"/>
          <p:cNvGrpSpPr/>
          <p:nvPr/>
        </p:nvGrpSpPr>
        <p:grpSpPr>
          <a:xfrm>
            <a:off x="4104741" y="2514907"/>
            <a:ext cx="3974584" cy="3939381"/>
            <a:chOff x="3078361" y="1916307"/>
            <a:chExt cx="2981326" cy="2955448"/>
          </a:xfrm>
        </p:grpSpPr>
        <p:sp>
          <p:nvSpPr>
            <p:cNvPr id="18450" name="AutoShape 18"/>
            <p:cNvSpPr/>
            <p:nvPr/>
          </p:nvSpPr>
          <p:spPr bwMode="auto">
            <a:xfrm>
              <a:off x="3280172" y="2064586"/>
              <a:ext cx="2574727" cy="2591600"/>
            </a:xfrm>
            <a:custGeom>
              <a:avLst/>
              <a:gdLst>
                <a:gd name="T0" fmla="*/ 3432795 w 19679"/>
                <a:gd name="T1" fmla="*/ 3791607 h 19679"/>
                <a:gd name="T2" fmla="*/ 3432795 w 19679"/>
                <a:gd name="T3" fmla="*/ 3791607 h 19679"/>
                <a:gd name="T4" fmla="*/ 3432795 w 19679"/>
                <a:gd name="T5" fmla="*/ 3791607 h 19679"/>
                <a:gd name="T6" fmla="*/ 3432795 w 19679"/>
                <a:gd name="T7" fmla="*/ 379160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FFFFFF"/>
            </a:solidFill>
            <a:ln w="63500" cap="flat" cmpd="sng">
              <a:solidFill>
                <a:schemeClr val="accent2"/>
              </a:solidFill>
              <a:prstDash val="solid"/>
              <a:bevel/>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nchor="ctr"/>
            <a:lstStyle/>
            <a:p>
              <a:endParaRPr lang="zh-CN" altLang="en-US">
                <a:solidFill>
                  <a:schemeClr val="tx1">
                    <a:lumMod val="50000"/>
                    <a:lumOff val="50000"/>
                  </a:schemeClr>
                </a:solidFill>
              </a:endParaRPr>
            </a:p>
          </p:txBody>
        </p:sp>
        <p:sp>
          <p:nvSpPr>
            <p:cNvPr id="18451" name="AutoShape 19"/>
            <p:cNvSpPr/>
            <p:nvPr/>
          </p:nvSpPr>
          <p:spPr bwMode="auto">
            <a:xfrm rot="10800000">
              <a:off x="4383881" y="4481705"/>
              <a:ext cx="387549" cy="390050"/>
            </a:xfrm>
            <a:custGeom>
              <a:avLst/>
              <a:gdLst>
                <a:gd name="T0" fmla="*/ 516705 w 19679"/>
                <a:gd name="T1" fmla="*/ 570658 h 19679"/>
                <a:gd name="T2" fmla="*/ 516705 w 19679"/>
                <a:gd name="T3" fmla="*/ 570658 h 19679"/>
                <a:gd name="T4" fmla="*/ 516705 w 19679"/>
                <a:gd name="T5" fmla="*/ 570658 h 19679"/>
                <a:gd name="T6" fmla="*/ 516705 w 19679"/>
                <a:gd name="T7" fmla="*/ 57065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FFFFFF"/>
            </a:solidFill>
            <a:ln w="63500" cap="flat" cmpd="sng">
              <a:solidFill>
                <a:schemeClr val="accent2"/>
              </a:solidFill>
              <a:prstDash val="solid"/>
              <a:bevel/>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nchor="ctr"/>
            <a:lstStyle/>
            <a:p>
              <a:endParaRPr lang="zh-CN" altLang="en-US">
                <a:solidFill>
                  <a:schemeClr val="tx1">
                    <a:lumMod val="50000"/>
                    <a:lumOff val="50000"/>
                  </a:schemeClr>
                </a:solidFill>
              </a:endParaRPr>
            </a:p>
          </p:txBody>
        </p:sp>
        <p:sp>
          <p:nvSpPr>
            <p:cNvPr id="18452" name="AutoShape 20"/>
            <p:cNvSpPr/>
            <p:nvPr/>
          </p:nvSpPr>
          <p:spPr bwMode="auto">
            <a:xfrm rot="10800000">
              <a:off x="3443288" y="4081532"/>
              <a:ext cx="387549" cy="390050"/>
            </a:xfrm>
            <a:custGeom>
              <a:avLst/>
              <a:gdLst>
                <a:gd name="T0" fmla="*/ 516705 w 19679"/>
                <a:gd name="T1" fmla="*/ 570658 h 19679"/>
                <a:gd name="T2" fmla="*/ 516705 w 19679"/>
                <a:gd name="T3" fmla="*/ 570658 h 19679"/>
                <a:gd name="T4" fmla="*/ 516705 w 19679"/>
                <a:gd name="T5" fmla="*/ 570658 h 19679"/>
                <a:gd name="T6" fmla="*/ 516705 w 19679"/>
                <a:gd name="T7" fmla="*/ 57065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FFFFFF"/>
            </a:solidFill>
            <a:ln w="63500" cap="flat" cmpd="sng">
              <a:solidFill>
                <a:schemeClr val="accent2"/>
              </a:solidFill>
              <a:prstDash val="solid"/>
              <a:bevel/>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nchor="ctr"/>
            <a:lstStyle/>
            <a:p>
              <a:endParaRPr lang="zh-CN" altLang="en-US">
                <a:solidFill>
                  <a:schemeClr val="tx1">
                    <a:lumMod val="50000"/>
                    <a:lumOff val="50000"/>
                  </a:schemeClr>
                </a:solidFill>
              </a:endParaRPr>
            </a:p>
          </p:txBody>
        </p:sp>
        <p:sp>
          <p:nvSpPr>
            <p:cNvPr id="18453" name="AutoShape 21"/>
            <p:cNvSpPr/>
            <p:nvPr/>
          </p:nvSpPr>
          <p:spPr bwMode="auto">
            <a:xfrm rot="10800000">
              <a:off x="5253038" y="4095824"/>
              <a:ext cx="387549" cy="390050"/>
            </a:xfrm>
            <a:custGeom>
              <a:avLst/>
              <a:gdLst>
                <a:gd name="T0" fmla="*/ 516705 w 19679"/>
                <a:gd name="T1" fmla="*/ 570658 h 19679"/>
                <a:gd name="T2" fmla="*/ 516705 w 19679"/>
                <a:gd name="T3" fmla="*/ 570658 h 19679"/>
                <a:gd name="T4" fmla="*/ 516705 w 19679"/>
                <a:gd name="T5" fmla="*/ 570658 h 19679"/>
                <a:gd name="T6" fmla="*/ 516705 w 19679"/>
                <a:gd name="T7" fmla="*/ 57065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FFFFFF"/>
            </a:solidFill>
            <a:ln w="63500" cap="flat" cmpd="sng">
              <a:solidFill>
                <a:schemeClr val="accent2"/>
              </a:solidFill>
              <a:prstDash val="solid"/>
              <a:bevel/>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nchor="ctr"/>
            <a:lstStyle/>
            <a:p>
              <a:endParaRPr lang="zh-CN" altLang="en-US">
                <a:solidFill>
                  <a:schemeClr val="tx1">
                    <a:lumMod val="50000"/>
                    <a:lumOff val="50000"/>
                  </a:schemeClr>
                </a:solidFill>
              </a:endParaRPr>
            </a:p>
          </p:txBody>
        </p:sp>
        <p:sp>
          <p:nvSpPr>
            <p:cNvPr id="18454" name="AutoShape 22"/>
            <p:cNvSpPr/>
            <p:nvPr/>
          </p:nvSpPr>
          <p:spPr bwMode="auto">
            <a:xfrm rot="-4">
              <a:off x="4460677" y="4565671"/>
              <a:ext cx="232767" cy="193536"/>
            </a:xfrm>
            <a:custGeom>
              <a:avLst/>
              <a:gdLst>
                <a:gd name="T0" fmla="*/ 310356 w 21600"/>
                <a:gd name="T1" fmla="*/ 257969 h 21600"/>
                <a:gd name="T2" fmla="*/ 310356 w 21600"/>
                <a:gd name="T3" fmla="*/ 257969 h 21600"/>
                <a:gd name="T4" fmla="*/ 310356 w 21600"/>
                <a:gd name="T5" fmla="*/ 257969 h 21600"/>
                <a:gd name="T6" fmla="*/ 310356 w 21600"/>
                <a:gd name="T7" fmla="*/ 2579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0708" y="14020"/>
                  </a:moveTo>
                  <a:cubicBezTo>
                    <a:pt x="20951" y="14020"/>
                    <a:pt x="21161" y="14125"/>
                    <a:pt x="21335" y="14334"/>
                  </a:cubicBezTo>
                  <a:cubicBezTo>
                    <a:pt x="21511" y="14548"/>
                    <a:pt x="21600" y="14810"/>
                    <a:pt x="21600" y="15115"/>
                  </a:cubicBezTo>
                  <a:lnTo>
                    <a:pt x="21600" y="20504"/>
                  </a:lnTo>
                  <a:cubicBezTo>
                    <a:pt x="21600" y="20815"/>
                    <a:pt x="21511" y="21071"/>
                    <a:pt x="21335" y="21285"/>
                  </a:cubicBezTo>
                  <a:cubicBezTo>
                    <a:pt x="21161" y="21494"/>
                    <a:pt x="20951" y="21599"/>
                    <a:pt x="20708" y="21599"/>
                  </a:cubicBezTo>
                  <a:lnTo>
                    <a:pt x="16197" y="21599"/>
                  </a:lnTo>
                  <a:cubicBezTo>
                    <a:pt x="15940" y="21599"/>
                    <a:pt x="15729" y="21494"/>
                    <a:pt x="15563" y="21285"/>
                  </a:cubicBezTo>
                  <a:cubicBezTo>
                    <a:pt x="15399" y="21071"/>
                    <a:pt x="15316" y="20815"/>
                    <a:pt x="15316" y="20504"/>
                  </a:cubicBezTo>
                  <a:lnTo>
                    <a:pt x="15316" y="15115"/>
                  </a:lnTo>
                  <a:cubicBezTo>
                    <a:pt x="15316" y="14810"/>
                    <a:pt x="15399" y="14548"/>
                    <a:pt x="15570" y="14334"/>
                  </a:cubicBezTo>
                  <a:cubicBezTo>
                    <a:pt x="15737" y="14125"/>
                    <a:pt x="15945" y="14020"/>
                    <a:pt x="16197" y="14020"/>
                  </a:cubicBezTo>
                  <a:lnTo>
                    <a:pt x="17788" y="14020"/>
                  </a:lnTo>
                  <a:lnTo>
                    <a:pt x="17788" y="11869"/>
                  </a:lnTo>
                  <a:cubicBezTo>
                    <a:pt x="17788" y="11699"/>
                    <a:pt x="17707" y="11610"/>
                    <a:pt x="17543" y="11602"/>
                  </a:cubicBezTo>
                  <a:lnTo>
                    <a:pt x="11473" y="11602"/>
                  </a:lnTo>
                  <a:lnTo>
                    <a:pt x="11473" y="14019"/>
                  </a:lnTo>
                  <a:lnTo>
                    <a:pt x="13054" y="14019"/>
                  </a:lnTo>
                  <a:cubicBezTo>
                    <a:pt x="13296" y="14019"/>
                    <a:pt x="13507" y="14125"/>
                    <a:pt x="13681" y="14334"/>
                  </a:cubicBezTo>
                  <a:cubicBezTo>
                    <a:pt x="13857" y="14548"/>
                    <a:pt x="13945" y="14810"/>
                    <a:pt x="13945" y="15115"/>
                  </a:cubicBezTo>
                  <a:lnTo>
                    <a:pt x="13945" y="20504"/>
                  </a:lnTo>
                  <a:cubicBezTo>
                    <a:pt x="13945" y="20815"/>
                    <a:pt x="13857" y="21071"/>
                    <a:pt x="13681" y="21285"/>
                  </a:cubicBezTo>
                  <a:cubicBezTo>
                    <a:pt x="13507" y="21494"/>
                    <a:pt x="13296" y="21599"/>
                    <a:pt x="13054" y="21599"/>
                  </a:cubicBezTo>
                  <a:lnTo>
                    <a:pt x="8543" y="21599"/>
                  </a:lnTo>
                  <a:cubicBezTo>
                    <a:pt x="8298" y="21599"/>
                    <a:pt x="8090" y="21494"/>
                    <a:pt x="7913" y="21285"/>
                  </a:cubicBezTo>
                  <a:cubicBezTo>
                    <a:pt x="7740" y="21071"/>
                    <a:pt x="7651" y="20815"/>
                    <a:pt x="7651" y="20504"/>
                  </a:cubicBezTo>
                  <a:lnTo>
                    <a:pt x="7651" y="15115"/>
                  </a:lnTo>
                  <a:cubicBezTo>
                    <a:pt x="7651" y="14810"/>
                    <a:pt x="7740" y="14548"/>
                    <a:pt x="7913" y="14334"/>
                  </a:cubicBezTo>
                  <a:cubicBezTo>
                    <a:pt x="8090" y="14125"/>
                    <a:pt x="8298" y="14019"/>
                    <a:pt x="8543" y="14019"/>
                  </a:cubicBezTo>
                  <a:lnTo>
                    <a:pt x="10124" y="14019"/>
                  </a:lnTo>
                  <a:lnTo>
                    <a:pt x="10124" y="11602"/>
                  </a:lnTo>
                  <a:lnTo>
                    <a:pt x="4056" y="11602"/>
                  </a:lnTo>
                  <a:cubicBezTo>
                    <a:pt x="3901" y="11602"/>
                    <a:pt x="3821" y="11690"/>
                    <a:pt x="3821" y="11869"/>
                  </a:cubicBezTo>
                  <a:lnTo>
                    <a:pt x="3821" y="14020"/>
                  </a:lnTo>
                  <a:lnTo>
                    <a:pt x="5402" y="14020"/>
                  </a:lnTo>
                  <a:cubicBezTo>
                    <a:pt x="5661" y="14020"/>
                    <a:pt x="5874" y="14125"/>
                    <a:pt x="6053" y="14334"/>
                  </a:cubicBezTo>
                  <a:cubicBezTo>
                    <a:pt x="6229" y="14548"/>
                    <a:pt x="6315" y="14810"/>
                    <a:pt x="6315" y="15115"/>
                  </a:cubicBezTo>
                  <a:lnTo>
                    <a:pt x="6315" y="20504"/>
                  </a:lnTo>
                  <a:cubicBezTo>
                    <a:pt x="6315" y="20815"/>
                    <a:pt x="6229" y="21071"/>
                    <a:pt x="6053" y="21285"/>
                  </a:cubicBezTo>
                  <a:cubicBezTo>
                    <a:pt x="5877" y="21494"/>
                    <a:pt x="5664" y="21599"/>
                    <a:pt x="5402" y="21599"/>
                  </a:cubicBezTo>
                  <a:lnTo>
                    <a:pt x="913" y="21599"/>
                  </a:lnTo>
                  <a:cubicBezTo>
                    <a:pt x="658" y="21599"/>
                    <a:pt x="440" y="21494"/>
                    <a:pt x="261" y="21285"/>
                  </a:cubicBezTo>
                  <a:cubicBezTo>
                    <a:pt x="88" y="21071"/>
                    <a:pt x="0" y="20815"/>
                    <a:pt x="0" y="20504"/>
                  </a:cubicBezTo>
                  <a:lnTo>
                    <a:pt x="0" y="15115"/>
                  </a:lnTo>
                  <a:cubicBezTo>
                    <a:pt x="0" y="14810"/>
                    <a:pt x="88" y="14548"/>
                    <a:pt x="261" y="14334"/>
                  </a:cubicBezTo>
                  <a:cubicBezTo>
                    <a:pt x="438" y="14125"/>
                    <a:pt x="656" y="14020"/>
                    <a:pt x="913" y="14020"/>
                  </a:cubicBezTo>
                  <a:lnTo>
                    <a:pt x="2472" y="14020"/>
                  </a:lnTo>
                  <a:lnTo>
                    <a:pt x="2472" y="11869"/>
                  </a:lnTo>
                  <a:cubicBezTo>
                    <a:pt x="2472" y="11352"/>
                    <a:pt x="2629" y="10911"/>
                    <a:pt x="2942" y="10544"/>
                  </a:cubicBezTo>
                  <a:cubicBezTo>
                    <a:pt x="3253" y="10180"/>
                    <a:pt x="3622" y="9997"/>
                    <a:pt x="4053" y="9997"/>
                  </a:cubicBezTo>
                  <a:lnTo>
                    <a:pt x="10121" y="9997"/>
                  </a:lnTo>
                  <a:lnTo>
                    <a:pt x="10121" y="7550"/>
                  </a:lnTo>
                  <a:lnTo>
                    <a:pt x="8540" y="7550"/>
                  </a:lnTo>
                  <a:cubicBezTo>
                    <a:pt x="8295" y="7550"/>
                    <a:pt x="8087" y="7450"/>
                    <a:pt x="7911" y="7247"/>
                  </a:cubicBezTo>
                  <a:cubicBezTo>
                    <a:pt x="7737" y="7045"/>
                    <a:pt x="7649" y="6789"/>
                    <a:pt x="7649" y="6484"/>
                  </a:cubicBezTo>
                  <a:lnTo>
                    <a:pt x="7649" y="1066"/>
                  </a:lnTo>
                  <a:cubicBezTo>
                    <a:pt x="7649" y="775"/>
                    <a:pt x="7737" y="522"/>
                    <a:pt x="7911" y="314"/>
                  </a:cubicBezTo>
                  <a:cubicBezTo>
                    <a:pt x="8087" y="102"/>
                    <a:pt x="8295" y="0"/>
                    <a:pt x="8540" y="0"/>
                  </a:cubicBezTo>
                  <a:lnTo>
                    <a:pt x="13052" y="0"/>
                  </a:lnTo>
                  <a:cubicBezTo>
                    <a:pt x="13294" y="0"/>
                    <a:pt x="13504" y="102"/>
                    <a:pt x="13678" y="314"/>
                  </a:cubicBezTo>
                  <a:cubicBezTo>
                    <a:pt x="13854" y="522"/>
                    <a:pt x="13943" y="775"/>
                    <a:pt x="13943" y="1066"/>
                  </a:cubicBezTo>
                  <a:lnTo>
                    <a:pt x="13943" y="6484"/>
                  </a:lnTo>
                  <a:cubicBezTo>
                    <a:pt x="13943" y="6789"/>
                    <a:pt x="13854" y="7045"/>
                    <a:pt x="13678" y="7247"/>
                  </a:cubicBezTo>
                  <a:cubicBezTo>
                    <a:pt x="13504" y="7450"/>
                    <a:pt x="13294" y="7550"/>
                    <a:pt x="13052" y="7550"/>
                  </a:cubicBezTo>
                  <a:lnTo>
                    <a:pt x="11470" y="7550"/>
                  </a:lnTo>
                  <a:lnTo>
                    <a:pt x="11470" y="9997"/>
                  </a:lnTo>
                  <a:lnTo>
                    <a:pt x="17541" y="9997"/>
                  </a:lnTo>
                  <a:cubicBezTo>
                    <a:pt x="17969" y="9997"/>
                    <a:pt x="18339" y="10177"/>
                    <a:pt x="18652" y="10538"/>
                  </a:cubicBezTo>
                  <a:cubicBezTo>
                    <a:pt x="18966" y="10899"/>
                    <a:pt x="19122" y="11343"/>
                    <a:pt x="19122" y="11869"/>
                  </a:cubicBezTo>
                  <a:lnTo>
                    <a:pt x="19122" y="14020"/>
                  </a:lnTo>
                  <a:lnTo>
                    <a:pt x="20708" y="14020"/>
                  </a:lnTo>
                  <a:close/>
                </a:path>
              </a:pathLst>
            </a:custGeom>
            <a:solidFill>
              <a:schemeClr val="accent3"/>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sp>
          <p:nvSpPr>
            <p:cNvPr id="18455" name="AutoShape 23"/>
            <p:cNvSpPr/>
            <p:nvPr/>
          </p:nvSpPr>
          <p:spPr bwMode="auto">
            <a:xfrm rot="-4">
              <a:off x="3520083" y="4171452"/>
              <a:ext cx="232172" cy="193536"/>
            </a:xfrm>
            <a:custGeom>
              <a:avLst/>
              <a:gdLst>
                <a:gd name="T0" fmla="*/ 309563 w 21600"/>
                <a:gd name="T1" fmla="*/ 257957 h 21579"/>
                <a:gd name="T2" fmla="*/ 309563 w 21600"/>
                <a:gd name="T3" fmla="*/ 257957 h 21579"/>
                <a:gd name="T4" fmla="*/ 309563 w 21600"/>
                <a:gd name="T5" fmla="*/ 257957 h 21579"/>
                <a:gd name="T6" fmla="*/ 309563 w 21600"/>
                <a:gd name="T7" fmla="*/ 257957 h 215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579">
                  <a:moveTo>
                    <a:pt x="21600" y="9391"/>
                  </a:moveTo>
                  <a:cubicBezTo>
                    <a:pt x="21600" y="9887"/>
                    <a:pt x="21472" y="10321"/>
                    <a:pt x="21218" y="10697"/>
                  </a:cubicBezTo>
                  <a:cubicBezTo>
                    <a:pt x="20963" y="11072"/>
                    <a:pt x="20647" y="11313"/>
                    <a:pt x="20263" y="11427"/>
                  </a:cubicBezTo>
                  <a:lnTo>
                    <a:pt x="20263" y="16610"/>
                  </a:lnTo>
                  <a:cubicBezTo>
                    <a:pt x="20263" y="17200"/>
                    <a:pt x="20087" y="17708"/>
                    <a:pt x="19729" y="18128"/>
                  </a:cubicBezTo>
                  <a:cubicBezTo>
                    <a:pt x="19374" y="18550"/>
                    <a:pt x="18951" y="18758"/>
                    <a:pt x="18459" y="18758"/>
                  </a:cubicBezTo>
                  <a:cubicBezTo>
                    <a:pt x="17927" y="18122"/>
                    <a:pt x="17286" y="17505"/>
                    <a:pt x="16537" y="16904"/>
                  </a:cubicBezTo>
                  <a:cubicBezTo>
                    <a:pt x="15785" y="16305"/>
                    <a:pt x="14980" y="15756"/>
                    <a:pt x="14116" y="15254"/>
                  </a:cubicBezTo>
                  <a:cubicBezTo>
                    <a:pt x="13254" y="14755"/>
                    <a:pt x="12363" y="14324"/>
                    <a:pt x="11449" y="13969"/>
                  </a:cubicBezTo>
                  <a:cubicBezTo>
                    <a:pt x="10536" y="13614"/>
                    <a:pt x="9648" y="13379"/>
                    <a:pt x="8788" y="13267"/>
                  </a:cubicBezTo>
                  <a:cubicBezTo>
                    <a:pt x="8453" y="13379"/>
                    <a:pt x="8179" y="13564"/>
                    <a:pt x="7968" y="13828"/>
                  </a:cubicBezTo>
                  <a:cubicBezTo>
                    <a:pt x="7758" y="14092"/>
                    <a:pt x="7613" y="14386"/>
                    <a:pt x="7535" y="14706"/>
                  </a:cubicBezTo>
                  <a:cubicBezTo>
                    <a:pt x="7457" y="15028"/>
                    <a:pt x="7449" y="15360"/>
                    <a:pt x="7510" y="15698"/>
                  </a:cubicBezTo>
                  <a:cubicBezTo>
                    <a:pt x="7574" y="16035"/>
                    <a:pt x="7719" y="16340"/>
                    <a:pt x="7946" y="16610"/>
                  </a:cubicBezTo>
                  <a:cubicBezTo>
                    <a:pt x="7750" y="16992"/>
                    <a:pt x="7660" y="17347"/>
                    <a:pt x="7677" y="17673"/>
                  </a:cubicBezTo>
                  <a:cubicBezTo>
                    <a:pt x="7692" y="17993"/>
                    <a:pt x="7772" y="18307"/>
                    <a:pt x="7917" y="18606"/>
                  </a:cubicBezTo>
                  <a:cubicBezTo>
                    <a:pt x="8059" y="18908"/>
                    <a:pt x="8255" y="19193"/>
                    <a:pt x="8497" y="19469"/>
                  </a:cubicBezTo>
                  <a:cubicBezTo>
                    <a:pt x="8737" y="19745"/>
                    <a:pt x="8996" y="20021"/>
                    <a:pt x="9271" y="20291"/>
                  </a:cubicBezTo>
                  <a:cubicBezTo>
                    <a:pt x="9114" y="20696"/>
                    <a:pt x="8842" y="21001"/>
                    <a:pt x="8455" y="21212"/>
                  </a:cubicBezTo>
                  <a:cubicBezTo>
                    <a:pt x="8069" y="21423"/>
                    <a:pt x="7655" y="21541"/>
                    <a:pt x="7212" y="21570"/>
                  </a:cubicBezTo>
                  <a:cubicBezTo>
                    <a:pt x="6771" y="21599"/>
                    <a:pt x="6340" y="21550"/>
                    <a:pt x="5917" y="21423"/>
                  </a:cubicBezTo>
                  <a:cubicBezTo>
                    <a:pt x="5496" y="21294"/>
                    <a:pt x="5163" y="21092"/>
                    <a:pt x="4923" y="20810"/>
                  </a:cubicBezTo>
                  <a:cubicBezTo>
                    <a:pt x="4781" y="20241"/>
                    <a:pt x="4624" y="19657"/>
                    <a:pt x="4453" y="19055"/>
                  </a:cubicBezTo>
                  <a:cubicBezTo>
                    <a:pt x="4281" y="18453"/>
                    <a:pt x="4139" y="17843"/>
                    <a:pt x="4032" y="17224"/>
                  </a:cubicBezTo>
                  <a:cubicBezTo>
                    <a:pt x="3921" y="16599"/>
                    <a:pt x="3868" y="15953"/>
                    <a:pt x="3868" y="15281"/>
                  </a:cubicBezTo>
                  <a:cubicBezTo>
                    <a:pt x="3868" y="14615"/>
                    <a:pt x="3961" y="13905"/>
                    <a:pt x="4149" y="13153"/>
                  </a:cubicBezTo>
                  <a:lnTo>
                    <a:pt x="1804" y="13153"/>
                  </a:lnTo>
                  <a:cubicBezTo>
                    <a:pt x="1312" y="13153"/>
                    <a:pt x="888" y="12945"/>
                    <a:pt x="533" y="12522"/>
                  </a:cubicBezTo>
                  <a:cubicBezTo>
                    <a:pt x="176" y="12100"/>
                    <a:pt x="0" y="11592"/>
                    <a:pt x="0" y="10990"/>
                  </a:cubicBezTo>
                  <a:lnTo>
                    <a:pt x="0" y="7774"/>
                  </a:lnTo>
                  <a:cubicBezTo>
                    <a:pt x="0" y="7184"/>
                    <a:pt x="176" y="6676"/>
                    <a:pt x="526" y="6245"/>
                  </a:cubicBezTo>
                  <a:cubicBezTo>
                    <a:pt x="878" y="5819"/>
                    <a:pt x="1304" y="5605"/>
                    <a:pt x="1804" y="5605"/>
                  </a:cubicBezTo>
                  <a:lnTo>
                    <a:pt x="7652" y="5605"/>
                  </a:lnTo>
                  <a:cubicBezTo>
                    <a:pt x="8551" y="5605"/>
                    <a:pt x="9508" y="5449"/>
                    <a:pt x="10524" y="5135"/>
                  </a:cubicBezTo>
                  <a:cubicBezTo>
                    <a:pt x="11540" y="4821"/>
                    <a:pt x="12536" y="4399"/>
                    <a:pt x="13511" y="3873"/>
                  </a:cubicBezTo>
                  <a:cubicBezTo>
                    <a:pt x="14488" y="3342"/>
                    <a:pt x="15408" y="2744"/>
                    <a:pt x="16272" y="2071"/>
                  </a:cubicBezTo>
                  <a:cubicBezTo>
                    <a:pt x="17134" y="1405"/>
                    <a:pt x="17864" y="713"/>
                    <a:pt x="18459" y="0"/>
                  </a:cubicBezTo>
                  <a:cubicBezTo>
                    <a:pt x="18951" y="0"/>
                    <a:pt x="19374" y="214"/>
                    <a:pt x="19729" y="633"/>
                  </a:cubicBezTo>
                  <a:cubicBezTo>
                    <a:pt x="20087" y="1056"/>
                    <a:pt x="20263" y="1567"/>
                    <a:pt x="20263" y="2165"/>
                  </a:cubicBezTo>
                  <a:lnTo>
                    <a:pt x="20263" y="7334"/>
                  </a:lnTo>
                  <a:cubicBezTo>
                    <a:pt x="20647" y="7445"/>
                    <a:pt x="20963" y="7692"/>
                    <a:pt x="21218" y="8070"/>
                  </a:cubicBezTo>
                  <a:cubicBezTo>
                    <a:pt x="21472" y="8454"/>
                    <a:pt x="21600" y="8895"/>
                    <a:pt x="21600" y="9391"/>
                  </a:cubicBezTo>
                  <a:moveTo>
                    <a:pt x="18459" y="2855"/>
                  </a:moveTo>
                  <a:cubicBezTo>
                    <a:pt x="17864" y="3407"/>
                    <a:pt x="17215" y="3941"/>
                    <a:pt x="16512" y="4451"/>
                  </a:cubicBezTo>
                  <a:cubicBezTo>
                    <a:pt x="15810" y="4962"/>
                    <a:pt x="15065" y="5423"/>
                    <a:pt x="14280" y="5834"/>
                  </a:cubicBezTo>
                  <a:cubicBezTo>
                    <a:pt x="13494" y="6245"/>
                    <a:pt x="12693" y="6609"/>
                    <a:pt x="11878" y="6923"/>
                  </a:cubicBezTo>
                  <a:cubicBezTo>
                    <a:pt x="11060" y="7237"/>
                    <a:pt x="10255" y="7462"/>
                    <a:pt x="9457" y="7603"/>
                  </a:cubicBezTo>
                  <a:lnTo>
                    <a:pt x="9457" y="11172"/>
                  </a:lnTo>
                  <a:cubicBezTo>
                    <a:pt x="10255" y="11325"/>
                    <a:pt x="11060" y="11554"/>
                    <a:pt x="11878" y="11862"/>
                  </a:cubicBezTo>
                  <a:cubicBezTo>
                    <a:pt x="12693" y="12170"/>
                    <a:pt x="13494" y="12537"/>
                    <a:pt x="14280" y="12956"/>
                  </a:cubicBezTo>
                  <a:cubicBezTo>
                    <a:pt x="15065" y="13379"/>
                    <a:pt x="15812" y="13843"/>
                    <a:pt x="16524" y="14347"/>
                  </a:cubicBezTo>
                  <a:cubicBezTo>
                    <a:pt x="17234" y="14855"/>
                    <a:pt x="17881" y="15380"/>
                    <a:pt x="18459" y="15921"/>
                  </a:cubicBezTo>
                  <a:lnTo>
                    <a:pt x="18459" y="2855"/>
                  </a:lnTo>
                  <a:close/>
                </a:path>
              </a:pathLst>
            </a:custGeom>
            <a:solidFill>
              <a:schemeClr val="accent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sp>
          <p:nvSpPr>
            <p:cNvPr id="18456" name="AutoShape 24"/>
            <p:cNvSpPr/>
            <p:nvPr/>
          </p:nvSpPr>
          <p:spPr bwMode="auto">
            <a:xfrm rot="-4">
              <a:off x="5331024" y="4182171"/>
              <a:ext cx="232172" cy="232244"/>
            </a:xfrm>
            <a:custGeom>
              <a:avLst/>
              <a:gdLst>
                <a:gd name="T0" fmla="*/ 309563 w 21600"/>
                <a:gd name="T1" fmla="*/ 309563 h 21600"/>
                <a:gd name="T2" fmla="*/ 309563 w 21600"/>
                <a:gd name="T3" fmla="*/ 309563 h 21600"/>
                <a:gd name="T4" fmla="*/ 309563 w 21600"/>
                <a:gd name="T5" fmla="*/ 309563 h 21600"/>
                <a:gd name="T6" fmla="*/ 309563 w 21600"/>
                <a:gd name="T7" fmla="*/ 30956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9987" y="2580"/>
                  </a:moveTo>
                  <a:cubicBezTo>
                    <a:pt x="20419" y="2580"/>
                    <a:pt x="20793" y="2735"/>
                    <a:pt x="21116" y="3052"/>
                  </a:cubicBezTo>
                  <a:cubicBezTo>
                    <a:pt x="21438" y="3372"/>
                    <a:pt x="21599" y="3743"/>
                    <a:pt x="21599" y="4175"/>
                  </a:cubicBezTo>
                  <a:lnTo>
                    <a:pt x="21599" y="19987"/>
                  </a:lnTo>
                  <a:cubicBezTo>
                    <a:pt x="21599" y="20419"/>
                    <a:pt x="21438" y="20796"/>
                    <a:pt x="21116" y="21116"/>
                  </a:cubicBezTo>
                  <a:cubicBezTo>
                    <a:pt x="20793" y="21438"/>
                    <a:pt x="20419" y="21600"/>
                    <a:pt x="19987" y="21600"/>
                  </a:cubicBezTo>
                  <a:lnTo>
                    <a:pt x="1612" y="21600"/>
                  </a:lnTo>
                  <a:cubicBezTo>
                    <a:pt x="1180" y="21600"/>
                    <a:pt x="806" y="21438"/>
                    <a:pt x="483" y="21116"/>
                  </a:cubicBezTo>
                  <a:cubicBezTo>
                    <a:pt x="161" y="20796"/>
                    <a:pt x="0" y="20419"/>
                    <a:pt x="0" y="19987"/>
                  </a:cubicBezTo>
                  <a:lnTo>
                    <a:pt x="0" y="4175"/>
                  </a:lnTo>
                  <a:cubicBezTo>
                    <a:pt x="0" y="3743"/>
                    <a:pt x="161" y="3372"/>
                    <a:pt x="483" y="3052"/>
                  </a:cubicBezTo>
                  <a:cubicBezTo>
                    <a:pt x="806" y="2735"/>
                    <a:pt x="1180" y="2580"/>
                    <a:pt x="1612" y="2580"/>
                  </a:cubicBezTo>
                  <a:lnTo>
                    <a:pt x="2150" y="2580"/>
                  </a:lnTo>
                  <a:lnTo>
                    <a:pt x="2150" y="2401"/>
                  </a:lnTo>
                  <a:cubicBezTo>
                    <a:pt x="2150" y="2116"/>
                    <a:pt x="2196" y="1828"/>
                    <a:pt x="2288" y="1540"/>
                  </a:cubicBezTo>
                  <a:cubicBezTo>
                    <a:pt x="2381" y="1249"/>
                    <a:pt x="2530" y="990"/>
                    <a:pt x="2738" y="766"/>
                  </a:cubicBezTo>
                  <a:cubicBezTo>
                    <a:pt x="2942" y="541"/>
                    <a:pt x="3216" y="360"/>
                    <a:pt x="3555" y="213"/>
                  </a:cubicBezTo>
                  <a:cubicBezTo>
                    <a:pt x="3895" y="75"/>
                    <a:pt x="4310" y="0"/>
                    <a:pt x="4796" y="0"/>
                  </a:cubicBezTo>
                  <a:cubicBezTo>
                    <a:pt x="5283" y="0"/>
                    <a:pt x="5698" y="75"/>
                    <a:pt x="6037" y="213"/>
                  </a:cubicBezTo>
                  <a:cubicBezTo>
                    <a:pt x="6377" y="360"/>
                    <a:pt x="6651" y="541"/>
                    <a:pt x="6858" y="766"/>
                  </a:cubicBezTo>
                  <a:cubicBezTo>
                    <a:pt x="7062" y="990"/>
                    <a:pt x="7215" y="1255"/>
                    <a:pt x="7313" y="1546"/>
                  </a:cubicBezTo>
                  <a:cubicBezTo>
                    <a:pt x="7411" y="1840"/>
                    <a:pt x="7457" y="2125"/>
                    <a:pt x="7457" y="2401"/>
                  </a:cubicBezTo>
                  <a:lnTo>
                    <a:pt x="7457" y="2580"/>
                  </a:lnTo>
                  <a:lnTo>
                    <a:pt x="8133" y="2580"/>
                  </a:lnTo>
                  <a:lnTo>
                    <a:pt x="8133" y="2401"/>
                  </a:lnTo>
                  <a:cubicBezTo>
                    <a:pt x="8133" y="2116"/>
                    <a:pt x="8179" y="1828"/>
                    <a:pt x="8269" y="1540"/>
                  </a:cubicBezTo>
                  <a:cubicBezTo>
                    <a:pt x="8364" y="1249"/>
                    <a:pt x="8511" y="990"/>
                    <a:pt x="8718" y="766"/>
                  </a:cubicBezTo>
                  <a:cubicBezTo>
                    <a:pt x="8925" y="541"/>
                    <a:pt x="9199" y="360"/>
                    <a:pt x="9538" y="213"/>
                  </a:cubicBezTo>
                  <a:cubicBezTo>
                    <a:pt x="9878" y="74"/>
                    <a:pt x="10293" y="0"/>
                    <a:pt x="10779" y="0"/>
                  </a:cubicBezTo>
                  <a:cubicBezTo>
                    <a:pt x="11266" y="0"/>
                    <a:pt x="11678" y="74"/>
                    <a:pt x="12020" y="213"/>
                  </a:cubicBezTo>
                  <a:cubicBezTo>
                    <a:pt x="12360" y="360"/>
                    <a:pt x="12636" y="541"/>
                    <a:pt x="12852" y="766"/>
                  </a:cubicBezTo>
                  <a:cubicBezTo>
                    <a:pt x="13068" y="990"/>
                    <a:pt x="13227" y="1255"/>
                    <a:pt x="13322" y="1546"/>
                  </a:cubicBezTo>
                  <a:cubicBezTo>
                    <a:pt x="13417" y="1840"/>
                    <a:pt x="13469" y="2125"/>
                    <a:pt x="13469" y="2401"/>
                  </a:cubicBezTo>
                  <a:lnTo>
                    <a:pt x="13469" y="2580"/>
                  </a:lnTo>
                  <a:lnTo>
                    <a:pt x="14142" y="2580"/>
                  </a:lnTo>
                  <a:lnTo>
                    <a:pt x="14142" y="2401"/>
                  </a:lnTo>
                  <a:cubicBezTo>
                    <a:pt x="14142" y="2116"/>
                    <a:pt x="14191" y="1828"/>
                    <a:pt x="14286" y="1540"/>
                  </a:cubicBezTo>
                  <a:cubicBezTo>
                    <a:pt x="14384" y="1249"/>
                    <a:pt x="14534" y="990"/>
                    <a:pt x="14741" y="765"/>
                  </a:cubicBezTo>
                  <a:cubicBezTo>
                    <a:pt x="14948" y="541"/>
                    <a:pt x="15219" y="359"/>
                    <a:pt x="15556" y="213"/>
                  </a:cubicBezTo>
                  <a:cubicBezTo>
                    <a:pt x="15890" y="74"/>
                    <a:pt x="16305" y="0"/>
                    <a:pt x="16803" y="0"/>
                  </a:cubicBezTo>
                  <a:cubicBezTo>
                    <a:pt x="17289" y="0"/>
                    <a:pt x="17704" y="74"/>
                    <a:pt x="18044" y="213"/>
                  </a:cubicBezTo>
                  <a:cubicBezTo>
                    <a:pt x="18383" y="359"/>
                    <a:pt x="18657" y="541"/>
                    <a:pt x="18864" y="765"/>
                  </a:cubicBezTo>
                  <a:cubicBezTo>
                    <a:pt x="19069" y="990"/>
                    <a:pt x="19218" y="1255"/>
                    <a:pt x="19311" y="1546"/>
                  </a:cubicBezTo>
                  <a:cubicBezTo>
                    <a:pt x="19403" y="1839"/>
                    <a:pt x="19449" y="2125"/>
                    <a:pt x="19449" y="2401"/>
                  </a:cubicBezTo>
                  <a:lnTo>
                    <a:pt x="19449" y="2580"/>
                  </a:lnTo>
                  <a:lnTo>
                    <a:pt x="19987" y="2580"/>
                  </a:lnTo>
                  <a:close/>
                  <a:moveTo>
                    <a:pt x="6066" y="7968"/>
                  </a:moveTo>
                  <a:lnTo>
                    <a:pt x="2179" y="7968"/>
                  </a:lnTo>
                  <a:lnTo>
                    <a:pt x="2179" y="11443"/>
                  </a:lnTo>
                  <a:lnTo>
                    <a:pt x="6066" y="11443"/>
                  </a:lnTo>
                  <a:lnTo>
                    <a:pt x="6066" y="7968"/>
                  </a:lnTo>
                  <a:close/>
                  <a:moveTo>
                    <a:pt x="6066" y="11976"/>
                  </a:moveTo>
                  <a:lnTo>
                    <a:pt x="2179" y="11976"/>
                  </a:lnTo>
                  <a:lnTo>
                    <a:pt x="2179" y="15452"/>
                  </a:lnTo>
                  <a:lnTo>
                    <a:pt x="6066" y="15452"/>
                  </a:lnTo>
                  <a:lnTo>
                    <a:pt x="6066" y="11976"/>
                  </a:lnTo>
                  <a:close/>
                  <a:moveTo>
                    <a:pt x="6066" y="15976"/>
                  </a:moveTo>
                  <a:lnTo>
                    <a:pt x="2179" y="15976"/>
                  </a:lnTo>
                  <a:lnTo>
                    <a:pt x="2179" y="19422"/>
                  </a:lnTo>
                  <a:lnTo>
                    <a:pt x="6066" y="19422"/>
                  </a:lnTo>
                  <a:lnTo>
                    <a:pt x="6066" y="15976"/>
                  </a:lnTo>
                  <a:close/>
                  <a:moveTo>
                    <a:pt x="3754" y="5543"/>
                  </a:moveTo>
                  <a:cubicBezTo>
                    <a:pt x="3754" y="6067"/>
                    <a:pt x="4102" y="6323"/>
                    <a:pt x="4799" y="6323"/>
                  </a:cubicBezTo>
                  <a:cubicBezTo>
                    <a:pt x="5499" y="6323"/>
                    <a:pt x="5847" y="6067"/>
                    <a:pt x="5847" y="5543"/>
                  </a:cubicBezTo>
                  <a:lnTo>
                    <a:pt x="5847" y="2398"/>
                  </a:lnTo>
                  <a:cubicBezTo>
                    <a:pt x="5847" y="1877"/>
                    <a:pt x="5499" y="1612"/>
                    <a:pt x="4799" y="1612"/>
                  </a:cubicBezTo>
                  <a:cubicBezTo>
                    <a:pt x="4102" y="1612"/>
                    <a:pt x="3754" y="1877"/>
                    <a:pt x="3754" y="2398"/>
                  </a:cubicBezTo>
                  <a:lnTo>
                    <a:pt x="3754" y="5543"/>
                  </a:lnTo>
                  <a:close/>
                  <a:moveTo>
                    <a:pt x="10535" y="7968"/>
                  </a:moveTo>
                  <a:lnTo>
                    <a:pt x="6607" y="7968"/>
                  </a:lnTo>
                  <a:lnTo>
                    <a:pt x="6607" y="11443"/>
                  </a:lnTo>
                  <a:lnTo>
                    <a:pt x="10535" y="11443"/>
                  </a:lnTo>
                  <a:lnTo>
                    <a:pt x="10535" y="7968"/>
                  </a:lnTo>
                  <a:close/>
                  <a:moveTo>
                    <a:pt x="10535" y="11976"/>
                  </a:moveTo>
                  <a:lnTo>
                    <a:pt x="6607" y="11976"/>
                  </a:lnTo>
                  <a:lnTo>
                    <a:pt x="6607" y="15452"/>
                  </a:lnTo>
                  <a:lnTo>
                    <a:pt x="10535" y="15452"/>
                  </a:lnTo>
                  <a:lnTo>
                    <a:pt x="10535" y="11976"/>
                  </a:lnTo>
                  <a:close/>
                  <a:moveTo>
                    <a:pt x="10535" y="15976"/>
                  </a:moveTo>
                  <a:lnTo>
                    <a:pt x="6607" y="15976"/>
                  </a:lnTo>
                  <a:lnTo>
                    <a:pt x="6607" y="19422"/>
                  </a:lnTo>
                  <a:lnTo>
                    <a:pt x="10535" y="19422"/>
                  </a:lnTo>
                  <a:lnTo>
                    <a:pt x="10535" y="15976"/>
                  </a:lnTo>
                  <a:close/>
                  <a:moveTo>
                    <a:pt x="9774" y="5543"/>
                  </a:moveTo>
                  <a:cubicBezTo>
                    <a:pt x="9774" y="5825"/>
                    <a:pt x="9849" y="6027"/>
                    <a:pt x="9996" y="6145"/>
                  </a:cubicBezTo>
                  <a:cubicBezTo>
                    <a:pt x="10143" y="6269"/>
                    <a:pt x="10405" y="6323"/>
                    <a:pt x="10782" y="6323"/>
                  </a:cubicBezTo>
                  <a:cubicBezTo>
                    <a:pt x="11159" y="6323"/>
                    <a:pt x="11427" y="6263"/>
                    <a:pt x="11588" y="6139"/>
                  </a:cubicBezTo>
                  <a:cubicBezTo>
                    <a:pt x="11750" y="6015"/>
                    <a:pt x="11830" y="5819"/>
                    <a:pt x="11830" y="5543"/>
                  </a:cubicBezTo>
                  <a:lnTo>
                    <a:pt x="11830" y="2398"/>
                  </a:lnTo>
                  <a:cubicBezTo>
                    <a:pt x="11830" y="2128"/>
                    <a:pt x="11750" y="1932"/>
                    <a:pt x="11588" y="1802"/>
                  </a:cubicBezTo>
                  <a:cubicBezTo>
                    <a:pt x="11427" y="1673"/>
                    <a:pt x="11159" y="1612"/>
                    <a:pt x="10782" y="1612"/>
                  </a:cubicBezTo>
                  <a:cubicBezTo>
                    <a:pt x="10405" y="1612"/>
                    <a:pt x="10143" y="1679"/>
                    <a:pt x="9996" y="1814"/>
                  </a:cubicBezTo>
                  <a:cubicBezTo>
                    <a:pt x="9849" y="1944"/>
                    <a:pt x="9774" y="2139"/>
                    <a:pt x="9774" y="2398"/>
                  </a:cubicBezTo>
                  <a:lnTo>
                    <a:pt x="9774" y="5543"/>
                  </a:lnTo>
                  <a:close/>
                  <a:moveTo>
                    <a:pt x="14986" y="7968"/>
                  </a:moveTo>
                  <a:lnTo>
                    <a:pt x="11073" y="7968"/>
                  </a:lnTo>
                  <a:lnTo>
                    <a:pt x="11073" y="11443"/>
                  </a:lnTo>
                  <a:lnTo>
                    <a:pt x="14986" y="11443"/>
                  </a:lnTo>
                  <a:lnTo>
                    <a:pt x="14986" y="7968"/>
                  </a:lnTo>
                  <a:close/>
                  <a:moveTo>
                    <a:pt x="14986" y="11976"/>
                  </a:moveTo>
                  <a:lnTo>
                    <a:pt x="11073" y="11976"/>
                  </a:lnTo>
                  <a:lnTo>
                    <a:pt x="11073" y="15452"/>
                  </a:lnTo>
                  <a:lnTo>
                    <a:pt x="14986" y="15452"/>
                  </a:lnTo>
                  <a:lnTo>
                    <a:pt x="14986" y="11976"/>
                  </a:lnTo>
                  <a:close/>
                  <a:moveTo>
                    <a:pt x="14986" y="15976"/>
                  </a:moveTo>
                  <a:lnTo>
                    <a:pt x="11073" y="15976"/>
                  </a:lnTo>
                  <a:lnTo>
                    <a:pt x="11073" y="19422"/>
                  </a:lnTo>
                  <a:lnTo>
                    <a:pt x="14986" y="19422"/>
                  </a:lnTo>
                  <a:lnTo>
                    <a:pt x="14986" y="15976"/>
                  </a:lnTo>
                  <a:close/>
                  <a:moveTo>
                    <a:pt x="19423" y="7968"/>
                  </a:moveTo>
                  <a:lnTo>
                    <a:pt x="15521" y="7968"/>
                  </a:lnTo>
                  <a:lnTo>
                    <a:pt x="15521" y="11443"/>
                  </a:lnTo>
                  <a:lnTo>
                    <a:pt x="19423" y="11443"/>
                  </a:lnTo>
                  <a:lnTo>
                    <a:pt x="19423" y="7968"/>
                  </a:lnTo>
                  <a:close/>
                  <a:moveTo>
                    <a:pt x="19423" y="11976"/>
                  </a:moveTo>
                  <a:lnTo>
                    <a:pt x="15521" y="11976"/>
                  </a:lnTo>
                  <a:lnTo>
                    <a:pt x="15521" y="15452"/>
                  </a:lnTo>
                  <a:lnTo>
                    <a:pt x="19423" y="15452"/>
                  </a:lnTo>
                  <a:lnTo>
                    <a:pt x="19423" y="11976"/>
                  </a:lnTo>
                  <a:close/>
                  <a:moveTo>
                    <a:pt x="19423" y="15976"/>
                  </a:moveTo>
                  <a:lnTo>
                    <a:pt x="15521" y="15976"/>
                  </a:lnTo>
                  <a:lnTo>
                    <a:pt x="15521" y="19422"/>
                  </a:lnTo>
                  <a:lnTo>
                    <a:pt x="19423" y="19422"/>
                  </a:lnTo>
                  <a:lnTo>
                    <a:pt x="19423" y="15976"/>
                  </a:lnTo>
                  <a:close/>
                  <a:moveTo>
                    <a:pt x="15758" y="5543"/>
                  </a:moveTo>
                  <a:cubicBezTo>
                    <a:pt x="15758" y="6067"/>
                    <a:pt x="16106" y="6323"/>
                    <a:pt x="16806" y="6323"/>
                  </a:cubicBezTo>
                  <a:cubicBezTo>
                    <a:pt x="17502" y="6323"/>
                    <a:pt x="17848" y="6067"/>
                    <a:pt x="17839" y="5543"/>
                  </a:cubicBezTo>
                  <a:lnTo>
                    <a:pt x="17839" y="2398"/>
                  </a:lnTo>
                  <a:cubicBezTo>
                    <a:pt x="17839" y="1877"/>
                    <a:pt x="17494" y="1612"/>
                    <a:pt x="16806" y="1612"/>
                  </a:cubicBezTo>
                  <a:cubicBezTo>
                    <a:pt x="16106" y="1612"/>
                    <a:pt x="15758" y="1877"/>
                    <a:pt x="15758" y="2398"/>
                  </a:cubicBezTo>
                  <a:lnTo>
                    <a:pt x="15758" y="5543"/>
                  </a:lnTo>
                  <a:close/>
                </a:path>
              </a:pathLst>
            </a:custGeom>
            <a:solidFill>
              <a:schemeClr val="accent4"/>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sp>
          <p:nvSpPr>
            <p:cNvPr id="18457" name="AutoShape 25"/>
            <p:cNvSpPr/>
            <p:nvPr/>
          </p:nvSpPr>
          <p:spPr bwMode="auto">
            <a:xfrm>
              <a:off x="4364831" y="1916307"/>
              <a:ext cx="387549" cy="390050"/>
            </a:xfrm>
            <a:custGeom>
              <a:avLst/>
              <a:gdLst>
                <a:gd name="T0" fmla="*/ 516705 w 19679"/>
                <a:gd name="T1" fmla="*/ 570658 h 19679"/>
                <a:gd name="T2" fmla="*/ 516705 w 19679"/>
                <a:gd name="T3" fmla="*/ 570658 h 19679"/>
                <a:gd name="T4" fmla="*/ 516705 w 19679"/>
                <a:gd name="T5" fmla="*/ 570658 h 19679"/>
                <a:gd name="T6" fmla="*/ 516705 w 19679"/>
                <a:gd name="T7" fmla="*/ 57065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FFFFFF"/>
            </a:solidFill>
            <a:ln w="63500" cap="flat" cmpd="sng">
              <a:solidFill>
                <a:schemeClr val="accent2"/>
              </a:solidFill>
              <a:prstDash val="solid"/>
              <a:bevel/>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nchor="ctr"/>
            <a:lstStyle/>
            <a:p>
              <a:endParaRPr lang="zh-CN" altLang="en-US">
                <a:solidFill>
                  <a:schemeClr val="tx1">
                    <a:lumMod val="50000"/>
                    <a:lumOff val="50000"/>
                  </a:schemeClr>
                </a:solidFill>
              </a:endParaRPr>
            </a:p>
          </p:txBody>
        </p:sp>
        <p:sp>
          <p:nvSpPr>
            <p:cNvPr id="18458" name="AutoShape 26"/>
            <p:cNvSpPr/>
            <p:nvPr/>
          </p:nvSpPr>
          <p:spPr bwMode="auto">
            <a:xfrm>
              <a:off x="5400675" y="2411760"/>
              <a:ext cx="387549" cy="390050"/>
            </a:xfrm>
            <a:custGeom>
              <a:avLst/>
              <a:gdLst>
                <a:gd name="T0" fmla="*/ 516705 w 19679"/>
                <a:gd name="T1" fmla="*/ 570658 h 19679"/>
                <a:gd name="T2" fmla="*/ 516705 w 19679"/>
                <a:gd name="T3" fmla="*/ 570658 h 19679"/>
                <a:gd name="T4" fmla="*/ 516705 w 19679"/>
                <a:gd name="T5" fmla="*/ 570658 h 19679"/>
                <a:gd name="T6" fmla="*/ 516705 w 19679"/>
                <a:gd name="T7" fmla="*/ 57065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FFFFFF"/>
            </a:solidFill>
            <a:ln w="63500" cap="flat" cmpd="sng">
              <a:solidFill>
                <a:schemeClr val="accent2"/>
              </a:solidFill>
              <a:prstDash val="solid"/>
              <a:bevel/>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nchor="ctr"/>
            <a:lstStyle/>
            <a:p>
              <a:endParaRPr lang="zh-CN" altLang="en-US">
                <a:solidFill>
                  <a:schemeClr val="tx1">
                    <a:lumMod val="50000"/>
                    <a:lumOff val="50000"/>
                  </a:schemeClr>
                </a:solidFill>
              </a:endParaRPr>
            </a:p>
          </p:txBody>
        </p:sp>
        <p:sp>
          <p:nvSpPr>
            <p:cNvPr id="18459" name="AutoShape 27"/>
            <p:cNvSpPr/>
            <p:nvPr/>
          </p:nvSpPr>
          <p:spPr bwMode="auto">
            <a:xfrm>
              <a:off x="3078361" y="3286544"/>
              <a:ext cx="387548" cy="390646"/>
            </a:xfrm>
            <a:custGeom>
              <a:avLst/>
              <a:gdLst>
                <a:gd name="T0" fmla="*/ 516705 w 19679"/>
                <a:gd name="T1" fmla="*/ 571529 h 19679"/>
                <a:gd name="T2" fmla="*/ 516705 w 19679"/>
                <a:gd name="T3" fmla="*/ 571529 h 19679"/>
                <a:gd name="T4" fmla="*/ 516705 w 19679"/>
                <a:gd name="T5" fmla="*/ 571529 h 19679"/>
                <a:gd name="T6" fmla="*/ 516705 w 19679"/>
                <a:gd name="T7" fmla="*/ 571529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FFFFFF"/>
            </a:solidFill>
            <a:ln w="63500" cap="flat" cmpd="sng">
              <a:solidFill>
                <a:schemeClr val="accent2"/>
              </a:solidFill>
              <a:prstDash val="solid"/>
              <a:bevel/>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nchor="ctr"/>
            <a:lstStyle/>
            <a:p>
              <a:endParaRPr lang="zh-CN" altLang="en-US">
                <a:solidFill>
                  <a:schemeClr val="tx1">
                    <a:lumMod val="50000"/>
                    <a:lumOff val="50000"/>
                  </a:schemeClr>
                </a:solidFill>
              </a:endParaRPr>
            </a:p>
          </p:txBody>
        </p:sp>
        <p:sp>
          <p:nvSpPr>
            <p:cNvPr id="18460" name="AutoShape 28"/>
            <p:cNvSpPr/>
            <p:nvPr/>
          </p:nvSpPr>
          <p:spPr bwMode="auto">
            <a:xfrm>
              <a:off x="5672138" y="3286544"/>
              <a:ext cx="387549" cy="390646"/>
            </a:xfrm>
            <a:custGeom>
              <a:avLst/>
              <a:gdLst>
                <a:gd name="T0" fmla="*/ 516705 w 19679"/>
                <a:gd name="T1" fmla="*/ 571529 h 19679"/>
                <a:gd name="T2" fmla="*/ 516705 w 19679"/>
                <a:gd name="T3" fmla="*/ 571529 h 19679"/>
                <a:gd name="T4" fmla="*/ 516705 w 19679"/>
                <a:gd name="T5" fmla="*/ 571529 h 19679"/>
                <a:gd name="T6" fmla="*/ 516705 w 19679"/>
                <a:gd name="T7" fmla="*/ 571529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FFFFFF"/>
            </a:solidFill>
            <a:ln w="63500" cap="flat" cmpd="sng">
              <a:solidFill>
                <a:schemeClr val="accent2"/>
              </a:solidFill>
              <a:prstDash val="solid"/>
              <a:bevel/>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nchor="ctr"/>
            <a:lstStyle/>
            <a:p>
              <a:endParaRPr lang="zh-CN" altLang="en-US">
                <a:solidFill>
                  <a:schemeClr val="tx1">
                    <a:lumMod val="50000"/>
                    <a:lumOff val="50000"/>
                  </a:schemeClr>
                </a:solidFill>
              </a:endParaRPr>
            </a:p>
          </p:txBody>
        </p:sp>
        <p:sp>
          <p:nvSpPr>
            <p:cNvPr id="18461" name="AutoShape 29"/>
            <p:cNvSpPr/>
            <p:nvPr/>
          </p:nvSpPr>
          <p:spPr bwMode="auto">
            <a:xfrm>
              <a:off x="3400425" y="2316481"/>
              <a:ext cx="387549" cy="390050"/>
            </a:xfrm>
            <a:custGeom>
              <a:avLst/>
              <a:gdLst>
                <a:gd name="T0" fmla="*/ 516705 w 19679"/>
                <a:gd name="T1" fmla="*/ 570658 h 19679"/>
                <a:gd name="T2" fmla="*/ 516705 w 19679"/>
                <a:gd name="T3" fmla="*/ 570658 h 19679"/>
                <a:gd name="T4" fmla="*/ 516705 w 19679"/>
                <a:gd name="T5" fmla="*/ 570658 h 19679"/>
                <a:gd name="T6" fmla="*/ 516705 w 19679"/>
                <a:gd name="T7" fmla="*/ 57065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FFFFFF"/>
            </a:solidFill>
            <a:ln w="63500" cap="flat" cmpd="sng">
              <a:solidFill>
                <a:schemeClr val="accent2"/>
              </a:solidFill>
              <a:prstDash val="solid"/>
              <a:bevel/>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nchor="ctr"/>
            <a:lstStyle/>
            <a:p>
              <a:endParaRPr lang="zh-CN" altLang="en-US">
                <a:solidFill>
                  <a:schemeClr val="tx1">
                    <a:lumMod val="50000"/>
                    <a:lumOff val="50000"/>
                  </a:schemeClr>
                </a:solidFill>
              </a:endParaRPr>
            </a:p>
          </p:txBody>
        </p:sp>
        <p:sp>
          <p:nvSpPr>
            <p:cNvPr id="18462" name="AutoShape 30"/>
            <p:cNvSpPr/>
            <p:nvPr/>
          </p:nvSpPr>
          <p:spPr bwMode="auto">
            <a:xfrm>
              <a:off x="4443413" y="2002654"/>
              <a:ext cx="232172" cy="193536"/>
            </a:xfrm>
            <a:custGeom>
              <a:avLst/>
              <a:gdLst>
                <a:gd name="T0" fmla="*/ 309563 w 21600"/>
                <a:gd name="T1" fmla="*/ 257969 h 21600"/>
                <a:gd name="T2" fmla="*/ 309563 w 21600"/>
                <a:gd name="T3" fmla="*/ 257969 h 21600"/>
                <a:gd name="T4" fmla="*/ 309563 w 21600"/>
                <a:gd name="T5" fmla="*/ 257969 h 21600"/>
                <a:gd name="T6" fmla="*/ 309563 w 21600"/>
                <a:gd name="T7" fmla="*/ 25796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0708" y="14020"/>
                  </a:moveTo>
                  <a:cubicBezTo>
                    <a:pt x="20951" y="14020"/>
                    <a:pt x="21161" y="14125"/>
                    <a:pt x="21335" y="14334"/>
                  </a:cubicBezTo>
                  <a:cubicBezTo>
                    <a:pt x="21511" y="14548"/>
                    <a:pt x="21600" y="14810"/>
                    <a:pt x="21600" y="15115"/>
                  </a:cubicBezTo>
                  <a:lnTo>
                    <a:pt x="21600" y="20504"/>
                  </a:lnTo>
                  <a:cubicBezTo>
                    <a:pt x="21600" y="20815"/>
                    <a:pt x="21511" y="21071"/>
                    <a:pt x="21335" y="21285"/>
                  </a:cubicBezTo>
                  <a:cubicBezTo>
                    <a:pt x="21161" y="21494"/>
                    <a:pt x="20951" y="21599"/>
                    <a:pt x="20708" y="21599"/>
                  </a:cubicBezTo>
                  <a:lnTo>
                    <a:pt x="16197" y="21599"/>
                  </a:lnTo>
                  <a:cubicBezTo>
                    <a:pt x="15940" y="21599"/>
                    <a:pt x="15729" y="21494"/>
                    <a:pt x="15563" y="21285"/>
                  </a:cubicBezTo>
                  <a:cubicBezTo>
                    <a:pt x="15399" y="21071"/>
                    <a:pt x="15316" y="20815"/>
                    <a:pt x="15316" y="20504"/>
                  </a:cubicBezTo>
                  <a:lnTo>
                    <a:pt x="15316" y="15115"/>
                  </a:lnTo>
                  <a:cubicBezTo>
                    <a:pt x="15316" y="14810"/>
                    <a:pt x="15399" y="14548"/>
                    <a:pt x="15570" y="14334"/>
                  </a:cubicBezTo>
                  <a:cubicBezTo>
                    <a:pt x="15737" y="14125"/>
                    <a:pt x="15945" y="14020"/>
                    <a:pt x="16197" y="14020"/>
                  </a:cubicBezTo>
                  <a:lnTo>
                    <a:pt x="17788" y="14020"/>
                  </a:lnTo>
                  <a:lnTo>
                    <a:pt x="17788" y="11869"/>
                  </a:lnTo>
                  <a:cubicBezTo>
                    <a:pt x="17788" y="11699"/>
                    <a:pt x="17707" y="11610"/>
                    <a:pt x="17543" y="11602"/>
                  </a:cubicBezTo>
                  <a:lnTo>
                    <a:pt x="11473" y="11602"/>
                  </a:lnTo>
                  <a:lnTo>
                    <a:pt x="11473" y="14019"/>
                  </a:lnTo>
                  <a:lnTo>
                    <a:pt x="13054" y="14019"/>
                  </a:lnTo>
                  <a:cubicBezTo>
                    <a:pt x="13296" y="14019"/>
                    <a:pt x="13507" y="14125"/>
                    <a:pt x="13681" y="14334"/>
                  </a:cubicBezTo>
                  <a:cubicBezTo>
                    <a:pt x="13857" y="14548"/>
                    <a:pt x="13945" y="14810"/>
                    <a:pt x="13945" y="15115"/>
                  </a:cubicBezTo>
                  <a:lnTo>
                    <a:pt x="13945" y="20504"/>
                  </a:lnTo>
                  <a:cubicBezTo>
                    <a:pt x="13945" y="20815"/>
                    <a:pt x="13857" y="21071"/>
                    <a:pt x="13681" y="21285"/>
                  </a:cubicBezTo>
                  <a:cubicBezTo>
                    <a:pt x="13507" y="21494"/>
                    <a:pt x="13296" y="21599"/>
                    <a:pt x="13054" y="21599"/>
                  </a:cubicBezTo>
                  <a:lnTo>
                    <a:pt x="8543" y="21599"/>
                  </a:lnTo>
                  <a:cubicBezTo>
                    <a:pt x="8298" y="21599"/>
                    <a:pt x="8090" y="21494"/>
                    <a:pt x="7913" y="21285"/>
                  </a:cubicBezTo>
                  <a:cubicBezTo>
                    <a:pt x="7740" y="21071"/>
                    <a:pt x="7652" y="20815"/>
                    <a:pt x="7652" y="20504"/>
                  </a:cubicBezTo>
                  <a:lnTo>
                    <a:pt x="7652" y="15115"/>
                  </a:lnTo>
                  <a:cubicBezTo>
                    <a:pt x="7652" y="14810"/>
                    <a:pt x="7740" y="14548"/>
                    <a:pt x="7913" y="14334"/>
                  </a:cubicBezTo>
                  <a:cubicBezTo>
                    <a:pt x="8090" y="14125"/>
                    <a:pt x="8298" y="14019"/>
                    <a:pt x="8543" y="14019"/>
                  </a:cubicBezTo>
                  <a:lnTo>
                    <a:pt x="10124" y="14019"/>
                  </a:lnTo>
                  <a:lnTo>
                    <a:pt x="10124" y="11602"/>
                  </a:lnTo>
                  <a:lnTo>
                    <a:pt x="4056" y="11602"/>
                  </a:lnTo>
                  <a:cubicBezTo>
                    <a:pt x="3901" y="11602"/>
                    <a:pt x="3821" y="11690"/>
                    <a:pt x="3821" y="11869"/>
                  </a:cubicBezTo>
                  <a:lnTo>
                    <a:pt x="3821" y="14020"/>
                  </a:lnTo>
                  <a:lnTo>
                    <a:pt x="5402" y="14020"/>
                  </a:lnTo>
                  <a:cubicBezTo>
                    <a:pt x="5661" y="14020"/>
                    <a:pt x="5874" y="14125"/>
                    <a:pt x="6053" y="14334"/>
                  </a:cubicBezTo>
                  <a:cubicBezTo>
                    <a:pt x="6229" y="14548"/>
                    <a:pt x="6315" y="14810"/>
                    <a:pt x="6315" y="15115"/>
                  </a:cubicBezTo>
                  <a:lnTo>
                    <a:pt x="6315" y="20504"/>
                  </a:lnTo>
                  <a:cubicBezTo>
                    <a:pt x="6315" y="20815"/>
                    <a:pt x="6229" y="21071"/>
                    <a:pt x="6053" y="21285"/>
                  </a:cubicBezTo>
                  <a:cubicBezTo>
                    <a:pt x="5877" y="21494"/>
                    <a:pt x="5664" y="21599"/>
                    <a:pt x="5402" y="21599"/>
                  </a:cubicBezTo>
                  <a:lnTo>
                    <a:pt x="913" y="21599"/>
                  </a:lnTo>
                  <a:cubicBezTo>
                    <a:pt x="658" y="21599"/>
                    <a:pt x="440" y="21494"/>
                    <a:pt x="261" y="21285"/>
                  </a:cubicBezTo>
                  <a:cubicBezTo>
                    <a:pt x="88" y="21071"/>
                    <a:pt x="0" y="20815"/>
                    <a:pt x="0" y="20504"/>
                  </a:cubicBezTo>
                  <a:lnTo>
                    <a:pt x="0" y="15115"/>
                  </a:lnTo>
                  <a:cubicBezTo>
                    <a:pt x="0" y="14810"/>
                    <a:pt x="88" y="14548"/>
                    <a:pt x="261" y="14334"/>
                  </a:cubicBezTo>
                  <a:cubicBezTo>
                    <a:pt x="438" y="14125"/>
                    <a:pt x="656" y="14020"/>
                    <a:pt x="913" y="14020"/>
                  </a:cubicBezTo>
                  <a:lnTo>
                    <a:pt x="2472" y="14020"/>
                  </a:lnTo>
                  <a:lnTo>
                    <a:pt x="2472" y="11869"/>
                  </a:lnTo>
                  <a:cubicBezTo>
                    <a:pt x="2472" y="11352"/>
                    <a:pt x="2629" y="10911"/>
                    <a:pt x="2942" y="10544"/>
                  </a:cubicBezTo>
                  <a:cubicBezTo>
                    <a:pt x="3253" y="10180"/>
                    <a:pt x="3622" y="9997"/>
                    <a:pt x="4053" y="9997"/>
                  </a:cubicBezTo>
                  <a:lnTo>
                    <a:pt x="10121" y="9997"/>
                  </a:lnTo>
                  <a:lnTo>
                    <a:pt x="10121" y="7550"/>
                  </a:lnTo>
                  <a:lnTo>
                    <a:pt x="8540" y="7550"/>
                  </a:lnTo>
                  <a:cubicBezTo>
                    <a:pt x="8295" y="7550"/>
                    <a:pt x="8087" y="7450"/>
                    <a:pt x="7911" y="7247"/>
                  </a:cubicBezTo>
                  <a:cubicBezTo>
                    <a:pt x="7737" y="7045"/>
                    <a:pt x="7649" y="6789"/>
                    <a:pt x="7649" y="6484"/>
                  </a:cubicBezTo>
                  <a:lnTo>
                    <a:pt x="7649" y="1066"/>
                  </a:lnTo>
                  <a:cubicBezTo>
                    <a:pt x="7649" y="775"/>
                    <a:pt x="7737" y="522"/>
                    <a:pt x="7911" y="314"/>
                  </a:cubicBezTo>
                  <a:cubicBezTo>
                    <a:pt x="8087" y="102"/>
                    <a:pt x="8295" y="0"/>
                    <a:pt x="8540" y="0"/>
                  </a:cubicBezTo>
                  <a:lnTo>
                    <a:pt x="13052" y="0"/>
                  </a:lnTo>
                  <a:cubicBezTo>
                    <a:pt x="13294" y="0"/>
                    <a:pt x="13504" y="102"/>
                    <a:pt x="13678" y="314"/>
                  </a:cubicBezTo>
                  <a:cubicBezTo>
                    <a:pt x="13854" y="522"/>
                    <a:pt x="13943" y="775"/>
                    <a:pt x="13943" y="1066"/>
                  </a:cubicBezTo>
                  <a:lnTo>
                    <a:pt x="13943" y="6484"/>
                  </a:lnTo>
                  <a:cubicBezTo>
                    <a:pt x="13943" y="6789"/>
                    <a:pt x="13854" y="7045"/>
                    <a:pt x="13678" y="7247"/>
                  </a:cubicBezTo>
                  <a:cubicBezTo>
                    <a:pt x="13504" y="7450"/>
                    <a:pt x="13294" y="7550"/>
                    <a:pt x="13052" y="7550"/>
                  </a:cubicBezTo>
                  <a:lnTo>
                    <a:pt x="11470" y="7550"/>
                  </a:lnTo>
                  <a:lnTo>
                    <a:pt x="11470" y="9997"/>
                  </a:lnTo>
                  <a:lnTo>
                    <a:pt x="17541" y="9997"/>
                  </a:lnTo>
                  <a:cubicBezTo>
                    <a:pt x="17969" y="9997"/>
                    <a:pt x="18339" y="10177"/>
                    <a:pt x="18652" y="10538"/>
                  </a:cubicBezTo>
                  <a:cubicBezTo>
                    <a:pt x="18966" y="10899"/>
                    <a:pt x="19122" y="11343"/>
                    <a:pt x="19122" y="11869"/>
                  </a:cubicBezTo>
                  <a:lnTo>
                    <a:pt x="19122" y="14020"/>
                  </a:lnTo>
                  <a:lnTo>
                    <a:pt x="20708" y="14020"/>
                  </a:lnTo>
                  <a:close/>
                </a:path>
              </a:pathLst>
            </a:custGeom>
            <a:solidFill>
              <a:schemeClr val="accent2"/>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sp>
          <p:nvSpPr>
            <p:cNvPr id="18463" name="AutoShape 31"/>
            <p:cNvSpPr/>
            <p:nvPr/>
          </p:nvSpPr>
          <p:spPr bwMode="auto">
            <a:xfrm>
              <a:off x="3157538" y="3371700"/>
              <a:ext cx="232172" cy="232839"/>
            </a:xfrm>
            <a:custGeom>
              <a:avLst/>
              <a:gdLst>
                <a:gd name="T0" fmla="*/ 309563 w 21600"/>
                <a:gd name="T1" fmla="*/ 310357 h 21600"/>
                <a:gd name="T2" fmla="*/ 309563 w 21600"/>
                <a:gd name="T3" fmla="*/ 310357 h 21600"/>
                <a:gd name="T4" fmla="*/ 309563 w 21600"/>
                <a:gd name="T5" fmla="*/ 310357 h 21600"/>
                <a:gd name="T6" fmla="*/ 309563 w 21600"/>
                <a:gd name="T7" fmla="*/ 31035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357" y="18801"/>
                  </a:moveTo>
                  <a:cubicBezTo>
                    <a:pt x="21518" y="18965"/>
                    <a:pt x="21600" y="19177"/>
                    <a:pt x="21600" y="19436"/>
                  </a:cubicBezTo>
                  <a:cubicBezTo>
                    <a:pt x="21600" y="19580"/>
                    <a:pt x="21518" y="19775"/>
                    <a:pt x="21357" y="20018"/>
                  </a:cubicBezTo>
                  <a:cubicBezTo>
                    <a:pt x="21193" y="20261"/>
                    <a:pt x="20989" y="20504"/>
                    <a:pt x="20746" y="20741"/>
                  </a:cubicBezTo>
                  <a:cubicBezTo>
                    <a:pt x="20503" y="20978"/>
                    <a:pt x="20260" y="21184"/>
                    <a:pt x="20023" y="21348"/>
                  </a:cubicBezTo>
                  <a:cubicBezTo>
                    <a:pt x="19783" y="21518"/>
                    <a:pt x="19593" y="21599"/>
                    <a:pt x="19447" y="21599"/>
                  </a:cubicBezTo>
                  <a:cubicBezTo>
                    <a:pt x="19189" y="21599"/>
                    <a:pt x="18975" y="21515"/>
                    <a:pt x="18811" y="21343"/>
                  </a:cubicBezTo>
                  <a:lnTo>
                    <a:pt x="13957" y="16502"/>
                  </a:lnTo>
                  <a:cubicBezTo>
                    <a:pt x="13217" y="16980"/>
                    <a:pt x="12428" y="17350"/>
                    <a:pt x="11589" y="17604"/>
                  </a:cubicBezTo>
                  <a:cubicBezTo>
                    <a:pt x="10750" y="17864"/>
                    <a:pt x="9891" y="17991"/>
                    <a:pt x="9007" y="17991"/>
                  </a:cubicBezTo>
                  <a:cubicBezTo>
                    <a:pt x="7769" y="17991"/>
                    <a:pt x="6608" y="17759"/>
                    <a:pt x="5517" y="17290"/>
                  </a:cubicBezTo>
                  <a:cubicBezTo>
                    <a:pt x="4427" y="16822"/>
                    <a:pt x="3469" y="16175"/>
                    <a:pt x="2644" y="15353"/>
                  </a:cubicBezTo>
                  <a:cubicBezTo>
                    <a:pt x="1816" y="14534"/>
                    <a:pt x="1172" y="13580"/>
                    <a:pt x="700" y="12487"/>
                  </a:cubicBezTo>
                  <a:cubicBezTo>
                    <a:pt x="231" y="11400"/>
                    <a:pt x="0" y="10236"/>
                    <a:pt x="0" y="8999"/>
                  </a:cubicBezTo>
                  <a:cubicBezTo>
                    <a:pt x="0" y="7768"/>
                    <a:pt x="231" y="6602"/>
                    <a:pt x="700" y="5515"/>
                  </a:cubicBezTo>
                  <a:cubicBezTo>
                    <a:pt x="1169" y="4422"/>
                    <a:pt x="1816" y="3467"/>
                    <a:pt x="2644" y="2645"/>
                  </a:cubicBezTo>
                  <a:cubicBezTo>
                    <a:pt x="3469" y="1827"/>
                    <a:pt x="4424" y="1180"/>
                    <a:pt x="5512" y="708"/>
                  </a:cubicBezTo>
                  <a:cubicBezTo>
                    <a:pt x="6600" y="237"/>
                    <a:pt x="7764" y="0"/>
                    <a:pt x="9007" y="0"/>
                  </a:cubicBezTo>
                  <a:cubicBezTo>
                    <a:pt x="10244" y="0"/>
                    <a:pt x="11403" y="237"/>
                    <a:pt x="12488" y="708"/>
                  </a:cubicBezTo>
                  <a:cubicBezTo>
                    <a:pt x="13573" y="1180"/>
                    <a:pt x="14530" y="1827"/>
                    <a:pt x="15358" y="2645"/>
                  </a:cubicBezTo>
                  <a:cubicBezTo>
                    <a:pt x="16183" y="3467"/>
                    <a:pt x="16830" y="4422"/>
                    <a:pt x="17299" y="5515"/>
                  </a:cubicBezTo>
                  <a:cubicBezTo>
                    <a:pt x="17768" y="6602"/>
                    <a:pt x="18003" y="7768"/>
                    <a:pt x="18003" y="8999"/>
                  </a:cubicBezTo>
                  <a:cubicBezTo>
                    <a:pt x="18003" y="9886"/>
                    <a:pt x="17873" y="10747"/>
                    <a:pt x="17616" y="11589"/>
                  </a:cubicBezTo>
                  <a:cubicBezTo>
                    <a:pt x="17359" y="12433"/>
                    <a:pt x="16991" y="13218"/>
                    <a:pt x="16514" y="13947"/>
                  </a:cubicBezTo>
                  <a:lnTo>
                    <a:pt x="21357" y="18801"/>
                  </a:lnTo>
                  <a:close/>
                  <a:moveTo>
                    <a:pt x="3596" y="8999"/>
                  </a:moveTo>
                  <a:cubicBezTo>
                    <a:pt x="3596" y="9759"/>
                    <a:pt x="3740" y="10465"/>
                    <a:pt x="4028" y="11117"/>
                  </a:cubicBezTo>
                  <a:cubicBezTo>
                    <a:pt x="4317" y="11770"/>
                    <a:pt x="4707" y="12337"/>
                    <a:pt x="5193" y="12820"/>
                  </a:cubicBezTo>
                  <a:cubicBezTo>
                    <a:pt x="5679" y="13300"/>
                    <a:pt x="6252" y="13684"/>
                    <a:pt x="6908" y="13969"/>
                  </a:cubicBezTo>
                  <a:cubicBezTo>
                    <a:pt x="7566" y="14252"/>
                    <a:pt x="8264" y="14393"/>
                    <a:pt x="9004" y="14393"/>
                  </a:cubicBezTo>
                  <a:cubicBezTo>
                    <a:pt x="9744" y="14393"/>
                    <a:pt x="10439" y="14252"/>
                    <a:pt x="11092" y="13969"/>
                  </a:cubicBezTo>
                  <a:cubicBezTo>
                    <a:pt x="11745" y="13684"/>
                    <a:pt x="12318" y="13300"/>
                    <a:pt x="12801" y="12820"/>
                  </a:cubicBezTo>
                  <a:cubicBezTo>
                    <a:pt x="13290" y="12337"/>
                    <a:pt x="13677" y="11770"/>
                    <a:pt x="13965" y="11117"/>
                  </a:cubicBezTo>
                  <a:cubicBezTo>
                    <a:pt x="14254" y="10465"/>
                    <a:pt x="14398" y="9759"/>
                    <a:pt x="14398" y="8999"/>
                  </a:cubicBezTo>
                  <a:cubicBezTo>
                    <a:pt x="14398" y="8259"/>
                    <a:pt x="14254" y="7565"/>
                    <a:pt x="13965" y="6912"/>
                  </a:cubicBezTo>
                  <a:cubicBezTo>
                    <a:pt x="13674" y="6257"/>
                    <a:pt x="13290" y="5684"/>
                    <a:pt x="12801" y="5192"/>
                  </a:cubicBezTo>
                  <a:cubicBezTo>
                    <a:pt x="12315" y="4704"/>
                    <a:pt x="11745" y="4317"/>
                    <a:pt x="11092" y="4032"/>
                  </a:cubicBezTo>
                  <a:cubicBezTo>
                    <a:pt x="10439" y="3749"/>
                    <a:pt x="9741" y="3605"/>
                    <a:pt x="9004" y="3605"/>
                  </a:cubicBezTo>
                  <a:cubicBezTo>
                    <a:pt x="8267" y="3605"/>
                    <a:pt x="7566" y="3749"/>
                    <a:pt x="6908" y="4032"/>
                  </a:cubicBezTo>
                  <a:cubicBezTo>
                    <a:pt x="6252" y="4317"/>
                    <a:pt x="5676" y="4704"/>
                    <a:pt x="5193" y="5192"/>
                  </a:cubicBezTo>
                  <a:cubicBezTo>
                    <a:pt x="4707" y="5684"/>
                    <a:pt x="4317" y="6257"/>
                    <a:pt x="4028" y="6912"/>
                  </a:cubicBezTo>
                  <a:cubicBezTo>
                    <a:pt x="3740" y="7565"/>
                    <a:pt x="3596" y="8256"/>
                    <a:pt x="3596" y="8999"/>
                  </a:cubicBezTo>
                  <a:moveTo>
                    <a:pt x="9007" y="5591"/>
                  </a:moveTo>
                  <a:cubicBezTo>
                    <a:pt x="9185" y="5591"/>
                    <a:pt x="9343" y="5656"/>
                    <a:pt x="9473" y="5785"/>
                  </a:cubicBezTo>
                  <a:cubicBezTo>
                    <a:pt x="9603" y="5918"/>
                    <a:pt x="9668" y="6082"/>
                    <a:pt x="9668" y="6279"/>
                  </a:cubicBezTo>
                  <a:cubicBezTo>
                    <a:pt x="9668" y="6460"/>
                    <a:pt x="9603" y="6616"/>
                    <a:pt x="9473" y="6745"/>
                  </a:cubicBezTo>
                  <a:cubicBezTo>
                    <a:pt x="9343" y="6878"/>
                    <a:pt x="9185" y="6943"/>
                    <a:pt x="9007" y="6943"/>
                  </a:cubicBezTo>
                  <a:cubicBezTo>
                    <a:pt x="8439" y="6943"/>
                    <a:pt x="7953" y="7144"/>
                    <a:pt x="7552" y="7536"/>
                  </a:cubicBezTo>
                  <a:cubicBezTo>
                    <a:pt x="7151" y="7934"/>
                    <a:pt x="6950" y="8423"/>
                    <a:pt x="6950" y="8996"/>
                  </a:cubicBezTo>
                  <a:cubicBezTo>
                    <a:pt x="6950" y="9180"/>
                    <a:pt x="6885" y="9332"/>
                    <a:pt x="6755" y="9465"/>
                  </a:cubicBezTo>
                  <a:cubicBezTo>
                    <a:pt x="6622" y="9595"/>
                    <a:pt x="6467" y="9657"/>
                    <a:pt x="6289" y="9657"/>
                  </a:cubicBezTo>
                  <a:cubicBezTo>
                    <a:pt x="6080" y="9657"/>
                    <a:pt x="5913" y="9595"/>
                    <a:pt x="5786" y="9465"/>
                  </a:cubicBezTo>
                  <a:cubicBezTo>
                    <a:pt x="5659" y="9332"/>
                    <a:pt x="5599" y="9180"/>
                    <a:pt x="5599" y="8996"/>
                  </a:cubicBezTo>
                  <a:cubicBezTo>
                    <a:pt x="5599" y="8539"/>
                    <a:pt x="5684" y="8104"/>
                    <a:pt x="5862" y="7686"/>
                  </a:cubicBezTo>
                  <a:cubicBezTo>
                    <a:pt x="6037" y="7271"/>
                    <a:pt x="6280" y="6907"/>
                    <a:pt x="6597" y="6590"/>
                  </a:cubicBezTo>
                  <a:cubicBezTo>
                    <a:pt x="6905" y="6277"/>
                    <a:pt x="7264" y="6028"/>
                    <a:pt x="7676" y="5856"/>
                  </a:cubicBezTo>
                  <a:cubicBezTo>
                    <a:pt x="8086" y="5681"/>
                    <a:pt x="8529" y="5591"/>
                    <a:pt x="9007" y="5591"/>
                  </a:cubicBezTo>
                </a:path>
              </a:pathLst>
            </a:custGeom>
            <a:solidFill>
              <a:schemeClr val="accent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sp>
          <p:nvSpPr>
            <p:cNvPr id="18464" name="AutoShape 32"/>
            <p:cNvSpPr/>
            <p:nvPr/>
          </p:nvSpPr>
          <p:spPr bwMode="auto">
            <a:xfrm>
              <a:off x="5479257" y="2518354"/>
              <a:ext cx="232767" cy="193536"/>
            </a:xfrm>
            <a:custGeom>
              <a:avLst/>
              <a:gdLst>
                <a:gd name="T0" fmla="*/ 310357 w 21600"/>
                <a:gd name="T1" fmla="*/ 257957 h 21579"/>
                <a:gd name="T2" fmla="*/ 310357 w 21600"/>
                <a:gd name="T3" fmla="*/ 257957 h 21579"/>
                <a:gd name="T4" fmla="*/ 310357 w 21600"/>
                <a:gd name="T5" fmla="*/ 257957 h 21579"/>
                <a:gd name="T6" fmla="*/ 310357 w 21600"/>
                <a:gd name="T7" fmla="*/ 257957 h 215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579">
                  <a:moveTo>
                    <a:pt x="21600" y="9391"/>
                  </a:moveTo>
                  <a:cubicBezTo>
                    <a:pt x="21600" y="9887"/>
                    <a:pt x="21472" y="10321"/>
                    <a:pt x="21218" y="10697"/>
                  </a:cubicBezTo>
                  <a:cubicBezTo>
                    <a:pt x="20963" y="11072"/>
                    <a:pt x="20647" y="11313"/>
                    <a:pt x="20263" y="11427"/>
                  </a:cubicBezTo>
                  <a:lnTo>
                    <a:pt x="20263" y="16610"/>
                  </a:lnTo>
                  <a:cubicBezTo>
                    <a:pt x="20263" y="17200"/>
                    <a:pt x="20087" y="17708"/>
                    <a:pt x="19729" y="18128"/>
                  </a:cubicBezTo>
                  <a:cubicBezTo>
                    <a:pt x="19374" y="18550"/>
                    <a:pt x="18951" y="18758"/>
                    <a:pt x="18459" y="18758"/>
                  </a:cubicBezTo>
                  <a:cubicBezTo>
                    <a:pt x="17927" y="18122"/>
                    <a:pt x="17286" y="17505"/>
                    <a:pt x="16537" y="16904"/>
                  </a:cubicBezTo>
                  <a:cubicBezTo>
                    <a:pt x="15785" y="16305"/>
                    <a:pt x="14980" y="15756"/>
                    <a:pt x="14116" y="15254"/>
                  </a:cubicBezTo>
                  <a:cubicBezTo>
                    <a:pt x="13254" y="14755"/>
                    <a:pt x="12363" y="14324"/>
                    <a:pt x="11449" y="13969"/>
                  </a:cubicBezTo>
                  <a:cubicBezTo>
                    <a:pt x="10536" y="13614"/>
                    <a:pt x="9648" y="13379"/>
                    <a:pt x="8788" y="13267"/>
                  </a:cubicBezTo>
                  <a:cubicBezTo>
                    <a:pt x="8453" y="13379"/>
                    <a:pt x="8179" y="13564"/>
                    <a:pt x="7968" y="13828"/>
                  </a:cubicBezTo>
                  <a:cubicBezTo>
                    <a:pt x="7758" y="14092"/>
                    <a:pt x="7613" y="14386"/>
                    <a:pt x="7535" y="14706"/>
                  </a:cubicBezTo>
                  <a:cubicBezTo>
                    <a:pt x="7457" y="15028"/>
                    <a:pt x="7449" y="15360"/>
                    <a:pt x="7510" y="15698"/>
                  </a:cubicBezTo>
                  <a:cubicBezTo>
                    <a:pt x="7574" y="16035"/>
                    <a:pt x="7719" y="16340"/>
                    <a:pt x="7946" y="16610"/>
                  </a:cubicBezTo>
                  <a:cubicBezTo>
                    <a:pt x="7750" y="16992"/>
                    <a:pt x="7660" y="17347"/>
                    <a:pt x="7677" y="17673"/>
                  </a:cubicBezTo>
                  <a:cubicBezTo>
                    <a:pt x="7692" y="17993"/>
                    <a:pt x="7772" y="18307"/>
                    <a:pt x="7917" y="18606"/>
                  </a:cubicBezTo>
                  <a:cubicBezTo>
                    <a:pt x="8059" y="18908"/>
                    <a:pt x="8255" y="19193"/>
                    <a:pt x="8497" y="19469"/>
                  </a:cubicBezTo>
                  <a:cubicBezTo>
                    <a:pt x="8737" y="19745"/>
                    <a:pt x="8996" y="20021"/>
                    <a:pt x="9271" y="20291"/>
                  </a:cubicBezTo>
                  <a:cubicBezTo>
                    <a:pt x="9114" y="20696"/>
                    <a:pt x="8842" y="21001"/>
                    <a:pt x="8455" y="21212"/>
                  </a:cubicBezTo>
                  <a:cubicBezTo>
                    <a:pt x="8069" y="21423"/>
                    <a:pt x="7655" y="21541"/>
                    <a:pt x="7212" y="21570"/>
                  </a:cubicBezTo>
                  <a:cubicBezTo>
                    <a:pt x="6771" y="21600"/>
                    <a:pt x="6340" y="21550"/>
                    <a:pt x="5917" y="21423"/>
                  </a:cubicBezTo>
                  <a:cubicBezTo>
                    <a:pt x="5496" y="21294"/>
                    <a:pt x="5163" y="21092"/>
                    <a:pt x="4923" y="20810"/>
                  </a:cubicBezTo>
                  <a:cubicBezTo>
                    <a:pt x="4781" y="20241"/>
                    <a:pt x="4624" y="19657"/>
                    <a:pt x="4453" y="19055"/>
                  </a:cubicBezTo>
                  <a:cubicBezTo>
                    <a:pt x="4281" y="18453"/>
                    <a:pt x="4139" y="17843"/>
                    <a:pt x="4032" y="17224"/>
                  </a:cubicBezTo>
                  <a:cubicBezTo>
                    <a:pt x="3921" y="16599"/>
                    <a:pt x="3868" y="15953"/>
                    <a:pt x="3868" y="15281"/>
                  </a:cubicBezTo>
                  <a:cubicBezTo>
                    <a:pt x="3868" y="14615"/>
                    <a:pt x="3961" y="13905"/>
                    <a:pt x="4149" y="13153"/>
                  </a:cubicBezTo>
                  <a:lnTo>
                    <a:pt x="1804" y="13153"/>
                  </a:lnTo>
                  <a:cubicBezTo>
                    <a:pt x="1312" y="13153"/>
                    <a:pt x="888" y="12945"/>
                    <a:pt x="533" y="12522"/>
                  </a:cubicBezTo>
                  <a:cubicBezTo>
                    <a:pt x="176" y="12100"/>
                    <a:pt x="0" y="11592"/>
                    <a:pt x="0" y="10990"/>
                  </a:cubicBezTo>
                  <a:lnTo>
                    <a:pt x="0" y="7774"/>
                  </a:lnTo>
                  <a:cubicBezTo>
                    <a:pt x="0" y="7184"/>
                    <a:pt x="176" y="6676"/>
                    <a:pt x="526" y="6245"/>
                  </a:cubicBezTo>
                  <a:cubicBezTo>
                    <a:pt x="878" y="5819"/>
                    <a:pt x="1304" y="5605"/>
                    <a:pt x="1804" y="5605"/>
                  </a:cubicBezTo>
                  <a:lnTo>
                    <a:pt x="7652" y="5605"/>
                  </a:lnTo>
                  <a:cubicBezTo>
                    <a:pt x="8551" y="5605"/>
                    <a:pt x="9508" y="5449"/>
                    <a:pt x="10524" y="5135"/>
                  </a:cubicBezTo>
                  <a:cubicBezTo>
                    <a:pt x="11540" y="4821"/>
                    <a:pt x="12536" y="4399"/>
                    <a:pt x="13511" y="3873"/>
                  </a:cubicBezTo>
                  <a:cubicBezTo>
                    <a:pt x="14488" y="3342"/>
                    <a:pt x="15408" y="2744"/>
                    <a:pt x="16272" y="2071"/>
                  </a:cubicBezTo>
                  <a:cubicBezTo>
                    <a:pt x="17134" y="1405"/>
                    <a:pt x="17864" y="713"/>
                    <a:pt x="18459" y="0"/>
                  </a:cubicBezTo>
                  <a:cubicBezTo>
                    <a:pt x="18951" y="0"/>
                    <a:pt x="19374" y="214"/>
                    <a:pt x="19729" y="633"/>
                  </a:cubicBezTo>
                  <a:cubicBezTo>
                    <a:pt x="20087" y="1056"/>
                    <a:pt x="20263" y="1567"/>
                    <a:pt x="20263" y="2165"/>
                  </a:cubicBezTo>
                  <a:lnTo>
                    <a:pt x="20263" y="7334"/>
                  </a:lnTo>
                  <a:cubicBezTo>
                    <a:pt x="20647" y="7445"/>
                    <a:pt x="20963" y="7692"/>
                    <a:pt x="21218" y="8070"/>
                  </a:cubicBezTo>
                  <a:cubicBezTo>
                    <a:pt x="21472" y="8454"/>
                    <a:pt x="21600" y="8895"/>
                    <a:pt x="21600" y="9391"/>
                  </a:cubicBezTo>
                  <a:moveTo>
                    <a:pt x="18459" y="2855"/>
                  </a:moveTo>
                  <a:cubicBezTo>
                    <a:pt x="17864" y="3407"/>
                    <a:pt x="17215" y="3941"/>
                    <a:pt x="16512" y="4451"/>
                  </a:cubicBezTo>
                  <a:cubicBezTo>
                    <a:pt x="15810" y="4962"/>
                    <a:pt x="15065" y="5423"/>
                    <a:pt x="14280" y="5834"/>
                  </a:cubicBezTo>
                  <a:cubicBezTo>
                    <a:pt x="13494" y="6245"/>
                    <a:pt x="12693" y="6609"/>
                    <a:pt x="11878" y="6923"/>
                  </a:cubicBezTo>
                  <a:cubicBezTo>
                    <a:pt x="11060" y="7237"/>
                    <a:pt x="10255" y="7462"/>
                    <a:pt x="9457" y="7603"/>
                  </a:cubicBezTo>
                  <a:lnTo>
                    <a:pt x="9457" y="11172"/>
                  </a:lnTo>
                  <a:cubicBezTo>
                    <a:pt x="10255" y="11325"/>
                    <a:pt x="11060" y="11554"/>
                    <a:pt x="11878" y="11862"/>
                  </a:cubicBezTo>
                  <a:cubicBezTo>
                    <a:pt x="12693" y="12170"/>
                    <a:pt x="13494" y="12537"/>
                    <a:pt x="14280" y="12956"/>
                  </a:cubicBezTo>
                  <a:cubicBezTo>
                    <a:pt x="15065" y="13379"/>
                    <a:pt x="15812" y="13843"/>
                    <a:pt x="16524" y="14347"/>
                  </a:cubicBezTo>
                  <a:cubicBezTo>
                    <a:pt x="17234" y="14855"/>
                    <a:pt x="17881" y="15380"/>
                    <a:pt x="18459" y="15921"/>
                  </a:cubicBezTo>
                  <a:lnTo>
                    <a:pt x="18459" y="2855"/>
                  </a:lnTo>
                  <a:close/>
                </a:path>
              </a:pathLst>
            </a:custGeom>
            <a:solidFill>
              <a:schemeClr val="accent4"/>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sp>
          <p:nvSpPr>
            <p:cNvPr id="18465" name="AutoShape 33"/>
            <p:cNvSpPr/>
            <p:nvPr/>
          </p:nvSpPr>
          <p:spPr bwMode="auto">
            <a:xfrm>
              <a:off x="3477816" y="2387940"/>
              <a:ext cx="232172" cy="232244"/>
            </a:xfrm>
            <a:custGeom>
              <a:avLst/>
              <a:gdLst>
                <a:gd name="T0" fmla="*/ 309563 w 21600"/>
                <a:gd name="T1" fmla="*/ 309563 h 21600"/>
                <a:gd name="T2" fmla="*/ 309563 w 21600"/>
                <a:gd name="T3" fmla="*/ 309563 h 21600"/>
                <a:gd name="T4" fmla="*/ 309563 w 21600"/>
                <a:gd name="T5" fmla="*/ 309563 h 21600"/>
                <a:gd name="T6" fmla="*/ 309563 w 21600"/>
                <a:gd name="T7" fmla="*/ 30956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9987" y="2580"/>
                  </a:moveTo>
                  <a:cubicBezTo>
                    <a:pt x="20419" y="2580"/>
                    <a:pt x="20793" y="2735"/>
                    <a:pt x="21116" y="3052"/>
                  </a:cubicBezTo>
                  <a:cubicBezTo>
                    <a:pt x="21438" y="3372"/>
                    <a:pt x="21599" y="3743"/>
                    <a:pt x="21599" y="4175"/>
                  </a:cubicBezTo>
                  <a:lnTo>
                    <a:pt x="21599" y="19987"/>
                  </a:lnTo>
                  <a:cubicBezTo>
                    <a:pt x="21599" y="20419"/>
                    <a:pt x="21438" y="20796"/>
                    <a:pt x="21116" y="21116"/>
                  </a:cubicBezTo>
                  <a:cubicBezTo>
                    <a:pt x="20793" y="21438"/>
                    <a:pt x="20419" y="21600"/>
                    <a:pt x="19987" y="21600"/>
                  </a:cubicBezTo>
                  <a:lnTo>
                    <a:pt x="1612" y="21600"/>
                  </a:lnTo>
                  <a:cubicBezTo>
                    <a:pt x="1180" y="21600"/>
                    <a:pt x="806" y="21438"/>
                    <a:pt x="483" y="21116"/>
                  </a:cubicBezTo>
                  <a:cubicBezTo>
                    <a:pt x="161" y="20796"/>
                    <a:pt x="0" y="20419"/>
                    <a:pt x="0" y="19987"/>
                  </a:cubicBezTo>
                  <a:lnTo>
                    <a:pt x="0" y="4175"/>
                  </a:lnTo>
                  <a:cubicBezTo>
                    <a:pt x="0" y="3743"/>
                    <a:pt x="161" y="3372"/>
                    <a:pt x="483" y="3052"/>
                  </a:cubicBezTo>
                  <a:cubicBezTo>
                    <a:pt x="806" y="2735"/>
                    <a:pt x="1180" y="2580"/>
                    <a:pt x="1612" y="2580"/>
                  </a:cubicBezTo>
                  <a:lnTo>
                    <a:pt x="2150" y="2580"/>
                  </a:lnTo>
                  <a:lnTo>
                    <a:pt x="2150" y="2401"/>
                  </a:lnTo>
                  <a:cubicBezTo>
                    <a:pt x="2150" y="2116"/>
                    <a:pt x="2196" y="1828"/>
                    <a:pt x="2288" y="1540"/>
                  </a:cubicBezTo>
                  <a:cubicBezTo>
                    <a:pt x="2381" y="1249"/>
                    <a:pt x="2530" y="990"/>
                    <a:pt x="2738" y="766"/>
                  </a:cubicBezTo>
                  <a:cubicBezTo>
                    <a:pt x="2942" y="541"/>
                    <a:pt x="3216" y="360"/>
                    <a:pt x="3555" y="213"/>
                  </a:cubicBezTo>
                  <a:cubicBezTo>
                    <a:pt x="3895" y="75"/>
                    <a:pt x="4310" y="0"/>
                    <a:pt x="4796" y="0"/>
                  </a:cubicBezTo>
                  <a:cubicBezTo>
                    <a:pt x="5283" y="0"/>
                    <a:pt x="5698" y="75"/>
                    <a:pt x="6037" y="213"/>
                  </a:cubicBezTo>
                  <a:cubicBezTo>
                    <a:pt x="6377" y="360"/>
                    <a:pt x="6651" y="541"/>
                    <a:pt x="6858" y="766"/>
                  </a:cubicBezTo>
                  <a:cubicBezTo>
                    <a:pt x="7062" y="990"/>
                    <a:pt x="7215" y="1255"/>
                    <a:pt x="7313" y="1546"/>
                  </a:cubicBezTo>
                  <a:cubicBezTo>
                    <a:pt x="7411" y="1840"/>
                    <a:pt x="7457" y="2125"/>
                    <a:pt x="7457" y="2401"/>
                  </a:cubicBezTo>
                  <a:lnTo>
                    <a:pt x="7457" y="2580"/>
                  </a:lnTo>
                  <a:lnTo>
                    <a:pt x="8133" y="2580"/>
                  </a:lnTo>
                  <a:lnTo>
                    <a:pt x="8133" y="2401"/>
                  </a:lnTo>
                  <a:cubicBezTo>
                    <a:pt x="8133" y="2116"/>
                    <a:pt x="8179" y="1828"/>
                    <a:pt x="8269" y="1540"/>
                  </a:cubicBezTo>
                  <a:cubicBezTo>
                    <a:pt x="8364" y="1249"/>
                    <a:pt x="8511" y="990"/>
                    <a:pt x="8718" y="766"/>
                  </a:cubicBezTo>
                  <a:cubicBezTo>
                    <a:pt x="8925" y="541"/>
                    <a:pt x="9199" y="360"/>
                    <a:pt x="9538" y="213"/>
                  </a:cubicBezTo>
                  <a:cubicBezTo>
                    <a:pt x="9878" y="74"/>
                    <a:pt x="10293" y="0"/>
                    <a:pt x="10779" y="0"/>
                  </a:cubicBezTo>
                  <a:cubicBezTo>
                    <a:pt x="11266" y="0"/>
                    <a:pt x="11678" y="74"/>
                    <a:pt x="12020" y="213"/>
                  </a:cubicBezTo>
                  <a:cubicBezTo>
                    <a:pt x="12360" y="360"/>
                    <a:pt x="12636" y="541"/>
                    <a:pt x="12852" y="766"/>
                  </a:cubicBezTo>
                  <a:cubicBezTo>
                    <a:pt x="13068" y="990"/>
                    <a:pt x="13227" y="1255"/>
                    <a:pt x="13322" y="1546"/>
                  </a:cubicBezTo>
                  <a:cubicBezTo>
                    <a:pt x="13417" y="1840"/>
                    <a:pt x="13469" y="2125"/>
                    <a:pt x="13469" y="2401"/>
                  </a:cubicBezTo>
                  <a:lnTo>
                    <a:pt x="13469" y="2580"/>
                  </a:lnTo>
                  <a:lnTo>
                    <a:pt x="14142" y="2580"/>
                  </a:lnTo>
                  <a:lnTo>
                    <a:pt x="14142" y="2401"/>
                  </a:lnTo>
                  <a:cubicBezTo>
                    <a:pt x="14142" y="2116"/>
                    <a:pt x="14191" y="1828"/>
                    <a:pt x="14286" y="1540"/>
                  </a:cubicBezTo>
                  <a:cubicBezTo>
                    <a:pt x="14384" y="1249"/>
                    <a:pt x="14534" y="990"/>
                    <a:pt x="14741" y="765"/>
                  </a:cubicBezTo>
                  <a:cubicBezTo>
                    <a:pt x="14948" y="541"/>
                    <a:pt x="15219" y="359"/>
                    <a:pt x="15556" y="213"/>
                  </a:cubicBezTo>
                  <a:cubicBezTo>
                    <a:pt x="15890" y="74"/>
                    <a:pt x="16305" y="0"/>
                    <a:pt x="16803" y="0"/>
                  </a:cubicBezTo>
                  <a:cubicBezTo>
                    <a:pt x="17289" y="0"/>
                    <a:pt x="17704" y="74"/>
                    <a:pt x="18044" y="213"/>
                  </a:cubicBezTo>
                  <a:cubicBezTo>
                    <a:pt x="18383" y="359"/>
                    <a:pt x="18657" y="541"/>
                    <a:pt x="18864" y="765"/>
                  </a:cubicBezTo>
                  <a:cubicBezTo>
                    <a:pt x="19069" y="990"/>
                    <a:pt x="19218" y="1255"/>
                    <a:pt x="19311" y="1546"/>
                  </a:cubicBezTo>
                  <a:cubicBezTo>
                    <a:pt x="19403" y="1839"/>
                    <a:pt x="19449" y="2125"/>
                    <a:pt x="19449" y="2401"/>
                  </a:cubicBezTo>
                  <a:lnTo>
                    <a:pt x="19449" y="2580"/>
                  </a:lnTo>
                  <a:lnTo>
                    <a:pt x="19987" y="2580"/>
                  </a:lnTo>
                  <a:close/>
                  <a:moveTo>
                    <a:pt x="6066" y="7968"/>
                  </a:moveTo>
                  <a:lnTo>
                    <a:pt x="2179" y="7968"/>
                  </a:lnTo>
                  <a:lnTo>
                    <a:pt x="2179" y="11443"/>
                  </a:lnTo>
                  <a:lnTo>
                    <a:pt x="6066" y="11443"/>
                  </a:lnTo>
                  <a:lnTo>
                    <a:pt x="6066" y="7968"/>
                  </a:lnTo>
                  <a:close/>
                  <a:moveTo>
                    <a:pt x="6066" y="11976"/>
                  </a:moveTo>
                  <a:lnTo>
                    <a:pt x="2179" y="11976"/>
                  </a:lnTo>
                  <a:lnTo>
                    <a:pt x="2179" y="15452"/>
                  </a:lnTo>
                  <a:lnTo>
                    <a:pt x="6066" y="15452"/>
                  </a:lnTo>
                  <a:lnTo>
                    <a:pt x="6066" y="11976"/>
                  </a:lnTo>
                  <a:close/>
                  <a:moveTo>
                    <a:pt x="6066" y="15976"/>
                  </a:moveTo>
                  <a:lnTo>
                    <a:pt x="2179" y="15976"/>
                  </a:lnTo>
                  <a:lnTo>
                    <a:pt x="2179" y="19422"/>
                  </a:lnTo>
                  <a:lnTo>
                    <a:pt x="6066" y="19422"/>
                  </a:lnTo>
                  <a:lnTo>
                    <a:pt x="6066" y="15976"/>
                  </a:lnTo>
                  <a:close/>
                  <a:moveTo>
                    <a:pt x="3754" y="5543"/>
                  </a:moveTo>
                  <a:cubicBezTo>
                    <a:pt x="3754" y="6067"/>
                    <a:pt x="4102" y="6323"/>
                    <a:pt x="4799" y="6323"/>
                  </a:cubicBezTo>
                  <a:cubicBezTo>
                    <a:pt x="5499" y="6323"/>
                    <a:pt x="5847" y="6067"/>
                    <a:pt x="5847" y="5543"/>
                  </a:cubicBezTo>
                  <a:lnTo>
                    <a:pt x="5847" y="2398"/>
                  </a:lnTo>
                  <a:cubicBezTo>
                    <a:pt x="5847" y="1877"/>
                    <a:pt x="5499" y="1612"/>
                    <a:pt x="4799" y="1612"/>
                  </a:cubicBezTo>
                  <a:cubicBezTo>
                    <a:pt x="4102" y="1612"/>
                    <a:pt x="3754" y="1877"/>
                    <a:pt x="3754" y="2398"/>
                  </a:cubicBezTo>
                  <a:lnTo>
                    <a:pt x="3754" y="5543"/>
                  </a:lnTo>
                  <a:close/>
                  <a:moveTo>
                    <a:pt x="10535" y="7968"/>
                  </a:moveTo>
                  <a:lnTo>
                    <a:pt x="6607" y="7968"/>
                  </a:lnTo>
                  <a:lnTo>
                    <a:pt x="6607" y="11443"/>
                  </a:lnTo>
                  <a:lnTo>
                    <a:pt x="10535" y="11443"/>
                  </a:lnTo>
                  <a:lnTo>
                    <a:pt x="10535" y="7968"/>
                  </a:lnTo>
                  <a:close/>
                  <a:moveTo>
                    <a:pt x="10535" y="11976"/>
                  </a:moveTo>
                  <a:lnTo>
                    <a:pt x="6607" y="11976"/>
                  </a:lnTo>
                  <a:lnTo>
                    <a:pt x="6607" y="15452"/>
                  </a:lnTo>
                  <a:lnTo>
                    <a:pt x="10535" y="15452"/>
                  </a:lnTo>
                  <a:lnTo>
                    <a:pt x="10535" y="11976"/>
                  </a:lnTo>
                  <a:close/>
                  <a:moveTo>
                    <a:pt x="10535" y="15976"/>
                  </a:moveTo>
                  <a:lnTo>
                    <a:pt x="6607" y="15976"/>
                  </a:lnTo>
                  <a:lnTo>
                    <a:pt x="6607" y="19422"/>
                  </a:lnTo>
                  <a:lnTo>
                    <a:pt x="10535" y="19422"/>
                  </a:lnTo>
                  <a:lnTo>
                    <a:pt x="10535" y="15976"/>
                  </a:lnTo>
                  <a:close/>
                  <a:moveTo>
                    <a:pt x="9774" y="5543"/>
                  </a:moveTo>
                  <a:cubicBezTo>
                    <a:pt x="9774" y="5825"/>
                    <a:pt x="9849" y="6027"/>
                    <a:pt x="9996" y="6145"/>
                  </a:cubicBezTo>
                  <a:cubicBezTo>
                    <a:pt x="10143" y="6269"/>
                    <a:pt x="10405" y="6323"/>
                    <a:pt x="10782" y="6323"/>
                  </a:cubicBezTo>
                  <a:cubicBezTo>
                    <a:pt x="11159" y="6323"/>
                    <a:pt x="11427" y="6263"/>
                    <a:pt x="11588" y="6139"/>
                  </a:cubicBezTo>
                  <a:cubicBezTo>
                    <a:pt x="11750" y="6015"/>
                    <a:pt x="11830" y="5819"/>
                    <a:pt x="11830" y="5543"/>
                  </a:cubicBezTo>
                  <a:lnTo>
                    <a:pt x="11830" y="2398"/>
                  </a:lnTo>
                  <a:cubicBezTo>
                    <a:pt x="11830" y="2128"/>
                    <a:pt x="11750" y="1932"/>
                    <a:pt x="11588" y="1802"/>
                  </a:cubicBezTo>
                  <a:cubicBezTo>
                    <a:pt x="11427" y="1673"/>
                    <a:pt x="11159" y="1612"/>
                    <a:pt x="10782" y="1612"/>
                  </a:cubicBezTo>
                  <a:cubicBezTo>
                    <a:pt x="10405" y="1612"/>
                    <a:pt x="10143" y="1679"/>
                    <a:pt x="9996" y="1814"/>
                  </a:cubicBezTo>
                  <a:cubicBezTo>
                    <a:pt x="9849" y="1944"/>
                    <a:pt x="9774" y="2139"/>
                    <a:pt x="9774" y="2398"/>
                  </a:cubicBezTo>
                  <a:lnTo>
                    <a:pt x="9774" y="5543"/>
                  </a:lnTo>
                  <a:close/>
                  <a:moveTo>
                    <a:pt x="14986" y="7968"/>
                  </a:moveTo>
                  <a:lnTo>
                    <a:pt x="11073" y="7968"/>
                  </a:lnTo>
                  <a:lnTo>
                    <a:pt x="11073" y="11443"/>
                  </a:lnTo>
                  <a:lnTo>
                    <a:pt x="14986" y="11443"/>
                  </a:lnTo>
                  <a:lnTo>
                    <a:pt x="14986" y="7968"/>
                  </a:lnTo>
                  <a:close/>
                  <a:moveTo>
                    <a:pt x="14986" y="11976"/>
                  </a:moveTo>
                  <a:lnTo>
                    <a:pt x="11073" y="11976"/>
                  </a:lnTo>
                  <a:lnTo>
                    <a:pt x="11073" y="15452"/>
                  </a:lnTo>
                  <a:lnTo>
                    <a:pt x="14986" y="15452"/>
                  </a:lnTo>
                  <a:lnTo>
                    <a:pt x="14986" y="11976"/>
                  </a:lnTo>
                  <a:close/>
                  <a:moveTo>
                    <a:pt x="14986" y="15976"/>
                  </a:moveTo>
                  <a:lnTo>
                    <a:pt x="11073" y="15976"/>
                  </a:lnTo>
                  <a:lnTo>
                    <a:pt x="11073" y="19422"/>
                  </a:lnTo>
                  <a:lnTo>
                    <a:pt x="14986" y="19422"/>
                  </a:lnTo>
                  <a:lnTo>
                    <a:pt x="14986" y="15976"/>
                  </a:lnTo>
                  <a:close/>
                  <a:moveTo>
                    <a:pt x="19423" y="7968"/>
                  </a:moveTo>
                  <a:lnTo>
                    <a:pt x="15521" y="7968"/>
                  </a:lnTo>
                  <a:lnTo>
                    <a:pt x="15521" y="11443"/>
                  </a:lnTo>
                  <a:lnTo>
                    <a:pt x="19423" y="11443"/>
                  </a:lnTo>
                  <a:lnTo>
                    <a:pt x="19423" y="7968"/>
                  </a:lnTo>
                  <a:close/>
                  <a:moveTo>
                    <a:pt x="19423" y="11976"/>
                  </a:moveTo>
                  <a:lnTo>
                    <a:pt x="15521" y="11976"/>
                  </a:lnTo>
                  <a:lnTo>
                    <a:pt x="15521" y="15452"/>
                  </a:lnTo>
                  <a:lnTo>
                    <a:pt x="19423" y="15452"/>
                  </a:lnTo>
                  <a:lnTo>
                    <a:pt x="19423" y="11976"/>
                  </a:lnTo>
                  <a:close/>
                  <a:moveTo>
                    <a:pt x="19423" y="15976"/>
                  </a:moveTo>
                  <a:lnTo>
                    <a:pt x="15521" y="15976"/>
                  </a:lnTo>
                  <a:lnTo>
                    <a:pt x="15521" y="19422"/>
                  </a:lnTo>
                  <a:lnTo>
                    <a:pt x="19423" y="19422"/>
                  </a:lnTo>
                  <a:lnTo>
                    <a:pt x="19423" y="15976"/>
                  </a:lnTo>
                  <a:close/>
                  <a:moveTo>
                    <a:pt x="15758" y="5543"/>
                  </a:moveTo>
                  <a:cubicBezTo>
                    <a:pt x="15758" y="6067"/>
                    <a:pt x="16106" y="6323"/>
                    <a:pt x="16806" y="6323"/>
                  </a:cubicBezTo>
                  <a:cubicBezTo>
                    <a:pt x="17502" y="6323"/>
                    <a:pt x="17848" y="6067"/>
                    <a:pt x="17839" y="5543"/>
                  </a:cubicBezTo>
                  <a:lnTo>
                    <a:pt x="17839" y="2398"/>
                  </a:lnTo>
                  <a:cubicBezTo>
                    <a:pt x="17839" y="1877"/>
                    <a:pt x="17494" y="1612"/>
                    <a:pt x="16806" y="1612"/>
                  </a:cubicBezTo>
                  <a:cubicBezTo>
                    <a:pt x="16106" y="1612"/>
                    <a:pt x="15758" y="1877"/>
                    <a:pt x="15758" y="2398"/>
                  </a:cubicBezTo>
                  <a:lnTo>
                    <a:pt x="15758" y="5543"/>
                  </a:lnTo>
                  <a:close/>
                </a:path>
              </a:pathLst>
            </a:custGeom>
            <a:solidFill>
              <a:schemeClr val="accent3"/>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sp>
          <p:nvSpPr>
            <p:cNvPr id="18466" name="AutoShape 34"/>
            <p:cNvSpPr/>
            <p:nvPr/>
          </p:nvSpPr>
          <p:spPr bwMode="auto">
            <a:xfrm>
              <a:off x="5757268" y="3376464"/>
              <a:ext cx="232172" cy="205446"/>
            </a:xfrm>
            <a:custGeom>
              <a:avLst/>
              <a:gdLst>
                <a:gd name="T0" fmla="*/ 309563 w 21600"/>
                <a:gd name="T1" fmla="*/ 273844 h 21600"/>
                <a:gd name="T2" fmla="*/ 309563 w 21600"/>
                <a:gd name="T3" fmla="*/ 273844 h 21600"/>
                <a:gd name="T4" fmla="*/ 309563 w 21600"/>
                <a:gd name="T5" fmla="*/ 273844 h 21600"/>
                <a:gd name="T6" fmla="*/ 309563 w 21600"/>
                <a:gd name="T7" fmla="*/ 273844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8639"/>
                  </a:moveTo>
                  <a:cubicBezTo>
                    <a:pt x="21600" y="3959"/>
                    <a:pt x="16676" y="0"/>
                    <a:pt x="10800" y="0"/>
                  </a:cubicBezTo>
                  <a:cubicBezTo>
                    <a:pt x="4764" y="0"/>
                    <a:pt x="0" y="3959"/>
                    <a:pt x="0" y="8639"/>
                  </a:cubicBezTo>
                  <a:cubicBezTo>
                    <a:pt x="0" y="12059"/>
                    <a:pt x="2382" y="14939"/>
                    <a:pt x="5876" y="16379"/>
                  </a:cubicBezTo>
                  <a:cubicBezTo>
                    <a:pt x="6035" y="17279"/>
                    <a:pt x="5717" y="19079"/>
                    <a:pt x="3335" y="21599"/>
                  </a:cubicBezTo>
                  <a:cubicBezTo>
                    <a:pt x="3335" y="21599"/>
                    <a:pt x="8576" y="19979"/>
                    <a:pt x="11435" y="17279"/>
                  </a:cubicBezTo>
                  <a:cubicBezTo>
                    <a:pt x="17152" y="16919"/>
                    <a:pt x="21600" y="13139"/>
                    <a:pt x="21600" y="8639"/>
                  </a:cubicBezTo>
                  <a:close/>
                </a:path>
              </a:pathLst>
            </a:custGeom>
            <a:solidFill>
              <a:schemeClr val="accent3"/>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7145" tIns="17145" rIns="17145" bIns="17145"/>
            <a:lstStyle/>
            <a:p>
              <a:endParaRPr lang="zh-CN" altLang="en-US">
                <a:solidFill>
                  <a:schemeClr val="tx1">
                    <a:lumMod val="50000"/>
                    <a:lumOff val="50000"/>
                  </a:schemeClr>
                </a:solidFill>
              </a:endParaRPr>
            </a:p>
          </p:txBody>
        </p:sp>
        <p:sp>
          <p:nvSpPr>
            <p:cNvPr id="18467" name="AutoShape 35"/>
            <p:cNvSpPr/>
            <p:nvPr/>
          </p:nvSpPr>
          <p:spPr bwMode="auto">
            <a:xfrm>
              <a:off x="3694509" y="2545151"/>
              <a:ext cx="1753791" cy="1754332"/>
            </a:xfrm>
            <a:custGeom>
              <a:avLst/>
              <a:gdLst>
                <a:gd name="T0" fmla="*/ 2338269 w 19679"/>
                <a:gd name="T1" fmla="*/ 2566653 h 19679"/>
                <a:gd name="T2" fmla="*/ 2338269 w 19679"/>
                <a:gd name="T3" fmla="*/ 2566653 h 19679"/>
                <a:gd name="T4" fmla="*/ 2338269 w 19679"/>
                <a:gd name="T5" fmla="*/ 2566653 h 19679"/>
                <a:gd name="T6" fmla="*/ 2338269 w 19679"/>
                <a:gd name="T7" fmla="*/ 2566653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path>
              </a:pathLst>
            </a:custGeom>
            <a:solidFill>
              <a:schemeClr val="accent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0" tIns="0" rIns="0" bIns="0" anchor="ctr"/>
            <a:lstStyle/>
            <a:p>
              <a:endParaRPr lang="zh-CN" altLang="en-US">
                <a:solidFill>
                  <a:schemeClr val="tx1">
                    <a:lumMod val="50000"/>
                    <a:lumOff val="50000"/>
                  </a:schemeClr>
                </a:solidFill>
              </a:endParaRPr>
            </a:p>
          </p:txBody>
        </p:sp>
        <p:sp>
          <p:nvSpPr>
            <p:cNvPr id="18468" name="AutoShape 36"/>
            <p:cNvSpPr/>
            <p:nvPr/>
          </p:nvSpPr>
          <p:spPr bwMode="auto">
            <a:xfrm>
              <a:off x="4358878" y="3150771"/>
              <a:ext cx="440531" cy="440667"/>
            </a:xfrm>
            <a:custGeom>
              <a:avLst/>
              <a:gdLst>
                <a:gd name="T0" fmla="*/ 587375 w 21600"/>
                <a:gd name="T1" fmla="*/ 587375 h 21600"/>
                <a:gd name="T2" fmla="*/ 587375 w 21600"/>
                <a:gd name="T3" fmla="*/ 587375 h 21600"/>
                <a:gd name="T4" fmla="*/ 587375 w 21600"/>
                <a:gd name="T5" fmla="*/ 587375 h 21600"/>
                <a:gd name="T6" fmla="*/ 587375 w 21600"/>
                <a:gd name="T7" fmla="*/ 587375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357" y="18801"/>
                  </a:moveTo>
                  <a:cubicBezTo>
                    <a:pt x="21518" y="18965"/>
                    <a:pt x="21599" y="19177"/>
                    <a:pt x="21599" y="19436"/>
                  </a:cubicBezTo>
                  <a:cubicBezTo>
                    <a:pt x="21599" y="19580"/>
                    <a:pt x="21518" y="19775"/>
                    <a:pt x="21357" y="20018"/>
                  </a:cubicBezTo>
                  <a:cubicBezTo>
                    <a:pt x="21193" y="20261"/>
                    <a:pt x="20989" y="20504"/>
                    <a:pt x="20746" y="20741"/>
                  </a:cubicBezTo>
                  <a:cubicBezTo>
                    <a:pt x="20503" y="20978"/>
                    <a:pt x="20260" y="21184"/>
                    <a:pt x="20023" y="21348"/>
                  </a:cubicBezTo>
                  <a:cubicBezTo>
                    <a:pt x="19783" y="21518"/>
                    <a:pt x="19593" y="21600"/>
                    <a:pt x="19447" y="21600"/>
                  </a:cubicBezTo>
                  <a:cubicBezTo>
                    <a:pt x="19189" y="21600"/>
                    <a:pt x="18975" y="21515"/>
                    <a:pt x="18811" y="21343"/>
                  </a:cubicBezTo>
                  <a:lnTo>
                    <a:pt x="13957" y="16502"/>
                  </a:lnTo>
                  <a:cubicBezTo>
                    <a:pt x="13217" y="16980"/>
                    <a:pt x="12428" y="17350"/>
                    <a:pt x="11589" y="17604"/>
                  </a:cubicBezTo>
                  <a:cubicBezTo>
                    <a:pt x="10750" y="17864"/>
                    <a:pt x="9891" y="17991"/>
                    <a:pt x="9007" y="17991"/>
                  </a:cubicBezTo>
                  <a:cubicBezTo>
                    <a:pt x="7769" y="17991"/>
                    <a:pt x="6608" y="17759"/>
                    <a:pt x="5517" y="17290"/>
                  </a:cubicBezTo>
                  <a:cubicBezTo>
                    <a:pt x="4427" y="16822"/>
                    <a:pt x="3469" y="16175"/>
                    <a:pt x="2644" y="15353"/>
                  </a:cubicBezTo>
                  <a:cubicBezTo>
                    <a:pt x="1816" y="14534"/>
                    <a:pt x="1172" y="13580"/>
                    <a:pt x="700" y="12487"/>
                  </a:cubicBezTo>
                  <a:cubicBezTo>
                    <a:pt x="231" y="11400"/>
                    <a:pt x="0" y="10236"/>
                    <a:pt x="0" y="8999"/>
                  </a:cubicBezTo>
                  <a:cubicBezTo>
                    <a:pt x="0" y="7768"/>
                    <a:pt x="231" y="6602"/>
                    <a:pt x="700" y="5515"/>
                  </a:cubicBezTo>
                  <a:cubicBezTo>
                    <a:pt x="1169" y="4422"/>
                    <a:pt x="1816" y="3467"/>
                    <a:pt x="2644" y="2645"/>
                  </a:cubicBezTo>
                  <a:cubicBezTo>
                    <a:pt x="3469" y="1827"/>
                    <a:pt x="4424" y="1180"/>
                    <a:pt x="5512" y="708"/>
                  </a:cubicBezTo>
                  <a:cubicBezTo>
                    <a:pt x="6600" y="237"/>
                    <a:pt x="7764" y="0"/>
                    <a:pt x="9007" y="0"/>
                  </a:cubicBezTo>
                  <a:cubicBezTo>
                    <a:pt x="10244" y="0"/>
                    <a:pt x="11403" y="237"/>
                    <a:pt x="12488" y="708"/>
                  </a:cubicBezTo>
                  <a:cubicBezTo>
                    <a:pt x="13573" y="1180"/>
                    <a:pt x="14530" y="1827"/>
                    <a:pt x="15358" y="2645"/>
                  </a:cubicBezTo>
                  <a:cubicBezTo>
                    <a:pt x="16183" y="3467"/>
                    <a:pt x="16830" y="4422"/>
                    <a:pt x="17299" y="5515"/>
                  </a:cubicBezTo>
                  <a:cubicBezTo>
                    <a:pt x="17768" y="6602"/>
                    <a:pt x="18003" y="7768"/>
                    <a:pt x="18003" y="8999"/>
                  </a:cubicBezTo>
                  <a:cubicBezTo>
                    <a:pt x="18003" y="9886"/>
                    <a:pt x="17873" y="10747"/>
                    <a:pt x="17616" y="11589"/>
                  </a:cubicBezTo>
                  <a:cubicBezTo>
                    <a:pt x="17359" y="12433"/>
                    <a:pt x="16991" y="13218"/>
                    <a:pt x="16514" y="13947"/>
                  </a:cubicBezTo>
                  <a:lnTo>
                    <a:pt x="21357" y="18801"/>
                  </a:lnTo>
                  <a:close/>
                  <a:moveTo>
                    <a:pt x="3596" y="8999"/>
                  </a:moveTo>
                  <a:cubicBezTo>
                    <a:pt x="3596" y="9759"/>
                    <a:pt x="3740" y="10465"/>
                    <a:pt x="4028" y="11117"/>
                  </a:cubicBezTo>
                  <a:cubicBezTo>
                    <a:pt x="4317" y="11770"/>
                    <a:pt x="4707" y="12337"/>
                    <a:pt x="5193" y="12820"/>
                  </a:cubicBezTo>
                  <a:cubicBezTo>
                    <a:pt x="5679" y="13300"/>
                    <a:pt x="6252" y="13684"/>
                    <a:pt x="6908" y="13969"/>
                  </a:cubicBezTo>
                  <a:cubicBezTo>
                    <a:pt x="7566" y="14252"/>
                    <a:pt x="8264" y="14393"/>
                    <a:pt x="9004" y="14393"/>
                  </a:cubicBezTo>
                  <a:cubicBezTo>
                    <a:pt x="9744" y="14393"/>
                    <a:pt x="10439" y="14252"/>
                    <a:pt x="11092" y="13969"/>
                  </a:cubicBezTo>
                  <a:cubicBezTo>
                    <a:pt x="11745" y="13684"/>
                    <a:pt x="12318" y="13300"/>
                    <a:pt x="12801" y="12820"/>
                  </a:cubicBezTo>
                  <a:cubicBezTo>
                    <a:pt x="13290" y="12337"/>
                    <a:pt x="13677" y="11770"/>
                    <a:pt x="13965" y="11117"/>
                  </a:cubicBezTo>
                  <a:cubicBezTo>
                    <a:pt x="14254" y="10465"/>
                    <a:pt x="14398" y="9759"/>
                    <a:pt x="14398" y="8999"/>
                  </a:cubicBezTo>
                  <a:cubicBezTo>
                    <a:pt x="14398" y="8259"/>
                    <a:pt x="14254" y="7565"/>
                    <a:pt x="13965" y="6912"/>
                  </a:cubicBezTo>
                  <a:cubicBezTo>
                    <a:pt x="13674" y="6257"/>
                    <a:pt x="13290" y="5684"/>
                    <a:pt x="12801" y="5192"/>
                  </a:cubicBezTo>
                  <a:cubicBezTo>
                    <a:pt x="12315" y="4704"/>
                    <a:pt x="11745" y="4317"/>
                    <a:pt x="11092" y="4032"/>
                  </a:cubicBezTo>
                  <a:cubicBezTo>
                    <a:pt x="10439" y="3749"/>
                    <a:pt x="9741" y="3605"/>
                    <a:pt x="9004" y="3605"/>
                  </a:cubicBezTo>
                  <a:cubicBezTo>
                    <a:pt x="8267" y="3605"/>
                    <a:pt x="7566" y="3749"/>
                    <a:pt x="6908" y="4032"/>
                  </a:cubicBezTo>
                  <a:cubicBezTo>
                    <a:pt x="6252" y="4317"/>
                    <a:pt x="5676" y="4704"/>
                    <a:pt x="5193" y="5192"/>
                  </a:cubicBezTo>
                  <a:cubicBezTo>
                    <a:pt x="4707" y="5684"/>
                    <a:pt x="4317" y="6257"/>
                    <a:pt x="4028" y="6912"/>
                  </a:cubicBezTo>
                  <a:cubicBezTo>
                    <a:pt x="3740" y="7565"/>
                    <a:pt x="3596" y="8256"/>
                    <a:pt x="3596" y="8999"/>
                  </a:cubicBezTo>
                  <a:moveTo>
                    <a:pt x="9007" y="5591"/>
                  </a:moveTo>
                  <a:cubicBezTo>
                    <a:pt x="9185" y="5591"/>
                    <a:pt x="9343" y="5656"/>
                    <a:pt x="9473" y="5785"/>
                  </a:cubicBezTo>
                  <a:cubicBezTo>
                    <a:pt x="9603" y="5918"/>
                    <a:pt x="9668" y="6082"/>
                    <a:pt x="9668" y="6279"/>
                  </a:cubicBezTo>
                  <a:cubicBezTo>
                    <a:pt x="9668" y="6460"/>
                    <a:pt x="9603" y="6616"/>
                    <a:pt x="9473" y="6745"/>
                  </a:cubicBezTo>
                  <a:cubicBezTo>
                    <a:pt x="9343" y="6878"/>
                    <a:pt x="9185" y="6943"/>
                    <a:pt x="9007" y="6943"/>
                  </a:cubicBezTo>
                  <a:cubicBezTo>
                    <a:pt x="8439" y="6943"/>
                    <a:pt x="7953" y="7144"/>
                    <a:pt x="7552" y="7536"/>
                  </a:cubicBezTo>
                  <a:cubicBezTo>
                    <a:pt x="7151" y="7934"/>
                    <a:pt x="6950" y="8423"/>
                    <a:pt x="6950" y="8996"/>
                  </a:cubicBezTo>
                  <a:cubicBezTo>
                    <a:pt x="6950" y="9180"/>
                    <a:pt x="6885" y="9332"/>
                    <a:pt x="6755" y="9465"/>
                  </a:cubicBezTo>
                  <a:cubicBezTo>
                    <a:pt x="6622" y="9595"/>
                    <a:pt x="6467" y="9657"/>
                    <a:pt x="6289" y="9657"/>
                  </a:cubicBezTo>
                  <a:cubicBezTo>
                    <a:pt x="6080" y="9657"/>
                    <a:pt x="5913" y="9595"/>
                    <a:pt x="5786" y="9465"/>
                  </a:cubicBezTo>
                  <a:cubicBezTo>
                    <a:pt x="5659" y="9332"/>
                    <a:pt x="5599" y="9180"/>
                    <a:pt x="5599" y="8996"/>
                  </a:cubicBezTo>
                  <a:cubicBezTo>
                    <a:pt x="5599" y="8539"/>
                    <a:pt x="5684" y="8104"/>
                    <a:pt x="5862" y="7686"/>
                  </a:cubicBezTo>
                  <a:cubicBezTo>
                    <a:pt x="6037" y="7271"/>
                    <a:pt x="6280" y="6907"/>
                    <a:pt x="6597" y="6590"/>
                  </a:cubicBezTo>
                  <a:cubicBezTo>
                    <a:pt x="6905" y="6277"/>
                    <a:pt x="7264" y="6028"/>
                    <a:pt x="7676" y="5856"/>
                  </a:cubicBezTo>
                  <a:cubicBezTo>
                    <a:pt x="8086" y="5681"/>
                    <a:pt x="8529" y="5591"/>
                    <a:pt x="9007" y="5591"/>
                  </a:cubicBezTo>
                </a:path>
              </a:pathLst>
            </a:custGeom>
            <a:solidFill>
              <a:srgbClr val="FFFFFF"/>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14288" tIns="14288" rIns="14288" bIns="14288" anchor="ctr"/>
            <a:lstStyle/>
            <a:p>
              <a:endParaRPr lang="zh-CN" altLang="en-US">
                <a:solidFill>
                  <a:schemeClr val="tx1">
                    <a:lumMod val="50000"/>
                    <a:lumOff val="50000"/>
                  </a:schemeClr>
                </a:solidFill>
              </a:endParaRPr>
            </a:p>
          </p:txBody>
        </p:sp>
      </p:grpSp>
      <p:sp>
        <p:nvSpPr>
          <p:cNvPr id="3" name="标题 2"/>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437"/>
                                        </p:tgtEl>
                                        <p:attrNameLst>
                                          <p:attrName>style.visibility</p:attrName>
                                        </p:attrNameLst>
                                      </p:cBhvr>
                                      <p:to>
                                        <p:strVal val="visible"/>
                                      </p:to>
                                    </p:set>
                                    <p:animEffect transition="in" filter="wipe(left)">
                                      <p:cBhvr>
                                        <p:cTn id="7" dur="500"/>
                                        <p:tgtEl>
                                          <p:spTgt spid="18437"/>
                                        </p:tgtEl>
                                      </p:cBhvr>
                                    </p:animEffect>
                                  </p:childTnLst>
                                </p:cTn>
                              </p:par>
                            </p:childTnLst>
                          </p:cTn>
                        </p:par>
                        <p:par>
                          <p:cTn id="8" fill="hold">
                            <p:stCondLst>
                              <p:cond delay="500"/>
                            </p:stCondLst>
                            <p:childTnLst>
                              <p:par>
                                <p:cTn id="9" presetID="35"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2000"/>
                                        <p:tgtEl>
                                          <p:spTgt spid="2"/>
                                        </p:tgtEl>
                                      </p:cBhvr>
                                    </p:animEffect>
                                    <p:anim calcmode="lin" valueType="num">
                                      <p:cBhvr>
                                        <p:cTn id="12" dur="2000" fill="hold"/>
                                        <p:tgtEl>
                                          <p:spTgt spid="2"/>
                                        </p:tgtEl>
                                        <p:attrNameLst>
                                          <p:attrName>style.rotation</p:attrName>
                                        </p:attrNameLst>
                                      </p:cBhvr>
                                      <p:tavLst>
                                        <p:tav tm="0">
                                          <p:val>
                                            <p:fltVal val="720"/>
                                          </p:val>
                                        </p:tav>
                                        <p:tav tm="100000">
                                          <p:val>
                                            <p:fltVal val="0"/>
                                          </p:val>
                                        </p:tav>
                                      </p:tavLst>
                                    </p:anim>
                                    <p:anim calcmode="lin" valueType="num">
                                      <p:cBhvr>
                                        <p:cTn id="13" dur="2000" fill="hold"/>
                                        <p:tgtEl>
                                          <p:spTgt spid="2"/>
                                        </p:tgtEl>
                                        <p:attrNameLst>
                                          <p:attrName>ppt_h</p:attrName>
                                        </p:attrNameLst>
                                      </p:cBhvr>
                                      <p:tavLst>
                                        <p:tav tm="0">
                                          <p:val>
                                            <p:fltVal val="0"/>
                                          </p:val>
                                        </p:tav>
                                        <p:tav tm="100000">
                                          <p:val>
                                            <p:strVal val="#ppt_h"/>
                                          </p:val>
                                        </p:tav>
                                      </p:tavLst>
                                    </p:anim>
                                    <p:anim calcmode="lin" valueType="num">
                                      <p:cBhvr>
                                        <p:cTn id="14" dur="2000" fill="hold"/>
                                        <p:tgtEl>
                                          <p:spTgt spid="2"/>
                                        </p:tgtEl>
                                        <p:attrNameLst>
                                          <p:attrName>ppt_w</p:attrName>
                                        </p:attrNameLst>
                                      </p:cBhvr>
                                      <p:tavLst>
                                        <p:tav tm="0">
                                          <p:val>
                                            <p:fltVal val="0"/>
                                          </p:val>
                                        </p:tav>
                                        <p:tav tm="100000">
                                          <p:val>
                                            <p:strVal val="#ppt_w"/>
                                          </p:val>
                                        </p:tav>
                                      </p:tavLst>
                                    </p:anim>
                                  </p:childTnLst>
                                </p:cTn>
                              </p:par>
                            </p:childTnLst>
                          </p:cTn>
                        </p:par>
                        <p:par>
                          <p:cTn id="15" fill="hold">
                            <p:stCondLst>
                              <p:cond delay="2500"/>
                            </p:stCondLst>
                            <p:childTnLst>
                              <p:par>
                                <p:cTn id="16" presetID="9" presetClass="entr" presetSubtype="0" fill="hold" grpId="0" nodeType="afterEffect">
                                  <p:stCondLst>
                                    <p:cond delay="0"/>
                                  </p:stCondLst>
                                  <p:childTnLst>
                                    <p:set>
                                      <p:cBhvr>
                                        <p:cTn id="17" dur="1" fill="hold">
                                          <p:stCondLst>
                                            <p:cond delay="0"/>
                                          </p:stCondLst>
                                        </p:cTn>
                                        <p:tgtEl>
                                          <p:spTgt spid="18438"/>
                                        </p:tgtEl>
                                        <p:attrNameLst>
                                          <p:attrName>style.visibility</p:attrName>
                                        </p:attrNameLst>
                                      </p:cBhvr>
                                      <p:to>
                                        <p:strVal val="visible"/>
                                      </p:to>
                                    </p:set>
                                    <p:animEffect transition="in" filter="dissolve">
                                      <p:cBhvr>
                                        <p:cTn id="18" dur="500"/>
                                        <p:tgtEl>
                                          <p:spTgt spid="18438"/>
                                        </p:tgtEl>
                                      </p:cBhvr>
                                    </p:animEffect>
                                  </p:childTnLst>
                                </p:cTn>
                              </p:par>
                            </p:childTnLst>
                          </p:cTn>
                        </p:par>
                        <p:par>
                          <p:cTn id="19" fill="hold">
                            <p:stCondLst>
                              <p:cond delay="3000"/>
                            </p:stCondLst>
                            <p:childTnLst>
                              <p:par>
                                <p:cTn id="20" presetID="2" presetClass="entr" presetSubtype="2" fill="hold" grpId="0" nodeType="afterEffect">
                                  <p:stCondLst>
                                    <p:cond delay="0"/>
                                  </p:stCondLst>
                                  <p:childTnLst>
                                    <p:set>
                                      <p:cBhvr>
                                        <p:cTn id="21" dur="1" fill="hold">
                                          <p:stCondLst>
                                            <p:cond delay="0"/>
                                          </p:stCondLst>
                                        </p:cTn>
                                        <p:tgtEl>
                                          <p:spTgt spid="18439"/>
                                        </p:tgtEl>
                                        <p:attrNameLst>
                                          <p:attrName>style.visibility</p:attrName>
                                        </p:attrNameLst>
                                      </p:cBhvr>
                                      <p:to>
                                        <p:strVal val="visible"/>
                                      </p:to>
                                    </p:set>
                                    <p:anim calcmode="lin" valueType="num">
                                      <p:cBhvr additive="base">
                                        <p:cTn id="22" dur="500" fill="hold"/>
                                        <p:tgtEl>
                                          <p:spTgt spid="18439"/>
                                        </p:tgtEl>
                                        <p:attrNameLst>
                                          <p:attrName>ppt_x</p:attrName>
                                        </p:attrNameLst>
                                      </p:cBhvr>
                                      <p:tavLst>
                                        <p:tav tm="0">
                                          <p:val>
                                            <p:strVal val="1+#ppt_w/2"/>
                                          </p:val>
                                        </p:tav>
                                        <p:tav tm="100000">
                                          <p:val>
                                            <p:strVal val="#ppt_x"/>
                                          </p:val>
                                        </p:tav>
                                      </p:tavLst>
                                    </p:anim>
                                    <p:anim calcmode="lin" valueType="num">
                                      <p:cBhvr additive="base">
                                        <p:cTn id="23" dur="500" fill="hold"/>
                                        <p:tgtEl>
                                          <p:spTgt spid="18439"/>
                                        </p:tgtEl>
                                        <p:attrNameLst>
                                          <p:attrName>ppt_y</p:attrName>
                                        </p:attrNameLst>
                                      </p:cBhvr>
                                      <p:tavLst>
                                        <p:tav tm="0">
                                          <p:val>
                                            <p:strVal val="#ppt_y"/>
                                          </p:val>
                                        </p:tav>
                                        <p:tav tm="100000">
                                          <p:val>
                                            <p:strVal val="#ppt_y"/>
                                          </p:val>
                                        </p:tav>
                                      </p:tavLst>
                                    </p:anim>
                                  </p:childTnLst>
                                </p:cTn>
                              </p:par>
                              <p:par>
                                <p:cTn id="24" presetID="9" presetClass="entr" presetSubtype="0" fill="hold" grpId="0" nodeType="withEffect">
                                  <p:stCondLst>
                                    <p:cond delay="0"/>
                                  </p:stCondLst>
                                  <p:childTnLst>
                                    <p:set>
                                      <p:cBhvr>
                                        <p:cTn id="25" dur="1" fill="hold">
                                          <p:stCondLst>
                                            <p:cond delay="0"/>
                                          </p:stCondLst>
                                        </p:cTn>
                                        <p:tgtEl>
                                          <p:spTgt spid="18440"/>
                                        </p:tgtEl>
                                        <p:attrNameLst>
                                          <p:attrName>style.visibility</p:attrName>
                                        </p:attrNameLst>
                                      </p:cBhvr>
                                      <p:to>
                                        <p:strVal val="visible"/>
                                      </p:to>
                                    </p:set>
                                    <p:animEffect transition="in" filter="dissolve">
                                      <p:cBhvr>
                                        <p:cTn id="26" dur="500"/>
                                        <p:tgtEl>
                                          <p:spTgt spid="18440"/>
                                        </p:tgtEl>
                                      </p:cBhvr>
                                    </p:animEffect>
                                  </p:childTnLst>
                                </p:cTn>
                              </p:par>
                            </p:childTnLst>
                          </p:cTn>
                        </p:par>
                        <p:par>
                          <p:cTn id="27" fill="hold">
                            <p:stCondLst>
                              <p:cond delay="3500"/>
                            </p:stCondLst>
                            <p:childTnLst>
                              <p:par>
                                <p:cTn id="28" presetID="2" presetClass="entr" presetSubtype="2" fill="hold" grpId="0" nodeType="afterEffect">
                                  <p:stCondLst>
                                    <p:cond delay="0"/>
                                  </p:stCondLst>
                                  <p:childTnLst>
                                    <p:set>
                                      <p:cBhvr>
                                        <p:cTn id="29" dur="1" fill="hold">
                                          <p:stCondLst>
                                            <p:cond delay="0"/>
                                          </p:stCondLst>
                                        </p:cTn>
                                        <p:tgtEl>
                                          <p:spTgt spid="18441"/>
                                        </p:tgtEl>
                                        <p:attrNameLst>
                                          <p:attrName>style.visibility</p:attrName>
                                        </p:attrNameLst>
                                      </p:cBhvr>
                                      <p:to>
                                        <p:strVal val="visible"/>
                                      </p:to>
                                    </p:set>
                                    <p:anim calcmode="lin" valueType="num">
                                      <p:cBhvr additive="base">
                                        <p:cTn id="30" dur="500" fill="hold"/>
                                        <p:tgtEl>
                                          <p:spTgt spid="18441"/>
                                        </p:tgtEl>
                                        <p:attrNameLst>
                                          <p:attrName>ppt_x</p:attrName>
                                        </p:attrNameLst>
                                      </p:cBhvr>
                                      <p:tavLst>
                                        <p:tav tm="0">
                                          <p:val>
                                            <p:strVal val="1+#ppt_w/2"/>
                                          </p:val>
                                        </p:tav>
                                        <p:tav tm="100000">
                                          <p:val>
                                            <p:strVal val="#ppt_x"/>
                                          </p:val>
                                        </p:tav>
                                      </p:tavLst>
                                    </p:anim>
                                    <p:anim calcmode="lin" valueType="num">
                                      <p:cBhvr additive="base">
                                        <p:cTn id="31" dur="500" fill="hold"/>
                                        <p:tgtEl>
                                          <p:spTgt spid="18441"/>
                                        </p:tgtEl>
                                        <p:attrNameLst>
                                          <p:attrName>ppt_y</p:attrName>
                                        </p:attrNameLst>
                                      </p:cBhvr>
                                      <p:tavLst>
                                        <p:tav tm="0">
                                          <p:val>
                                            <p:strVal val="#ppt_y"/>
                                          </p:val>
                                        </p:tav>
                                        <p:tav tm="100000">
                                          <p:val>
                                            <p:strVal val="#ppt_y"/>
                                          </p:val>
                                        </p:tav>
                                      </p:tavLst>
                                    </p:anim>
                                  </p:childTnLst>
                                </p:cTn>
                              </p:par>
                              <p:par>
                                <p:cTn id="32" presetID="9" presetClass="entr" presetSubtype="0" fill="hold" grpId="0" nodeType="withEffect">
                                  <p:stCondLst>
                                    <p:cond delay="0"/>
                                  </p:stCondLst>
                                  <p:childTnLst>
                                    <p:set>
                                      <p:cBhvr>
                                        <p:cTn id="33" dur="1" fill="hold">
                                          <p:stCondLst>
                                            <p:cond delay="0"/>
                                          </p:stCondLst>
                                        </p:cTn>
                                        <p:tgtEl>
                                          <p:spTgt spid="18442"/>
                                        </p:tgtEl>
                                        <p:attrNameLst>
                                          <p:attrName>style.visibility</p:attrName>
                                        </p:attrNameLst>
                                      </p:cBhvr>
                                      <p:to>
                                        <p:strVal val="visible"/>
                                      </p:to>
                                    </p:set>
                                    <p:animEffect transition="in" filter="dissolve">
                                      <p:cBhvr>
                                        <p:cTn id="34" dur="500"/>
                                        <p:tgtEl>
                                          <p:spTgt spid="18442"/>
                                        </p:tgtEl>
                                      </p:cBhvr>
                                    </p:animEffect>
                                  </p:childTnLst>
                                </p:cTn>
                              </p:par>
                            </p:childTnLst>
                          </p:cTn>
                        </p:par>
                        <p:par>
                          <p:cTn id="35" fill="hold">
                            <p:stCondLst>
                              <p:cond delay="4000"/>
                            </p:stCondLst>
                            <p:childTnLst>
                              <p:par>
                                <p:cTn id="36" presetID="2" presetClass="entr" presetSubtype="2" fill="hold" grpId="0" nodeType="afterEffect">
                                  <p:stCondLst>
                                    <p:cond delay="0"/>
                                  </p:stCondLst>
                                  <p:childTnLst>
                                    <p:set>
                                      <p:cBhvr>
                                        <p:cTn id="37" dur="1" fill="hold">
                                          <p:stCondLst>
                                            <p:cond delay="0"/>
                                          </p:stCondLst>
                                        </p:cTn>
                                        <p:tgtEl>
                                          <p:spTgt spid="18443"/>
                                        </p:tgtEl>
                                        <p:attrNameLst>
                                          <p:attrName>style.visibility</p:attrName>
                                        </p:attrNameLst>
                                      </p:cBhvr>
                                      <p:to>
                                        <p:strVal val="visible"/>
                                      </p:to>
                                    </p:set>
                                    <p:anim calcmode="lin" valueType="num">
                                      <p:cBhvr additive="base">
                                        <p:cTn id="38" dur="500" fill="hold"/>
                                        <p:tgtEl>
                                          <p:spTgt spid="18443"/>
                                        </p:tgtEl>
                                        <p:attrNameLst>
                                          <p:attrName>ppt_x</p:attrName>
                                        </p:attrNameLst>
                                      </p:cBhvr>
                                      <p:tavLst>
                                        <p:tav tm="0">
                                          <p:val>
                                            <p:strVal val="1+#ppt_w/2"/>
                                          </p:val>
                                        </p:tav>
                                        <p:tav tm="100000">
                                          <p:val>
                                            <p:strVal val="#ppt_x"/>
                                          </p:val>
                                        </p:tav>
                                      </p:tavLst>
                                    </p:anim>
                                    <p:anim calcmode="lin" valueType="num">
                                      <p:cBhvr additive="base">
                                        <p:cTn id="39" dur="500" fill="hold"/>
                                        <p:tgtEl>
                                          <p:spTgt spid="18443"/>
                                        </p:tgtEl>
                                        <p:attrNameLst>
                                          <p:attrName>ppt_y</p:attrName>
                                        </p:attrNameLst>
                                      </p:cBhvr>
                                      <p:tavLst>
                                        <p:tav tm="0">
                                          <p:val>
                                            <p:strVal val="#ppt_y"/>
                                          </p:val>
                                        </p:tav>
                                        <p:tav tm="100000">
                                          <p:val>
                                            <p:strVal val="#ppt_y"/>
                                          </p:val>
                                        </p:tav>
                                      </p:tavLst>
                                    </p:anim>
                                  </p:childTnLst>
                                </p:cTn>
                              </p:par>
                              <p:par>
                                <p:cTn id="40" presetID="9" presetClass="entr" presetSubtype="0" fill="hold" grpId="0" nodeType="withEffect">
                                  <p:stCondLst>
                                    <p:cond delay="0"/>
                                  </p:stCondLst>
                                  <p:childTnLst>
                                    <p:set>
                                      <p:cBhvr>
                                        <p:cTn id="41" dur="1" fill="hold">
                                          <p:stCondLst>
                                            <p:cond delay="0"/>
                                          </p:stCondLst>
                                        </p:cTn>
                                        <p:tgtEl>
                                          <p:spTgt spid="18444"/>
                                        </p:tgtEl>
                                        <p:attrNameLst>
                                          <p:attrName>style.visibility</p:attrName>
                                        </p:attrNameLst>
                                      </p:cBhvr>
                                      <p:to>
                                        <p:strVal val="visible"/>
                                      </p:to>
                                    </p:set>
                                    <p:animEffect transition="in" filter="dissolve">
                                      <p:cBhvr>
                                        <p:cTn id="42" dur="500"/>
                                        <p:tgtEl>
                                          <p:spTgt spid="18444"/>
                                        </p:tgtEl>
                                      </p:cBhvr>
                                    </p:animEffect>
                                  </p:childTnLst>
                                </p:cTn>
                              </p:par>
                            </p:childTnLst>
                          </p:cTn>
                        </p:par>
                        <p:par>
                          <p:cTn id="43" fill="hold">
                            <p:stCondLst>
                              <p:cond delay="4500"/>
                            </p:stCondLst>
                            <p:childTnLst>
                              <p:par>
                                <p:cTn id="44" presetID="2" presetClass="entr" presetSubtype="8" fill="hold" grpId="0" nodeType="afterEffect">
                                  <p:stCondLst>
                                    <p:cond delay="0"/>
                                  </p:stCondLst>
                                  <p:childTnLst>
                                    <p:set>
                                      <p:cBhvr>
                                        <p:cTn id="45" dur="1" fill="hold">
                                          <p:stCondLst>
                                            <p:cond delay="0"/>
                                          </p:stCondLst>
                                        </p:cTn>
                                        <p:tgtEl>
                                          <p:spTgt spid="18445"/>
                                        </p:tgtEl>
                                        <p:attrNameLst>
                                          <p:attrName>style.visibility</p:attrName>
                                        </p:attrNameLst>
                                      </p:cBhvr>
                                      <p:to>
                                        <p:strVal val="visible"/>
                                      </p:to>
                                    </p:set>
                                    <p:anim calcmode="lin" valueType="num">
                                      <p:cBhvr additive="base">
                                        <p:cTn id="46" dur="500" fill="hold"/>
                                        <p:tgtEl>
                                          <p:spTgt spid="18445"/>
                                        </p:tgtEl>
                                        <p:attrNameLst>
                                          <p:attrName>ppt_x</p:attrName>
                                        </p:attrNameLst>
                                      </p:cBhvr>
                                      <p:tavLst>
                                        <p:tav tm="0">
                                          <p:val>
                                            <p:strVal val="0-#ppt_w/2"/>
                                          </p:val>
                                        </p:tav>
                                        <p:tav tm="100000">
                                          <p:val>
                                            <p:strVal val="#ppt_x"/>
                                          </p:val>
                                        </p:tav>
                                      </p:tavLst>
                                    </p:anim>
                                    <p:anim calcmode="lin" valueType="num">
                                      <p:cBhvr additive="base">
                                        <p:cTn id="47" dur="500" fill="hold"/>
                                        <p:tgtEl>
                                          <p:spTgt spid="18445"/>
                                        </p:tgtEl>
                                        <p:attrNameLst>
                                          <p:attrName>ppt_y</p:attrName>
                                        </p:attrNameLst>
                                      </p:cBhvr>
                                      <p:tavLst>
                                        <p:tav tm="0">
                                          <p:val>
                                            <p:strVal val="#ppt_y"/>
                                          </p:val>
                                        </p:tav>
                                        <p:tav tm="100000">
                                          <p:val>
                                            <p:strVal val="#ppt_y"/>
                                          </p:val>
                                        </p:tav>
                                      </p:tavLst>
                                    </p:anim>
                                  </p:childTnLst>
                                </p:cTn>
                              </p:par>
                              <p:par>
                                <p:cTn id="48" presetID="9" presetClass="entr" presetSubtype="0" fill="hold" grpId="0" nodeType="withEffect">
                                  <p:stCondLst>
                                    <p:cond delay="0"/>
                                  </p:stCondLst>
                                  <p:childTnLst>
                                    <p:set>
                                      <p:cBhvr>
                                        <p:cTn id="49" dur="1" fill="hold">
                                          <p:stCondLst>
                                            <p:cond delay="0"/>
                                          </p:stCondLst>
                                        </p:cTn>
                                        <p:tgtEl>
                                          <p:spTgt spid="18446"/>
                                        </p:tgtEl>
                                        <p:attrNameLst>
                                          <p:attrName>style.visibility</p:attrName>
                                        </p:attrNameLst>
                                      </p:cBhvr>
                                      <p:to>
                                        <p:strVal val="visible"/>
                                      </p:to>
                                    </p:set>
                                    <p:animEffect transition="in" filter="dissolve">
                                      <p:cBhvr>
                                        <p:cTn id="50" dur="500"/>
                                        <p:tgtEl>
                                          <p:spTgt spid="18446"/>
                                        </p:tgtEl>
                                      </p:cBhvr>
                                    </p:animEffect>
                                  </p:childTnLst>
                                </p:cTn>
                              </p:par>
                            </p:childTnLst>
                          </p:cTn>
                        </p:par>
                        <p:par>
                          <p:cTn id="51" fill="hold">
                            <p:stCondLst>
                              <p:cond delay="5000"/>
                            </p:stCondLst>
                            <p:childTnLst>
                              <p:par>
                                <p:cTn id="52" presetID="2" presetClass="entr" presetSubtype="8" fill="hold" grpId="0" nodeType="afterEffect">
                                  <p:stCondLst>
                                    <p:cond delay="0"/>
                                  </p:stCondLst>
                                  <p:childTnLst>
                                    <p:set>
                                      <p:cBhvr>
                                        <p:cTn id="53" dur="1" fill="hold">
                                          <p:stCondLst>
                                            <p:cond delay="0"/>
                                          </p:stCondLst>
                                        </p:cTn>
                                        <p:tgtEl>
                                          <p:spTgt spid="18447"/>
                                        </p:tgtEl>
                                        <p:attrNameLst>
                                          <p:attrName>style.visibility</p:attrName>
                                        </p:attrNameLst>
                                      </p:cBhvr>
                                      <p:to>
                                        <p:strVal val="visible"/>
                                      </p:to>
                                    </p:set>
                                    <p:anim calcmode="lin" valueType="num">
                                      <p:cBhvr additive="base">
                                        <p:cTn id="54" dur="500" fill="hold"/>
                                        <p:tgtEl>
                                          <p:spTgt spid="18447"/>
                                        </p:tgtEl>
                                        <p:attrNameLst>
                                          <p:attrName>ppt_x</p:attrName>
                                        </p:attrNameLst>
                                      </p:cBhvr>
                                      <p:tavLst>
                                        <p:tav tm="0">
                                          <p:val>
                                            <p:strVal val="0-#ppt_w/2"/>
                                          </p:val>
                                        </p:tav>
                                        <p:tav tm="100000">
                                          <p:val>
                                            <p:strVal val="#ppt_x"/>
                                          </p:val>
                                        </p:tav>
                                      </p:tavLst>
                                    </p:anim>
                                    <p:anim calcmode="lin" valueType="num">
                                      <p:cBhvr additive="base">
                                        <p:cTn id="55" dur="500" fill="hold"/>
                                        <p:tgtEl>
                                          <p:spTgt spid="18447"/>
                                        </p:tgtEl>
                                        <p:attrNameLst>
                                          <p:attrName>ppt_y</p:attrName>
                                        </p:attrNameLst>
                                      </p:cBhvr>
                                      <p:tavLst>
                                        <p:tav tm="0">
                                          <p:val>
                                            <p:strVal val="#ppt_y"/>
                                          </p:val>
                                        </p:tav>
                                        <p:tav tm="100000">
                                          <p:val>
                                            <p:strVal val="#ppt_y"/>
                                          </p:val>
                                        </p:tav>
                                      </p:tavLst>
                                    </p:anim>
                                  </p:childTnLst>
                                </p:cTn>
                              </p:par>
                              <p:par>
                                <p:cTn id="56" presetID="9" presetClass="entr" presetSubtype="0" fill="hold" grpId="0" nodeType="withEffect">
                                  <p:stCondLst>
                                    <p:cond delay="0"/>
                                  </p:stCondLst>
                                  <p:childTnLst>
                                    <p:set>
                                      <p:cBhvr>
                                        <p:cTn id="57" dur="1" fill="hold">
                                          <p:stCondLst>
                                            <p:cond delay="0"/>
                                          </p:stCondLst>
                                        </p:cTn>
                                        <p:tgtEl>
                                          <p:spTgt spid="18448"/>
                                        </p:tgtEl>
                                        <p:attrNameLst>
                                          <p:attrName>style.visibility</p:attrName>
                                        </p:attrNameLst>
                                      </p:cBhvr>
                                      <p:to>
                                        <p:strVal val="visible"/>
                                      </p:to>
                                    </p:set>
                                    <p:animEffect transition="in" filter="dissolve">
                                      <p:cBhvr>
                                        <p:cTn id="58" dur="500"/>
                                        <p:tgtEl>
                                          <p:spTgt spid="18448"/>
                                        </p:tgtEl>
                                      </p:cBhvr>
                                    </p:animEffect>
                                  </p:childTnLst>
                                </p:cTn>
                              </p:par>
                            </p:childTnLst>
                          </p:cTn>
                        </p:par>
                        <p:par>
                          <p:cTn id="59" fill="hold">
                            <p:stCondLst>
                              <p:cond delay="5500"/>
                            </p:stCondLst>
                            <p:childTnLst>
                              <p:par>
                                <p:cTn id="60" presetID="2" presetClass="entr" presetSubtype="8" fill="hold" grpId="0" nodeType="afterEffect">
                                  <p:stCondLst>
                                    <p:cond delay="0"/>
                                  </p:stCondLst>
                                  <p:childTnLst>
                                    <p:set>
                                      <p:cBhvr>
                                        <p:cTn id="61" dur="1" fill="hold">
                                          <p:stCondLst>
                                            <p:cond delay="0"/>
                                          </p:stCondLst>
                                        </p:cTn>
                                        <p:tgtEl>
                                          <p:spTgt spid="18449"/>
                                        </p:tgtEl>
                                        <p:attrNameLst>
                                          <p:attrName>style.visibility</p:attrName>
                                        </p:attrNameLst>
                                      </p:cBhvr>
                                      <p:to>
                                        <p:strVal val="visible"/>
                                      </p:to>
                                    </p:set>
                                    <p:anim calcmode="lin" valueType="num">
                                      <p:cBhvr additive="base">
                                        <p:cTn id="62" dur="500" fill="hold"/>
                                        <p:tgtEl>
                                          <p:spTgt spid="18449"/>
                                        </p:tgtEl>
                                        <p:attrNameLst>
                                          <p:attrName>ppt_x</p:attrName>
                                        </p:attrNameLst>
                                      </p:cBhvr>
                                      <p:tavLst>
                                        <p:tav tm="0">
                                          <p:val>
                                            <p:strVal val="0-#ppt_w/2"/>
                                          </p:val>
                                        </p:tav>
                                        <p:tav tm="100000">
                                          <p:val>
                                            <p:strVal val="#ppt_x"/>
                                          </p:val>
                                        </p:tav>
                                      </p:tavLst>
                                    </p:anim>
                                    <p:anim calcmode="lin" valueType="num">
                                      <p:cBhvr additive="base">
                                        <p:cTn id="63" dur="500" fill="hold"/>
                                        <p:tgtEl>
                                          <p:spTgt spid="1844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37" grpId="0"/>
      <p:bldP spid="18438" grpId="0" autoUpdateAnimBg="0"/>
      <p:bldP spid="18439" grpId="0" autoUpdateAnimBg="0"/>
      <p:bldP spid="18440" grpId="0" autoUpdateAnimBg="0"/>
      <p:bldP spid="18441" grpId="0" autoUpdateAnimBg="0"/>
      <p:bldP spid="18442" grpId="0" autoUpdateAnimBg="0"/>
      <p:bldP spid="18443" grpId="0" autoUpdateAnimBg="0"/>
      <p:bldP spid="18444" grpId="0" autoUpdateAnimBg="0"/>
      <p:bldP spid="18445" grpId="0" autoUpdateAnimBg="0"/>
      <p:bldP spid="18446" grpId="0" autoUpdateAnimBg="0"/>
      <p:bldP spid="18447" grpId="0" autoUpdateAnimBg="0"/>
      <p:bldP spid="18448" grpId="0" autoUpdateAnimBg="0"/>
      <p:bldP spid="18449" grpId="0"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组合 60"/>
          <p:cNvGrpSpPr/>
          <p:nvPr/>
        </p:nvGrpSpPr>
        <p:grpSpPr>
          <a:xfrm>
            <a:off x="794" y="1427401"/>
            <a:ext cx="6373580" cy="1418861"/>
            <a:chOff x="0" y="638606"/>
            <a:chExt cx="6167437" cy="1373215"/>
          </a:xfrm>
          <a:solidFill>
            <a:schemeClr val="accent1"/>
          </a:solidFill>
        </p:grpSpPr>
        <p:sp>
          <p:nvSpPr>
            <p:cNvPr id="62" name="矩形 61"/>
            <p:cNvSpPr/>
            <p:nvPr/>
          </p:nvSpPr>
          <p:spPr bwMode="auto">
            <a:xfrm>
              <a:off x="0" y="638606"/>
              <a:ext cx="1157288" cy="10814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dirty="0"/>
            </a:p>
          </p:txBody>
        </p:sp>
        <p:sp>
          <p:nvSpPr>
            <p:cNvPr id="63" name="矩形 62"/>
            <p:cNvSpPr/>
            <p:nvPr/>
          </p:nvSpPr>
          <p:spPr bwMode="auto">
            <a:xfrm>
              <a:off x="3117057" y="1232911"/>
              <a:ext cx="2808685" cy="7789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64" name="矩形 28"/>
            <p:cNvSpPr/>
            <p:nvPr/>
          </p:nvSpPr>
          <p:spPr bwMode="auto">
            <a:xfrm>
              <a:off x="1157288" y="638607"/>
              <a:ext cx="1959769" cy="1373214"/>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26712" h="1280593">
                  <a:moveTo>
                    <a:pt x="0" y="0"/>
                  </a:moveTo>
                  <a:lnTo>
                    <a:pt x="1826712" y="555625"/>
                  </a:lnTo>
                  <a:lnTo>
                    <a:pt x="1826712" y="1280593"/>
                  </a:lnTo>
                  <a:lnTo>
                    <a:pt x="0" y="1007543"/>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65" name="TextBox 40"/>
            <p:cNvSpPr txBox="1">
              <a:spLocks noChangeArrowheads="1"/>
            </p:cNvSpPr>
            <p:nvPr/>
          </p:nvSpPr>
          <p:spPr bwMode="auto">
            <a:xfrm>
              <a:off x="138685" y="810841"/>
              <a:ext cx="853757" cy="767029"/>
            </a:xfrm>
            <a:prstGeom prst="rect">
              <a:avLst/>
            </a:prstGeom>
            <a:no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68580" tIns="34290" rIns="68580" bIns="34290">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ct val="0"/>
                </a:spcBef>
                <a:buFontTx/>
                <a:buNone/>
              </a:pPr>
              <a:r>
                <a:rPr lang="en-US" altLang="zh-CN" sz="4700" b="1" dirty="0">
                  <a:solidFill>
                    <a:schemeClr val="bg1"/>
                  </a:solidFill>
                  <a:latin typeface="微软雅黑" panose="020B0503020204020204" pitchFamily="34" charset="-122"/>
                  <a:ea typeface="微软雅黑" panose="020B0503020204020204" pitchFamily="34" charset="-122"/>
                </a:rPr>
                <a:t>01</a:t>
              </a:r>
              <a:endParaRPr lang="zh-CN" altLang="en-US" sz="4700" b="1" dirty="0">
                <a:solidFill>
                  <a:schemeClr val="bg1"/>
                </a:solidFill>
                <a:latin typeface="微软雅黑" panose="020B0503020204020204" pitchFamily="34" charset="-122"/>
                <a:ea typeface="微软雅黑" panose="020B0503020204020204" pitchFamily="34" charset="-122"/>
              </a:endParaRPr>
            </a:p>
          </p:txBody>
        </p:sp>
        <p:sp>
          <p:nvSpPr>
            <p:cNvPr id="67" name="等腰三角形 66"/>
            <p:cNvSpPr/>
            <p:nvPr/>
          </p:nvSpPr>
          <p:spPr bwMode="auto">
            <a:xfrm rot="5400000">
              <a:off x="5906052" y="1501517"/>
              <a:ext cx="281074" cy="24169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solidFill>
                  <a:schemeClr val="bg1"/>
                </a:solidFill>
              </a:endParaRPr>
            </a:p>
          </p:txBody>
        </p:sp>
        <p:sp>
          <p:nvSpPr>
            <p:cNvPr id="68" name="AutoShape 1"/>
            <p:cNvSpPr/>
            <p:nvPr/>
          </p:nvSpPr>
          <p:spPr bwMode="auto">
            <a:xfrm>
              <a:off x="3127772" y="1429425"/>
              <a:ext cx="2805113" cy="52165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grpFill/>
            <a:ln>
              <a:noFill/>
            </a:ln>
            <a:effectLst/>
            <a:extLs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34289" tIns="34289" rIns="34289" bIns="34289"/>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a:lnSpc>
                  <a:spcPct val="100000"/>
                </a:lnSpc>
                <a:spcBef>
                  <a:spcPct val="0"/>
                </a:spcBef>
                <a:buFontTx/>
                <a:buNone/>
                <a:defRPr/>
              </a:pPr>
              <a:endParaRPr lang="zh-CN" altLang="zh-CN" sz="1100" dirty="0">
                <a:cs typeface="Helvetica" panose="020B0604020202020204" pitchFamily="34" charset="0"/>
                <a:sym typeface="Calibri" panose="020F0502020204030204" pitchFamily="34" charset="0"/>
              </a:endParaRPr>
            </a:p>
          </p:txBody>
        </p:sp>
        <p:sp>
          <p:nvSpPr>
            <p:cNvPr id="69" name="矩形 15"/>
            <p:cNvSpPr>
              <a:spLocks noChangeArrowheads="1"/>
            </p:cNvSpPr>
            <p:nvPr/>
          </p:nvSpPr>
          <p:spPr bwMode="auto">
            <a:xfrm>
              <a:off x="3574615" y="1477065"/>
              <a:ext cx="1920953" cy="4244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68580" tIns="34290" rIns="68580" bIns="34290">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a:lnSpc>
                  <a:spcPct val="100000"/>
                </a:lnSpc>
                <a:spcBef>
                  <a:spcPct val="0"/>
                </a:spcBef>
                <a:buFontTx/>
                <a:buNone/>
              </a:pPr>
              <a:r>
                <a:rPr lang="zh-CN" altLang="zh-CN" sz="2400">
                  <a:solidFill>
                    <a:schemeClr val="bg1"/>
                  </a:solidFill>
                  <a:latin typeface="微软雅黑" panose="020B0503020204020204" pitchFamily="34" charset="-122"/>
                  <a:ea typeface="微软雅黑" panose="020B0503020204020204" pitchFamily="34" charset="-122"/>
                  <a:cs typeface="Helvetica" panose="020B0604020202020204" pitchFamily="34" charset="0"/>
                  <a:sym typeface="微软雅黑" panose="020B0503020204020204" pitchFamily="34" charset="-122"/>
                </a:rPr>
                <a:t>点击添加标题</a:t>
              </a:r>
              <a:endParaRPr lang="zh-CN" altLang="zh-CN" sz="1200">
                <a:solidFill>
                  <a:schemeClr val="bg1"/>
                </a:solidFill>
                <a:ea typeface="微软雅黑" panose="020B0503020204020204" pitchFamily="34" charset="-122"/>
                <a:cs typeface="Helvetica" panose="020B0604020202020204" pitchFamily="34" charset="0"/>
              </a:endParaRPr>
            </a:p>
          </p:txBody>
        </p:sp>
      </p:grpSp>
      <p:sp>
        <p:nvSpPr>
          <p:cNvPr id="101" name="矩形 100"/>
          <p:cNvSpPr/>
          <p:nvPr/>
        </p:nvSpPr>
        <p:spPr bwMode="auto">
          <a:xfrm>
            <a:off x="3229420" y="2041460"/>
            <a:ext cx="580760" cy="3209356"/>
          </a:xfrm>
          <a:prstGeom prst="rect">
            <a:avLst/>
          </a:prstGeom>
          <a:gradFill>
            <a:gsLst>
              <a:gs pos="0">
                <a:schemeClr val="bg1">
                  <a:alpha val="0"/>
                </a:schemeClr>
              </a:gs>
              <a:gs pos="100000">
                <a:schemeClr val="tx1">
                  <a:alpha val="16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09" rIns="91417" bIns="45709" anchor="ctr"/>
          <a:lstStyle/>
          <a:p>
            <a:pPr algn="ctr">
              <a:defRPr/>
            </a:pPr>
            <a:endParaRPr lang="zh-CN" altLang="en-US"/>
          </a:p>
        </p:txBody>
      </p:sp>
      <p:sp>
        <p:nvSpPr>
          <p:cNvPr id="102" name="矩形 101"/>
          <p:cNvSpPr/>
          <p:nvPr/>
        </p:nvSpPr>
        <p:spPr bwMode="auto">
          <a:xfrm rot="10800000">
            <a:off x="598780" y="1394055"/>
            <a:ext cx="579529" cy="4453473"/>
          </a:xfrm>
          <a:prstGeom prst="rect">
            <a:avLst/>
          </a:prstGeom>
          <a:gradFill>
            <a:gsLst>
              <a:gs pos="0">
                <a:schemeClr val="bg1">
                  <a:alpha val="0"/>
                </a:schemeClr>
              </a:gs>
              <a:gs pos="100000">
                <a:schemeClr val="tx1">
                  <a:alpha val="16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09" rIns="91417" bIns="45709" anchor="ctr"/>
          <a:lstStyle/>
          <a:p>
            <a:pPr algn="ctr">
              <a:defRPr/>
            </a:pPr>
            <a:endParaRPr lang="zh-CN" altLang="en-US" dirty="0"/>
          </a:p>
        </p:txBody>
      </p:sp>
      <p:sp>
        <p:nvSpPr>
          <p:cNvPr id="103" name="矩形 13"/>
          <p:cNvSpPr>
            <a:spLocks noChangeArrowheads="1"/>
          </p:cNvSpPr>
          <p:nvPr/>
        </p:nvSpPr>
        <p:spPr bwMode="auto">
          <a:xfrm>
            <a:off x="6764471" y="2017345"/>
            <a:ext cx="3747447" cy="8307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14:hiddenLine>
            </a:ext>
          </a:extLst>
        </p:spPr>
        <p:txBody>
          <a:bodyPr wrap="square" lIns="91417" tIns="45709" rIns="91417" bIns="45709">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50000"/>
              </a:lnSpc>
              <a:spcBef>
                <a:spcPct val="0"/>
              </a:spcBef>
              <a:buClr>
                <a:schemeClr val="accent1"/>
              </a:buClr>
              <a:buFont typeface="Arial" panose="020B0604020202020204" pitchFamily="34" charset="0"/>
              <a:buNone/>
            </a:pPr>
            <a:r>
              <a:rPr lang="zh-CN" altLang="en-US" sz="1600" dirty="0">
                <a:latin typeface="微软雅黑" panose="020B0503020204020204" pitchFamily="34" charset="-122"/>
                <a:ea typeface="微软雅黑" panose="020B0503020204020204" pitchFamily="34" charset="-122"/>
              </a:rPr>
              <a:t>单击此处添加文字内容</a:t>
            </a:r>
            <a:endParaRPr lang="en-US" altLang="zh-CN" sz="1600" dirty="0">
              <a:latin typeface="微软雅黑" panose="020B0503020204020204" pitchFamily="34" charset="-122"/>
              <a:ea typeface="微软雅黑" panose="020B0503020204020204" pitchFamily="34" charset="-122"/>
            </a:endParaRPr>
          </a:p>
          <a:p>
            <a:pPr>
              <a:lnSpc>
                <a:spcPct val="150000"/>
              </a:lnSpc>
              <a:spcBef>
                <a:spcPct val="0"/>
              </a:spcBef>
              <a:buClr>
                <a:schemeClr val="accent1"/>
              </a:buClr>
              <a:buFont typeface="Arial" panose="020B0604020202020204" pitchFamily="34" charset="0"/>
              <a:buNone/>
            </a:pPr>
            <a:r>
              <a:rPr lang="zh-CN" altLang="en-US" sz="1600" dirty="0">
                <a:latin typeface="微软雅黑" panose="020B0503020204020204" pitchFamily="34" charset="-122"/>
                <a:ea typeface="微软雅黑" panose="020B0503020204020204" pitchFamily="34" charset="-122"/>
              </a:rPr>
              <a:t>单击此处添加文字内容</a:t>
            </a:r>
          </a:p>
        </p:txBody>
      </p:sp>
      <p:sp>
        <p:nvSpPr>
          <p:cNvPr id="104" name="矩形 13"/>
          <p:cNvSpPr>
            <a:spLocks noChangeArrowheads="1"/>
          </p:cNvSpPr>
          <p:nvPr/>
        </p:nvSpPr>
        <p:spPr bwMode="auto">
          <a:xfrm>
            <a:off x="6764471" y="2818452"/>
            <a:ext cx="3747447" cy="8307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14:hiddenLine>
            </a:ext>
          </a:extLst>
        </p:spPr>
        <p:txBody>
          <a:bodyPr wrap="square" lIns="91417" tIns="45709" rIns="91417" bIns="45709">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50000"/>
              </a:lnSpc>
              <a:spcBef>
                <a:spcPct val="0"/>
              </a:spcBef>
              <a:buClr>
                <a:schemeClr val="accent1"/>
              </a:buClr>
              <a:buFont typeface="Arial" panose="020B0604020202020204" pitchFamily="34" charset="0"/>
              <a:buNone/>
            </a:pPr>
            <a:r>
              <a:rPr lang="zh-CN" altLang="en-US" sz="1600">
                <a:latin typeface="微软雅黑" panose="020B0503020204020204" pitchFamily="34" charset="-122"/>
                <a:ea typeface="微软雅黑" panose="020B0503020204020204" pitchFamily="34" charset="-122"/>
              </a:rPr>
              <a:t>单击此处添加文字内容</a:t>
            </a:r>
            <a:endParaRPr lang="en-US" altLang="zh-CN" sz="1600">
              <a:latin typeface="微软雅黑" panose="020B0503020204020204" pitchFamily="34" charset="-122"/>
              <a:ea typeface="微软雅黑" panose="020B0503020204020204" pitchFamily="34" charset="-122"/>
            </a:endParaRPr>
          </a:p>
          <a:p>
            <a:pPr>
              <a:lnSpc>
                <a:spcPct val="150000"/>
              </a:lnSpc>
              <a:spcBef>
                <a:spcPct val="0"/>
              </a:spcBef>
              <a:buClr>
                <a:schemeClr val="accent1"/>
              </a:buClr>
              <a:buFont typeface="Arial" panose="020B0604020202020204" pitchFamily="34" charset="0"/>
              <a:buNone/>
            </a:pPr>
            <a:r>
              <a:rPr lang="zh-CN" altLang="en-US" sz="1600">
                <a:latin typeface="微软雅黑" panose="020B0503020204020204" pitchFamily="34" charset="-122"/>
                <a:ea typeface="微软雅黑" panose="020B0503020204020204" pitchFamily="34" charset="-122"/>
              </a:rPr>
              <a:t>单击此处添加文字内容</a:t>
            </a:r>
          </a:p>
        </p:txBody>
      </p:sp>
      <p:sp>
        <p:nvSpPr>
          <p:cNvPr id="105" name="矩形 13"/>
          <p:cNvSpPr>
            <a:spLocks noChangeArrowheads="1"/>
          </p:cNvSpPr>
          <p:nvPr/>
        </p:nvSpPr>
        <p:spPr bwMode="auto">
          <a:xfrm>
            <a:off x="6764471" y="3620791"/>
            <a:ext cx="3747447" cy="8307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14:hiddenLine>
            </a:ext>
          </a:extLst>
        </p:spPr>
        <p:txBody>
          <a:bodyPr wrap="square" lIns="91417" tIns="45709" rIns="91417" bIns="45709">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50000"/>
              </a:lnSpc>
              <a:spcBef>
                <a:spcPct val="0"/>
              </a:spcBef>
              <a:buClr>
                <a:schemeClr val="accent1"/>
              </a:buClr>
              <a:buFont typeface="Arial" panose="020B0604020202020204" pitchFamily="34" charset="0"/>
              <a:buNone/>
            </a:pPr>
            <a:r>
              <a:rPr lang="zh-CN" altLang="en-US" sz="1600">
                <a:latin typeface="微软雅黑" panose="020B0503020204020204" pitchFamily="34" charset="-122"/>
                <a:ea typeface="微软雅黑" panose="020B0503020204020204" pitchFamily="34" charset="-122"/>
              </a:rPr>
              <a:t>单击此处添加文字内容</a:t>
            </a:r>
            <a:endParaRPr lang="en-US" altLang="zh-CN" sz="1600">
              <a:latin typeface="微软雅黑" panose="020B0503020204020204" pitchFamily="34" charset="-122"/>
              <a:ea typeface="微软雅黑" panose="020B0503020204020204" pitchFamily="34" charset="-122"/>
            </a:endParaRPr>
          </a:p>
          <a:p>
            <a:pPr>
              <a:lnSpc>
                <a:spcPct val="150000"/>
              </a:lnSpc>
              <a:spcBef>
                <a:spcPct val="0"/>
              </a:spcBef>
              <a:buClr>
                <a:schemeClr val="accent1"/>
              </a:buClr>
              <a:buFont typeface="Arial" panose="020B0604020202020204" pitchFamily="34" charset="0"/>
              <a:buNone/>
            </a:pPr>
            <a:r>
              <a:rPr lang="zh-CN" altLang="en-US" sz="1600">
                <a:latin typeface="微软雅黑" panose="020B0503020204020204" pitchFamily="34" charset="-122"/>
                <a:ea typeface="微软雅黑" panose="020B0503020204020204" pitchFamily="34" charset="-122"/>
              </a:rPr>
              <a:t>单击此处添加文字内容</a:t>
            </a:r>
          </a:p>
        </p:txBody>
      </p:sp>
      <p:sp>
        <p:nvSpPr>
          <p:cNvPr id="106" name="矩形 13"/>
          <p:cNvSpPr>
            <a:spLocks noChangeArrowheads="1"/>
          </p:cNvSpPr>
          <p:nvPr/>
        </p:nvSpPr>
        <p:spPr bwMode="auto">
          <a:xfrm>
            <a:off x="6764471" y="4421900"/>
            <a:ext cx="3747447" cy="8307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14:hiddenLine>
            </a:ext>
          </a:extLst>
        </p:spPr>
        <p:txBody>
          <a:bodyPr wrap="square" lIns="91417" tIns="45709" rIns="91417" bIns="45709">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50000"/>
              </a:lnSpc>
              <a:spcBef>
                <a:spcPct val="0"/>
              </a:spcBef>
              <a:buClr>
                <a:schemeClr val="accent1"/>
              </a:buClr>
              <a:buFont typeface="Arial" panose="020B0604020202020204" pitchFamily="34" charset="0"/>
              <a:buNone/>
            </a:pPr>
            <a:r>
              <a:rPr lang="zh-CN" altLang="en-US" sz="1600">
                <a:latin typeface="微软雅黑" panose="020B0503020204020204" pitchFamily="34" charset="-122"/>
                <a:ea typeface="微软雅黑" panose="020B0503020204020204" pitchFamily="34" charset="-122"/>
              </a:rPr>
              <a:t>单击此处添加文字内容</a:t>
            </a:r>
            <a:endParaRPr lang="en-US" altLang="zh-CN" sz="1600">
              <a:latin typeface="微软雅黑" panose="020B0503020204020204" pitchFamily="34" charset="-122"/>
              <a:ea typeface="微软雅黑" panose="020B0503020204020204" pitchFamily="34" charset="-122"/>
            </a:endParaRPr>
          </a:p>
          <a:p>
            <a:pPr>
              <a:lnSpc>
                <a:spcPct val="150000"/>
              </a:lnSpc>
              <a:spcBef>
                <a:spcPct val="0"/>
              </a:spcBef>
              <a:buClr>
                <a:schemeClr val="accent1"/>
              </a:buClr>
              <a:buFont typeface="Arial" panose="020B0604020202020204" pitchFamily="34" charset="0"/>
              <a:buNone/>
            </a:pPr>
            <a:r>
              <a:rPr lang="zh-CN" altLang="en-US" sz="1600">
                <a:latin typeface="微软雅黑" panose="020B0503020204020204" pitchFamily="34" charset="-122"/>
                <a:ea typeface="微软雅黑" panose="020B0503020204020204" pitchFamily="34" charset="-122"/>
              </a:rPr>
              <a:t>单击此处添加文字内容</a:t>
            </a:r>
          </a:p>
        </p:txBody>
      </p:sp>
      <p:grpSp>
        <p:nvGrpSpPr>
          <p:cNvPr id="113" name="组合 112"/>
          <p:cNvGrpSpPr/>
          <p:nvPr/>
        </p:nvGrpSpPr>
        <p:grpSpPr>
          <a:xfrm>
            <a:off x="794" y="2539847"/>
            <a:ext cx="6373580" cy="1118599"/>
            <a:chOff x="0" y="1905473"/>
            <a:chExt cx="4780807" cy="839208"/>
          </a:xfrm>
        </p:grpSpPr>
        <p:grpSp>
          <p:nvGrpSpPr>
            <p:cNvPr id="70" name="组合 69"/>
            <p:cNvGrpSpPr/>
            <p:nvPr/>
          </p:nvGrpSpPr>
          <p:grpSpPr>
            <a:xfrm>
              <a:off x="0" y="1905473"/>
              <a:ext cx="4780807" cy="839208"/>
              <a:chOff x="0" y="1715264"/>
              <a:chExt cx="6167437" cy="1082613"/>
            </a:xfrm>
            <a:solidFill>
              <a:schemeClr val="accent2"/>
            </a:solidFill>
          </p:grpSpPr>
          <p:sp>
            <p:nvSpPr>
              <p:cNvPr id="71" name="矩形 70"/>
              <p:cNvSpPr/>
              <p:nvPr/>
            </p:nvSpPr>
            <p:spPr bwMode="auto">
              <a:xfrm>
                <a:off x="0" y="1715264"/>
                <a:ext cx="1157288" cy="10814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solidFill>
                    <a:schemeClr val="bg1"/>
                  </a:solidFill>
                </a:endParaRPr>
              </a:p>
            </p:txBody>
          </p:sp>
          <p:sp>
            <p:nvSpPr>
              <p:cNvPr id="72" name="矩形 71"/>
              <p:cNvSpPr/>
              <p:nvPr/>
            </p:nvSpPr>
            <p:spPr bwMode="auto">
              <a:xfrm>
                <a:off x="3117057" y="2008247"/>
                <a:ext cx="2808685" cy="780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73" name="矩形 28"/>
              <p:cNvSpPr/>
              <p:nvPr/>
            </p:nvSpPr>
            <p:spPr bwMode="auto">
              <a:xfrm>
                <a:off x="1157288" y="1717646"/>
                <a:ext cx="1963341" cy="1080231"/>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33980"/>
                  <a:gd name="connsiteY0-72" fmla="*/ 0 h 1007543"/>
                  <a:gd name="connsiteX1-73" fmla="*/ 1829887 w 1833980"/>
                  <a:gd name="connsiteY1-74" fmla="*/ 273050 h 1007543"/>
                  <a:gd name="connsiteX2-75" fmla="*/ 1833856 w 1833980"/>
                  <a:gd name="connsiteY2-76" fmla="*/ 1001193 h 1007543"/>
                  <a:gd name="connsiteX3-77" fmla="*/ 0 w 1833980"/>
                  <a:gd name="connsiteY3-78" fmla="*/ 1007543 h 1007543"/>
                  <a:gd name="connsiteX4-79" fmla="*/ 0 w 1833980"/>
                  <a:gd name="connsiteY4-80" fmla="*/ 0 h 1007543"/>
                  <a:gd name="connsiteX0-81" fmla="*/ 0 w 1829887"/>
                  <a:gd name="connsiteY0-82" fmla="*/ 0 h 1007543"/>
                  <a:gd name="connsiteX1-83" fmla="*/ 1829887 w 1829887"/>
                  <a:gd name="connsiteY1-84" fmla="*/ 273050 h 1007543"/>
                  <a:gd name="connsiteX2-85" fmla="*/ 1829093 w 1829887"/>
                  <a:gd name="connsiteY2-86" fmla="*/ 1003575 h 1007543"/>
                  <a:gd name="connsiteX3-87" fmla="*/ 0 w 1829887"/>
                  <a:gd name="connsiteY3-88" fmla="*/ 1007543 h 1007543"/>
                  <a:gd name="connsiteX4-89" fmla="*/ 0 w 1829887"/>
                  <a:gd name="connsiteY4-90" fmla="*/ 0 h 100754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29887" h="1007543">
                    <a:moveTo>
                      <a:pt x="0" y="0"/>
                    </a:moveTo>
                    <a:lnTo>
                      <a:pt x="1829887" y="273050"/>
                    </a:lnTo>
                    <a:cubicBezTo>
                      <a:pt x="1828829" y="608898"/>
                      <a:pt x="1830151" y="667727"/>
                      <a:pt x="1829093" y="1003575"/>
                    </a:cubicBezTo>
                    <a:lnTo>
                      <a:pt x="0" y="100754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dirty="0"/>
              </a:p>
            </p:txBody>
          </p:sp>
          <p:sp>
            <p:nvSpPr>
              <p:cNvPr id="76" name="等腰三角形 75"/>
              <p:cNvSpPr/>
              <p:nvPr/>
            </p:nvSpPr>
            <p:spPr bwMode="auto">
              <a:xfrm rot="5400000">
                <a:off x="5906647" y="2277449"/>
                <a:ext cx="279883" cy="24169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solidFill>
                    <a:schemeClr val="bg1"/>
                  </a:solidFill>
                </a:endParaRPr>
              </a:p>
            </p:txBody>
          </p:sp>
          <p:sp>
            <p:nvSpPr>
              <p:cNvPr id="77" name="矩形 46"/>
              <p:cNvSpPr>
                <a:spLocks noChangeArrowheads="1"/>
              </p:cNvSpPr>
              <p:nvPr/>
            </p:nvSpPr>
            <p:spPr bwMode="auto">
              <a:xfrm>
                <a:off x="3574615" y="2263120"/>
                <a:ext cx="1920953" cy="42447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68580" tIns="34290" rIns="68580" bIns="34290">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a:lnSpc>
                    <a:spcPct val="100000"/>
                  </a:lnSpc>
                  <a:spcBef>
                    <a:spcPct val="0"/>
                  </a:spcBef>
                  <a:buFontTx/>
                  <a:buNone/>
                </a:pPr>
                <a:r>
                  <a:rPr lang="zh-CN" altLang="zh-CN" sz="2400" dirty="0">
                    <a:solidFill>
                      <a:schemeClr val="bg1"/>
                    </a:solidFill>
                    <a:latin typeface="微软雅黑" panose="020B0503020204020204" pitchFamily="34" charset="-122"/>
                    <a:ea typeface="微软雅黑" panose="020B0503020204020204" pitchFamily="34" charset="-122"/>
                    <a:cs typeface="Helvetica" panose="020B0604020202020204" pitchFamily="34" charset="0"/>
                    <a:sym typeface="微软雅黑" panose="020B0503020204020204" pitchFamily="34" charset="-122"/>
                  </a:rPr>
                  <a:t>点击添加标题</a:t>
                </a:r>
                <a:endParaRPr lang="zh-CN" altLang="zh-CN" sz="1200" dirty="0">
                  <a:solidFill>
                    <a:schemeClr val="bg1"/>
                  </a:solidFill>
                  <a:ea typeface="微软雅黑" panose="020B0503020204020204" pitchFamily="34" charset="-122"/>
                  <a:cs typeface="Helvetica" panose="020B0604020202020204" pitchFamily="34" charset="0"/>
                </a:endParaRPr>
              </a:p>
            </p:txBody>
          </p:sp>
        </p:grpSp>
        <p:sp>
          <p:nvSpPr>
            <p:cNvPr id="110" name="TextBox 40"/>
            <p:cNvSpPr txBox="1">
              <a:spLocks noChangeArrowheads="1"/>
            </p:cNvSpPr>
            <p:nvPr/>
          </p:nvSpPr>
          <p:spPr bwMode="auto">
            <a:xfrm>
              <a:off x="107504" y="2026224"/>
              <a:ext cx="661806" cy="594577"/>
            </a:xfrm>
            <a:prstGeom prst="rect">
              <a:avLst/>
            </a:prstGeom>
            <a:noFill/>
            <a:ln>
              <a:noFill/>
            </a:ln>
          </p:spPr>
          <p:txBody>
            <a:bodyPr wrap="none" lIns="68580" tIns="34290" rIns="68580" bIns="34290">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ct val="0"/>
                </a:spcBef>
                <a:buFontTx/>
                <a:buNone/>
              </a:pPr>
              <a:r>
                <a:rPr lang="en-US" altLang="zh-CN" sz="4700" b="1" dirty="0">
                  <a:solidFill>
                    <a:schemeClr val="bg1"/>
                  </a:solidFill>
                  <a:latin typeface="微软雅黑" panose="020B0503020204020204" pitchFamily="34" charset="-122"/>
                  <a:ea typeface="微软雅黑" panose="020B0503020204020204" pitchFamily="34" charset="-122"/>
                </a:rPr>
                <a:t>02</a:t>
              </a:r>
              <a:endParaRPr lang="zh-CN" altLang="en-US" sz="4700" b="1" dirty="0">
                <a:solidFill>
                  <a:schemeClr val="bg1"/>
                </a:solidFill>
                <a:latin typeface="微软雅黑" panose="020B0503020204020204" pitchFamily="34" charset="-122"/>
                <a:ea typeface="微软雅黑" panose="020B0503020204020204" pitchFamily="34" charset="-122"/>
              </a:endParaRPr>
            </a:p>
          </p:txBody>
        </p:sp>
      </p:grpSp>
      <p:grpSp>
        <p:nvGrpSpPr>
          <p:cNvPr id="114" name="组合 113"/>
          <p:cNvGrpSpPr/>
          <p:nvPr/>
        </p:nvGrpSpPr>
        <p:grpSpPr>
          <a:xfrm>
            <a:off x="794" y="3639985"/>
            <a:ext cx="6373580" cy="1123520"/>
            <a:chOff x="0" y="2730832"/>
            <a:chExt cx="4780807" cy="842900"/>
          </a:xfrm>
        </p:grpSpPr>
        <p:grpSp>
          <p:nvGrpSpPr>
            <p:cNvPr id="78" name="组合 77"/>
            <p:cNvGrpSpPr/>
            <p:nvPr/>
          </p:nvGrpSpPr>
          <p:grpSpPr>
            <a:xfrm>
              <a:off x="0" y="2730832"/>
              <a:ext cx="4780807" cy="842900"/>
              <a:chOff x="0" y="2780011"/>
              <a:chExt cx="6167437" cy="1087375"/>
            </a:xfrm>
            <a:solidFill>
              <a:schemeClr val="accent3"/>
            </a:solidFill>
          </p:grpSpPr>
          <p:sp>
            <p:nvSpPr>
              <p:cNvPr id="79" name="矩形 78"/>
              <p:cNvSpPr/>
              <p:nvPr/>
            </p:nvSpPr>
            <p:spPr bwMode="auto">
              <a:xfrm>
                <a:off x="0" y="2785965"/>
                <a:ext cx="1157288" cy="10814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solidFill>
                    <a:schemeClr val="bg1"/>
                  </a:solidFill>
                </a:endParaRPr>
              </a:p>
            </p:txBody>
          </p:sp>
          <p:sp>
            <p:nvSpPr>
              <p:cNvPr id="80" name="矩形 79"/>
              <p:cNvSpPr/>
              <p:nvPr/>
            </p:nvSpPr>
            <p:spPr bwMode="auto">
              <a:xfrm>
                <a:off x="3117057" y="2780011"/>
                <a:ext cx="2808685" cy="780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81" name="矩形 28"/>
              <p:cNvSpPr/>
              <p:nvPr/>
            </p:nvSpPr>
            <p:spPr bwMode="auto">
              <a:xfrm>
                <a:off x="1157287" y="2790729"/>
                <a:ext cx="1966913" cy="1076657"/>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29887"/>
                  <a:gd name="connsiteY0-72" fmla="*/ 0 h 1001193"/>
                  <a:gd name="connsiteX1-73" fmla="*/ 1829887 w 1829887"/>
                  <a:gd name="connsiteY1-74" fmla="*/ 273050 h 1001193"/>
                  <a:gd name="connsiteX2-75" fmla="*/ 1826712 w 1829887"/>
                  <a:gd name="connsiteY2-76" fmla="*/ 1001193 h 1001193"/>
                  <a:gd name="connsiteX3-77" fmla="*/ 0 w 1829887"/>
                  <a:gd name="connsiteY3-78" fmla="*/ 998018 h 1001193"/>
                  <a:gd name="connsiteX4-79" fmla="*/ 0 w 1829887"/>
                  <a:gd name="connsiteY4-80" fmla="*/ 0 h 1001193"/>
                  <a:gd name="connsiteX0-81" fmla="*/ 0 w 1832268"/>
                  <a:gd name="connsiteY0-82" fmla="*/ 5556 h 1006749"/>
                  <a:gd name="connsiteX1-83" fmla="*/ 1832268 w 1832268"/>
                  <a:gd name="connsiteY1-84" fmla="*/ 0 h 1006749"/>
                  <a:gd name="connsiteX2-85" fmla="*/ 1826712 w 1832268"/>
                  <a:gd name="connsiteY2-86" fmla="*/ 1006749 h 1006749"/>
                  <a:gd name="connsiteX3-87" fmla="*/ 0 w 1832268"/>
                  <a:gd name="connsiteY3-88" fmla="*/ 1003574 h 1006749"/>
                  <a:gd name="connsiteX4-89" fmla="*/ 0 w 1832268"/>
                  <a:gd name="connsiteY4-90" fmla="*/ 5556 h 1006749"/>
                  <a:gd name="connsiteX0-91" fmla="*/ 0 w 1832268"/>
                  <a:gd name="connsiteY0-92" fmla="*/ 5556 h 1003574"/>
                  <a:gd name="connsiteX1-93" fmla="*/ 1832268 w 1832268"/>
                  <a:gd name="connsiteY1-94" fmla="*/ 0 h 1003574"/>
                  <a:gd name="connsiteX2-95" fmla="*/ 1829093 w 1832268"/>
                  <a:gd name="connsiteY2-96" fmla="*/ 720999 h 1003574"/>
                  <a:gd name="connsiteX3-97" fmla="*/ 0 w 1832268"/>
                  <a:gd name="connsiteY3-98" fmla="*/ 1003574 h 1003574"/>
                  <a:gd name="connsiteX4-99" fmla="*/ 0 w 1832268"/>
                  <a:gd name="connsiteY4-100" fmla="*/ 5556 h 1003574"/>
                  <a:gd name="connsiteX0-101" fmla="*/ 0 w 1834048"/>
                  <a:gd name="connsiteY0-102" fmla="*/ 5556 h 1003574"/>
                  <a:gd name="connsiteX1-103" fmla="*/ 1832268 w 1834048"/>
                  <a:gd name="connsiteY1-104" fmla="*/ 0 h 1003574"/>
                  <a:gd name="connsiteX2-105" fmla="*/ 1833856 w 1834048"/>
                  <a:gd name="connsiteY2-106" fmla="*/ 720999 h 1003574"/>
                  <a:gd name="connsiteX3-107" fmla="*/ 0 w 1834048"/>
                  <a:gd name="connsiteY3-108" fmla="*/ 1003574 h 1003574"/>
                  <a:gd name="connsiteX4-109" fmla="*/ 0 w 1834048"/>
                  <a:gd name="connsiteY4-110" fmla="*/ 5556 h 100357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34048" h="1003574">
                    <a:moveTo>
                      <a:pt x="0" y="5556"/>
                    </a:moveTo>
                    <a:lnTo>
                      <a:pt x="1832268" y="0"/>
                    </a:lnTo>
                    <a:cubicBezTo>
                      <a:pt x="1831210" y="335848"/>
                      <a:pt x="1834914" y="385151"/>
                      <a:pt x="1833856" y="720999"/>
                    </a:cubicBezTo>
                    <a:lnTo>
                      <a:pt x="0" y="1003574"/>
                    </a:lnTo>
                    <a:lnTo>
                      <a:pt x="0" y="555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grpSp>
            <p:nvGrpSpPr>
              <p:cNvPr id="83" name="Group 173"/>
              <p:cNvGrpSpPr>
                <a:grpSpLocks noChangeAspect="1"/>
              </p:cNvGrpSpPr>
              <p:nvPr/>
            </p:nvGrpSpPr>
            <p:grpSpPr bwMode="auto">
              <a:xfrm>
                <a:off x="1968066" y="2845652"/>
                <a:ext cx="276691" cy="315443"/>
                <a:chOff x="-1908175" y="1651000"/>
                <a:chExt cx="1373187" cy="1557338"/>
              </a:xfrm>
              <a:grpFill/>
            </p:grpSpPr>
            <p:sp>
              <p:nvSpPr>
                <p:cNvPr id="86"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a:lstStyle/>
                <a:p>
                  <a:pPr>
                    <a:defRPr/>
                  </a:pPr>
                  <a:endParaRPr lang="en-US"/>
                </a:p>
              </p:txBody>
            </p:sp>
            <p:sp>
              <p:nvSpPr>
                <p:cNvPr id="87"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a:lstStyle/>
                <a:p>
                  <a:pPr>
                    <a:defRPr/>
                  </a:pPr>
                  <a:endParaRPr lang="en-US"/>
                </a:p>
              </p:txBody>
            </p:sp>
            <p:sp>
              <p:nvSpPr>
                <p:cNvPr id="88" name="Oval 21"/>
                <p:cNvSpPr>
                  <a:spLocks noChangeArrowheads="1"/>
                </p:cNvSpPr>
                <p:nvPr/>
              </p:nvSpPr>
              <p:spPr bwMode="auto">
                <a:xfrm>
                  <a:off x="-1055688" y="2462213"/>
                  <a:ext cx="171450" cy="171450"/>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a:lstStyle/>
                <a:p>
                  <a:pPr>
                    <a:defRPr/>
                  </a:pPr>
                  <a:endParaRPr lang="en-US"/>
                </a:p>
              </p:txBody>
            </p:sp>
            <p:sp>
              <p:nvSpPr>
                <p:cNvPr id="89" name="Oval 22"/>
                <p:cNvSpPr>
                  <a:spLocks noChangeArrowheads="1"/>
                </p:cNvSpPr>
                <p:nvPr/>
              </p:nvSpPr>
              <p:spPr bwMode="auto">
                <a:xfrm>
                  <a:off x="-1776413" y="2792413"/>
                  <a:ext cx="115888" cy="119063"/>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a:lstStyle/>
                <a:p>
                  <a:pPr>
                    <a:defRPr/>
                  </a:pPr>
                  <a:endParaRPr lang="en-US"/>
                </a:p>
              </p:txBody>
            </p:sp>
            <p:sp>
              <p:nvSpPr>
                <p:cNvPr id="91" name="Oval 24"/>
                <p:cNvSpPr>
                  <a:spLocks noChangeArrowheads="1"/>
                </p:cNvSpPr>
                <p:nvPr/>
              </p:nvSpPr>
              <p:spPr bwMode="auto">
                <a:xfrm>
                  <a:off x="-1333500" y="3128963"/>
                  <a:ext cx="77788" cy="79375"/>
                </a:xfrm>
                <a:prstGeom prst="ellipse">
                  <a:avLst/>
                </a:prstGeom>
                <a:grpFill/>
                <a:ln w="9525">
                  <a:solidFill>
                    <a:schemeClr val="tx1"/>
                  </a:solidFill>
                  <a:round/>
                </a:ln>
              </p:spPr>
              <p:txBody>
                <a:bodyPr/>
                <a:lstStyle/>
                <a:p>
                  <a:pPr>
                    <a:defRPr/>
                  </a:pPr>
                  <a:endParaRPr lang="en-US"/>
                </a:p>
              </p:txBody>
            </p:sp>
            <p:sp>
              <p:nvSpPr>
                <p:cNvPr id="92" name="Freeform 25"/>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a:lstStyle/>
                <a:p>
                  <a:pPr>
                    <a:defRPr/>
                  </a:pPr>
                  <a:endParaRPr lang="en-US"/>
                </a:p>
              </p:txBody>
            </p:sp>
          </p:grpSp>
          <p:sp>
            <p:nvSpPr>
              <p:cNvPr id="84" name="等腰三角形 83"/>
              <p:cNvSpPr/>
              <p:nvPr/>
            </p:nvSpPr>
            <p:spPr bwMode="auto">
              <a:xfrm rot="5400000">
                <a:off x="5906647" y="3049213"/>
                <a:ext cx="279883" cy="24169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solidFill>
                    <a:schemeClr val="bg1"/>
                  </a:solidFill>
                </a:endParaRPr>
              </a:p>
            </p:txBody>
          </p:sp>
          <p:sp>
            <p:nvSpPr>
              <p:cNvPr id="85" name="矩形 82"/>
              <p:cNvSpPr>
                <a:spLocks noChangeArrowheads="1"/>
              </p:cNvSpPr>
              <p:nvPr/>
            </p:nvSpPr>
            <p:spPr bwMode="auto">
              <a:xfrm>
                <a:off x="3574615" y="3050366"/>
                <a:ext cx="1920953" cy="4244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68580" tIns="34290" rIns="68580" bIns="34290">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a:lnSpc>
                    <a:spcPct val="100000"/>
                  </a:lnSpc>
                  <a:spcBef>
                    <a:spcPct val="0"/>
                  </a:spcBef>
                  <a:buFontTx/>
                  <a:buNone/>
                </a:pPr>
                <a:r>
                  <a:rPr lang="zh-CN" altLang="zh-CN" sz="2400">
                    <a:solidFill>
                      <a:schemeClr val="bg1"/>
                    </a:solidFill>
                    <a:latin typeface="微软雅黑" panose="020B0503020204020204" pitchFamily="34" charset="-122"/>
                    <a:ea typeface="微软雅黑" panose="020B0503020204020204" pitchFamily="34" charset="-122"/>
                    <a:cs typeface="Helvetica" panose="020B0604020202020204" pitchFamily="34" charset="0"/>
                    <a:sym typeface="微软雅黑" panose="020B0503020204020204" pitchFamily="34" charset="-122"/>
                  </a:rPr>
                  <a:t>点击添加标题</a:t>
                </a:r>
                <a:endParaRPr lang="zh-CN" altLang="zh-CN" sz="1200">
                  <a:solidFill>
                    <a:schemeClr val="bg1"/>
                  </a:solidFill>
                  <a:ea typeface="微软雅黑" panose="020B0503020204020204" pitchFamily="34" charset="-122"/>
                  <a:cs typeface="Helvetica" panose="020B0604020202020204" pitchFamily="34" charset="0"/>
                </a:endParaRPr>
              </a:p>
            </p:txBody>
          </p:sp>
        </p:grpSp>
        <p:sp>
          <p:nvSpPr>
            <p:cNvPr id="111" name="TextBox 40"/>
            <p:cNvSpPr txBox="1">
              <a:spLocks noChangeArrowheads="1"/>
            </p:cNvSpPr>
            <p:nvPr/>
          </p:nvSpPr>
          <p:spPr bwMode="auto">
            <a:xfrm>
              <a:off x="107504" y="2864424"/>
              <a:ext cx="661806" cy="594577"/>
            </a:xfrm>
            <a:prstGeom prst="rect">
              <a:avLst/>
            </a:prstGeom>
            <a:noFill/>
            <a:ln>
              <a:noFill/>
            </a:ln>
          </p:spPr>
          <p:txBody>
            <a:bodyPr wrap="none" lIns="68580" tIns="34290" rIns="68580" bIns="34290">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ct val="0"/>
                </a:spcBef>
                <a:buFontTx/>
                <a:buNone/>
              </a:pPr>
              <a:r>
                <a:rPr lang="en-US" altLang="zh-CN" sz="4700" b="1" dirty="0">
                  <a:solidFill>
                    <a:schemeClr val="bg1"/>
                  </a:solidFill>
                  <a:latin typeface="微软雅黑" panose="020B0503020204020204" pitchFamily="34" charset="-122"/>
                  <a:ea typeface="微软雅黑" panose="020B0503020204020204" pitchFamily="34" charset="-122"/>
                </a:rPr>
                <a:t>03</a:t>
              </a:r>
              <a:endParaRPr lang="zh-CN" altLang="en-US" sz="4700" b="1" dirty="0">
                <a:solidFill>
                  <a:schemeClr val="bg1"/>
                </a:solidFill>
                <a:latin typeface="微软雅黑" panose="020B0503020204020204" pitchFamily="34" charset="-122"/>
                <a:ea typeface="微软雅黑" panose="020B0503020204020204" pitchFamily="34" charset="-122"/>
              </a:endParaRPr>
            </a:p>
          </p:txBody>
        </p:sp>
      </p:grpSp>
      <p:grpSp>
        <p:nvGrpSpPr>
          <p:cNvPr id="115" name="组合 114"/>
          <p:cNvGrpSpPr/>
          <p:nvPr/>
        </p:nvGrpSpPr>
        <p:grpSpPr>
          <a:xfrm>
            <a:off x="794" y="4443556"/>
            <a:ext cx="6373580" cy="1437319"/>
            <a:chOff x="0" y="3333695"/>
            <a:chExt cx="4780807" cy="1078322"/>
          </a:xfrm>
        </p:grpSpPr>
        <p:grpSp>
          <p:nvGrpSpPr>
            <p:cNvPr id="93" name="组合 92"/>
            <p:cNvGrpSpPr/>
            <p:nvPr/>
          </p:nvGrpSpPr>
          <p:grpSpPr>
            <a:xfrm>
              <a:off x="0" y="3333695"/>
              <a:ext cx="4780807" cy="1078322"/>
              <a:chOff x="0" y="3557729"/>
              <a:chExt cx="6167437" cy="1391079"/>
            </a:xfrm>
            <a:solidFill>
              <a:schemeClr val="accent4"/>
            </a:solidFill>
          </p:grpSpPr>
          <p:sp>
            <p:nvSpPr>
              <p:cNvPr id="94" name="矩形 93"/>
              <p:cNvSpPr/>
              <p:nvPr/>
            </p:nvSpPr>
            <p:spPr bwMode="auto">
              <a:xfrm>
                <a:off x="0" y="3867387"/>
                <a:ext cx="1157288" cy="10814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solidFill>
                    <a:schemeClr val="bg1"/>
                  </a:solidFill>
                </a:endParaRPr>
              </a:p>
            </p:txBody>
          </p:sp>
          <p:sp>
            <p:nvSpPr>
              <p:cNvPr id="95" name="矩形 94"/>
              <p:cNvSpPr/>
              <p:nvPr/>
            </p:nvSpPr>
            <p:spPr bwMode="auto">
              <a:xfrm>
                <a:off x="3117057" y="3560111"/>
                <a:ext cx="2808685" cy="77890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96" name="矩形 28"/>
              <p:cNvSpPr/>
              <p:nvPr/>
            </p:nvSpPr>
            <p:spPr bwMode="auto">
              <a:xfrm>
                <a:off x="1152525" y="3557729"/>
                <a:ext cx="1970485" cy="1391079"/>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29887"/>
                  <a:gd name="connsiteY0-72" fmla="*/ 0 h 1001193"/>
                  <a:gd name="connsiteX1-73" fmla="*/ 1829887 w 1829887"/>
                  <a:gd name="connsiteY1-74" fmla="*/ 273050 h 1001193"/>
                  <a:gd name="connsiteX2-75" fmla="*/ 1826712 w 1829887"/>
                  <a:gd name="connsiteY2-76" fmla="*/ 1001193 h 1001193"/>
                  <a:gd name="connsiteX3-77" fmla="*/ 0 w 1829887"/>
                  <a:gd name="connsiteY3-78" fmla="*/ 998018 h 1001193"/>
                  <a:gd name="connsiteX4-79" fmla="*/ 0 w 1829887"/>
                  <a:gd name="connsiteY4-80" fmla="*/ 0 h 1001193"/>
                  <a:gd name="connsiteX0-81" fmla="*/ 0 w 1832268"/>
                  <a:gd name="connsiteY0-82" fmla="*/ 5556 h 1006749"/>
                  <a:gd name="connsiteX1-83" fmla="*/ 1832268 w 1832268"/>
                  <a:gd name="connsiteY1-84" fmla="*/ 0 h 1006749"/>
                  <a:gd name="connsiteX2-85" fmla="*/ 1826712 w 1832268"/>
                  <a:gd name="connsiteY2-86" fmla="*/ 1006749 h 1006749"/>
                  <a:gd name="connsiteX3-87" fmla="*/ 0 w 1832268"/>
                  <a:gd name="connsiteY3-88" fmla="*/ 1003574 h 1006749"/>
                  <a:gd name="connsiteX4-89" fmla="*/ 0 w 1832268"/>
                  <a:gd name="connsiteY4-90" fmla="*/ 5556 h 1006749"/>
                  <a:gd name="connsiteX0-91" fmla="*/ 0 w 1832268"/>
                  <a:gd name="connsiteY0-92" fmla="*/ 5556 h 1003574"/>
                  <a:gd name="connsiteX1-93" fmla="*/ 1832268 w 1832268"/>
                  <a:gd name="connsiteY1-94" fmla="*/ 0 h 1003574"/>
                  <a:gd name="connsiteX2-95" fmla="*/ 1829093 w 1832268"/>
                  <a:gd name="connsiteY2-96" fmla="*/ 720999 h 1003574"/>
                  <a:gd name="connsiteX3-97" fmla="*/ 0 w 1832268"/>
                  <a:gd name="connsiteY3-98" fmla="*/ 1003574 h 1003574"/>
                  <a:gd name="connsiteX4-99" fmla="*/ 0 w 1832268"/>
                  <a:gd name="connsiteY4-100" fmla="*/ 5556 h 1003574"/>
                  <a:gd name="connsiteX0-101" fmla="*/ 0 w 1834649"/>
                  <a:gd name="connsiteY0-102" fmla="*/ 793 h 1003574"/>
                  <a:gd name="connsiteX1-103" fmla="*/ 1834649 w 1834649"/>
                  <a:gd name="connsiteY1-104" fmla="*/ 0 h 1003574"/>
                  <a:gd name="connsiteX2-105" fmla="*/ 1831474 w 1834649"/>
                  <a:gd name="connsiteY2-106" fmla="*/ 720999 h 1003574"/>
                  <a:gd name="connsiteX3-107" fmla="*/ 2381 w 1834649"/>
                  <a:gd name="connsiteY3-108" fmla="*/ 1003574 h 1003574"/>
                  <a:gd name="connsiteX4-109" fmla="*/ 0 w 1834649"/>
                  <a:gd name="connsiteY4-110" fmla="*/ 793 h 1003574"/>
                  <a:gd name="connsiteX0-111" fmla="*/ 0 w 1834649"/>
                  <a:gd name="connsiteY0-112" fmla="*/ 284162 h 1286943"/>
                  <a:gd name="connsiteX1-113" fmla="*/ 1834649 w 1834649"/>
                  <a:gd name="connsiteY1-114" fmla="*/ 0 h 1286943"/>
                  <a:gd name="connsiteX2-115" fmla="*/ 1831474 w 1834649"/>
                  <a:gd name="connsiteY2-116" fmla="*/ 1004368 h 1286943"/>
                  <a:gd name="connsiteX3-117" fmla="*/ 2381 w 1834649"/>
                  <a:gd name="connsiteY3-118" fmla="*/ 1286943 h 1286943"/>
                  <a:gd name="connsiteX4-119" fmla="*/ 0 w 1834649"/>
                  <a:gd name="connsiteY4-120" fmla="*/ 284162 h 1286943"/>
                  <a:gd name="connsiteX0-121" fmla="*/ 0 w 1834649"/>
                  <a:gd name="connsiteY0-122" fmla="*/ 284162 h 1286943"/>
                  <a:gd name="connsiteX1-123" fmla="*/ 1834649 w 1834649"/>
                  <a:gd name="connsiteY1-124" fmla="*/ 0 h 1286943"/>
                  <a:gd name="connsiteX2-125" fmla="*/ 1829093 w 1834649"/>
                  <a:gd name="connsiteY2-126" fmla="*/ 721000 h 1286943"/>
                  <a:gd name="connsiteX3-127" fmla="*/ 2381 w 1834649"/>
                  <a:gd name="connsiteY3-128" fmla="*/ 1286943 h 1286943"/>
                  <a:gd name="connsiteX4-129" fmla="*/ 0 w 1834649"/>
                  <a:gd name="connsiteY4-130" fmla="*/ 284162 h 1286943"/>
                  <a:gd name="connsiteX0-131" fmla="*/ 229 w 1834878"/>
                  <a:gd name="connsiteY0-132" fmla="*/ 284162 h 1289324"/>
                  <a:gd name="connsiteX1-133" fmla="*/ 1834878 w 1834878"/>
                  <a:gd name="connsiteY1-134" fmla="*/ 0 h 1289324"/>
                  <a:gd name="connsiteX2-135" fmla="*/ 1829322 w 1834878"/>
                  <a:gd name="connsiteY2-136" fmla="*/ 721000 h 1289324"/>
                  <a:gd name="connsiteX3-137" fmla="*/ 229 w 1834878"/>
                  <a:gd name="connsiteY3-138" fmla="*/ 1289324 h 1289324"/>
                  <a:gd name="connsiteX4-139" fmla="*/ 229 w 1834878"/>
                  <a:gd name="connsiteY4-140" fmla="*/ 284162 h 1289324"/>
                  <a:gd name="connsiteX0-141" fmla="*/ 2486 w 1837135"/>
                  <a:gd name="connsiteY0-142" fmla="*/ 284162 h 1296468"/>
                  <a:gd name="connsiteX1-143" fmla="*/ 1837135 w 1837135"/>
                  <a:gd name="connsiteY1-144" fmla="*/ 0 h 1296468"/>
                  <a:gd name="connsiteX2-145" fmla="*/ 1831579 w 1837135"/>
                  <a:gd name="connsiteY2-146" fmla="*/ 721000 h 1296468"/>
                  <a:gd name="connsiteX3-147" fmla="*/ 105 w 1837135"/>
                  <a:gd name="connsiteY3-148" fmla="*/ 1296468 h 1296468"/>
                  <a:gd name="connsiteX4-149" fmla="*/ 2486 w 1837135"/>
                  <a:gd name="connsiteY4-150" fmla="*/ 284162 h 1296468"/>
                  <a:gd name="connsiteX0-151" fmla="*/ 2486 w 1837135"/>
                  <a:gd name="connsiteY0-152" fmla="*/ 284162 h 1296468"/>
                  <a:gd name="connsiteX1-153" fmla="*/ 1837135 w 1837135"/>
                  <a:gd name="connsiteY1-154" fmla="*/ 0 h 1296468"/>
                  <a:gd name="connsiteX2-155" fmla="*/ 1836342 w 1837135"/>
                  <a:gd name="connsiteY2-156" fmla="*/ 728144 h 1296468"/>
                  <a:gd name="connsiteX3-157" fmla="*/ 105 w 1837135"/>
                  <a:gd name="connsiteY3-158" fmla="*/ 1296468 h 1296468"/>
                  <a:gd name="connsiteX4-159" fmla="*/ 2486 w 1837135"/>
                  <a:gd name="connsiteY4-160" fmla="*/ 284162 h 129646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37135" h="1296468">
                    <a:moveTo>
                      <a:pt x="2486" y="284162"/>
                    </a:moveTo>
                    <a:lnTo>
                      <a:pt x="1837135" y="0"/>
                    </a:lnTo>
                    <a:cubicBezTo>
                      <a:pt x="1836077" y="335848"/>
                      <a:pt x="1837400" y="392296"/>
                      <a:pt x="1836342" y="728144"/>
                    </a:cubicBezTo>
                    <a:lnTo>
                      <a:pt x="105" y="1296468"/>
                    </a:lnTo>
                    <a:cubicBezTo>
                      <a:pt x="-689" y="962208"/>
                      <a:pt x="3280" y="618422"/>
                      <a:pt x="2486" y="284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p>
            </p:txBody>
          </p:sp>
          <p:sp>
            <p:nvSpPr>
              <p:cNvPr id="99" name="等腰三角形 98"/>
              <p:cNvSpPr/>
              <p:nvPr/>
            </p:nvSpPr>
            <p:spPr bwMode="auto">
              <a:xfrm rot="5400000">
                <a:off x="5906647" y="3829313"/>
                <a:ext cx="279884" cy="24169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zh-CN" altLang="en-US">
                  <a:solidFill>
                    <a:schemeClr val="bg1"/>
                  </a:solidFill>
                </a:endParaRPr>
              </a:p>
            </p:txBody>
          </p:sp>
          <p:sp>
            <p:nvSpPr>
              <p:cNvPr id="100" name="矩形 83"/>
              <p:cNvSpPr>
                <a:spLocks noChangeArrowheads="1"/>
              </p:cNvSpPr>
              <p:nvPr/>
            </p:nvSpPr>
            <p:spPr bwMode="auto">
              <a:xfrm>
                <a:off x="3574615" y="3836421"/>
                <a:ext cx="1920953" cy="42447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68580" tIns="34290" rIns="68580" bIns="34290">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a:lnSpc>
                    <a:spcPct val="100000"/>
                  </a:lnSpc>
                  <a:spcBef>
                    <a:spcPct val="0"/>
                  </a:spcBef>
                  <a:buFontTx/>
                  <a:buNone/>
                </a:pPr>
                <a:r>
                  <a:rPr lang="zh-CN" altLang="zh-CN" sz="2400">
                    <a:solidFill>
                      <a:schemeClr val="bg1"/>
                    </a:solidFill>
                    <a:latin typeface="微软雅黑" panose="020B0503020204020204" pitchFamily="34" charset="-122"/>
                    <a:ea typeface="微软雅黑" panose="020B0503020204020204" pitchFamily="34" charset="-122"/>
                    <a:cs typeface="Helvetica" panose="020B0604020202020204" pitchFamily="34" charset="0"/>
                    <a:sym typeface="微软雅黑" panose="020B0503020204020204" pitchFamily="34" charset="-122"/>
                  </a:rPr>
                  <a:t>点击添加标题</a:t>
                </a:r>
                <a:endParaRPr lang="zh-CN" altLang="zh-CN" sz="1200">
                  <a:solidFill>
                    <a:schemeClr val="bg1"/>
                  </a:solidFill>
                  <a:ea typeface="微软雅黑" panose="020B0503020204020204" pitchFamily="34" charset="-122"/>
                  <a:cs typeface="Helvetica" panose="020B0604020202020204" pitchFamily="34" charset="0"/>
                </a:endParaRPr>
              </a:p>
            </p:txBody>
          </p:sp>
        </p:grpSp>
        <p:sp>
          <p:nvSpPr>
            <p:cNvPr id="112" name="TextBox 40"/>
            <p:cNvSpPr txBox="1">
              <a:spLocks noChangeArrowheads="1"/>
            </p:cNvSpPr>
            <p:nvPr/>
          </p:nvSpPr>
          <p:spPr bwMode="auto">
            <a:xfrm>
              <a:off x="107504" y="3689924"/>
              <a:ext cx="661806" cy="594577"/>
            </a:xfrm>
            <a:prstGeom prst="rect">
              <a:avLst/>
            </a:prstGeom>
            <a:noFill/>
            <a:ln>
              <a:noFill/>
            </a:ln>
          </p:spPr>
          <p:txBody>
            <a:bodyPr wrap="none" lIns="68580" tIns="34290" rIns="68580" bIns="34290">
              <a:spAutoFit/>
            </a:bodyPr>
            <a:lstStyle>
              <a:lvl1pPr>
                <a:lnSpc>
                  <a:spcPct val="90000"/>
                </a:lnSpc>
                <a:spcBef>
                  <a:spcPct val="3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ct val="3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ct val="3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ct val="3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00000"/>
                </a:lnSpc>
                <a:spcBef>
                  <a:spcPct val="0"/>
                </a:spcBef>
                <a:buFontTx/>
                <a:buNone/>
              </a:pPr>
              <a:r>
                <a:rPr lang="en-US" altLang="zh-CN" sz="4700" b="1" dirty="0">
                  <a:solidFill>
                    <a:schemeClr val="bg1"/>
                  </a:solidFill>
                  <a:latin typeface="微软雅黑" panose="020B0503020204020204" pitchFamily="34" charset="-122"/>
                  <a:ea typeface="微软雅黑" panose="020B0503020204020204" pitchFamily="34" charset="-122"/>
                </a:rPr>
                <a:t>04</a:t>
              </a:r>
              <a:endParaRPr lang="zh-CN" altLang="en-US" sz="4700" b="1" dirty="0">
                <a:solidFill>
                  <a:schemeClr val="bg1"/>
                </a:solidFill>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1"/>
                                        </p:tgtEl>
                                        <p:attrNameLst>
                                          <p:attrName>style.visibility</p:attrName>
                                        </p:attrNameLst>
                                      </p:cBhvr>
                                      <p:to>
                                        <p:strVal val="visible"/>
                                      </p:to>
                                    </p:set>
                                    <p:anim calcmode="lin" valueType="num">
                                      <p:cBhvr additive="base">
                                        <p:cTn id="7" dur="250" fill="hold"/>
                                        <p:tgtEl>
                                          <p:spTgt spid="61"/>
                                        </p:tgtEl>
                                        <p:attrNameLst>
                                          <p:attrName>ppt_x</p:attrName>
                                        </p:attrNameLst>
                                      </p:cBhvr>
                                      <p:tavLst>
                                        <p:tav tm="0">
                                          <p:val>
                                            <p:strVal val="0-#ppt_w/2"/>
                                          </p:val>
                                        </p:tav>
                                        <p:tav tm="100000">
                                          <p:val>
                                            <p:strVal val="#ppt_x"/>
                                          </p:val>
                                        </p:tav>
                                      </p:tavLst>
                                    </p:anim>
                                    <p:anim calcmode="lin" valueType="num">
                                      <p:cBhvr additive="base">
                                        <p:cTn id="8" dur="250" fill="hold"/>
                                        <p:tgtEl>
                                          <p:spTgt spid="6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03"/>
                                        </p:tgtEl>
                                        <p:attrNameLst>
                                          <p:attrName>style.visibility</p:attrName>
                                        </p:attrNameLst>
                                      </p:cBhvr>
                                      <p:to>
                                        <p:strVal val="visible"/>
                                      </p:to>
                                    </p:set>
                                    <p:animEffect transition="in" filter="wipe(left)">
                                      <p:cBhvr>
                                        <p:cTn id="12" dur="500"/>
                                        <p:tgtEl>
                                          <p:spTgt spid="103"/>
                                        </p:tgtEl>
                                      </p:cBhvr>
                                    </p:animEffect>
                                  </p:childTnLst>
                                </p:cTn>
                              </p:par>
                            </p:childTnLst>
                          </p:cTn>
                        </p:par>
                        <p:par>
                          <p:cTn id="13" fill="hold">
                            <p:stCondLst>
                              <p:cond delay="1000"/>
                            </p:stCondLst>
                            <p:childTnLst>
                              <p:par>
                                <p:cTn id="14" presetID="2" presetClass="entr" presetSubtype="8" fill="hold" nodeType="afterEffect">
                                  <p:stCondLst>
                                    <p:cond delay="0"/>
                                  </p:stCondLst>
                                  <p:childTnLst>
                                    <p:set>
                                      <p:cBhvr>
                                        <p:cTn id="15" dur="1" fill="hold">
                                          <p:stCondLst>
                                            <p:cond delay="0"/>
                                          </p:stCondLst>
                                        </p:cTn>
                                        <p:tgtEl>
                                          <p:spTgt spid="113"/>
                                        </p:tgtEl>
                                        <p:attrNameLst>
                                          <p:attrName>style.visibility</p:attrName>
                                        </p:attrNameLst>
                                      </p:cBhvr>
                                      <p:to>
                                        <p:strVal val="visible"/>
                                      </p:to>
                                    </p:set>
                                    <p:anim calcmode="lin" valueType="num">
                                      <p:cBhvr additive="base">
                                        <p:cTn id="16" dur="250" fill="hold"/>
                                        <p:tgtEl>
                                          <p:spTgt spid="113"/>
                                        </p:tgtEl>
                                        <p:attrNameLst>
                                          <p:attrName>ppt_x</p:attrName>
                                        </p:attrNameLst>
                                      </p:cBhvr>
                                      <p:tavLst>
                                        <p:tav tm="0">
                                          <p:val>
                                            <p:strVal val="0-#ppt_w/2"/>
                                          </p:val>
                                        </p:tav>
                                        <p:tav tm="100000">
                                          <p:val>
                                            <p:strVal val="#ppt_x"/>
                                          </p:val>
                                        </p:tav>
                                      </p:tavLst>
                                    </p:anim>
                                    <p:anim calcmode="lin" valueType="num">
                                      <p:cBhvr additive="base">
                                        <p:cTn id="17" dur="250" fill="hold"/>
                                        <p:tgtEl>
                                          <p:spTgt spid="113"/>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wipe(left)">
                                      <p:cBhvr>
                                        <p:cTn id="21" dur="500"/>
                                        <p:tgtEl>
                                          <p:spTgt spid="104"/>
                                        </p:tgtEl>
                                      </p:cBhvr>
                                    </p:animEffect>
                                  </p:childTnLst>
                                </p:cTn>
                              </p:par>
                            </p:childTnLst>
                          </p:cTn>
                        </p:par>
                        <p:par>
                          <p:cTn id="22" fill="hold">
                            <p:stCondLst>
                              <p:cond delay="2000"/>
                            </p:stCondLst>
                            <p:childTnLst>
                              <p:par>
                                <p:cTn id="23" presetID="2" presetClass="entr" presetSubtype="8" fill="hold" nodeType="afterEffect">
                                  <p:stCondLst>
                                    <p:cond delay="0"/>
                                  </p:stCondLst>
                                  <p:childTnLst>
                                    <p:set>
                                      <p:cBhvr>
                                        <p:cTn id="24" dur="1" fill="hold">
                                          <p:stCondLst>
                                            <p:cond delay="0"/>
                                          </p:stCondLst>
                                        </p:cTn>
                                        <p:tgtEl>
                                          <p:spTgt spid="114"/>
                                        </p:tgtEl>
                                        <p:attrNameLst>
                                          <p:attrName>style.visibility</p:attrName>
                                        </p:attrNameLst>
                                      </p:cBhvr>
                                      <p:to>
                                        <p:strVal val="visible"/>
                                      </p:to>
                                    </p:set>
                                    <p:anim calcmode="lin" valueType="num">
                                      <p:cBhvr additive="base">
                                        <p:cTn id="25" dur="250" fill="hold"/>
                                        <p:tgtEl>
                                          <p:spTgt spid="114"/>
                                        </p:tgtEl>
                                        <p:attrNameLst>
                                          <p:attrName>ppt_x</p:attrName>
                                        </p:attrNameLst>
                                      </p:cBhvr>
                                      <p:tavLst>
                                        <p:tav tm="0">
                                          <p:val>
                                            <p:strVal val="0-#ppt_w/2"/>
                                          </p:val>
                                        </p:tav>
                                        <p:tav tm="100000">
                                          <p:val>
                                            <p:strVal val="#ppt_x"/>
                                          </p:val>
                                        </p:tav>
                                      </p:tavLst>
                                    </p:anim>
                                    <p:anim calcmode="lin" valueType="num">
                                      <p:cBhvr additive="base">
                                        <p:cTn id="26" dur="250" fill="hold"/>
                                        <p:tgtEl>
                                          <p:spTgt spid="114"/>
                                        </p:tgtEl>
                                        <p:attrNameLst>
                                          <p:attrName>ppt_y</p:attrName>
                                        </p:attrNameLst>
                                      </p:cBhvr>
                                      <p:tavLst>
                                        <p:tav tm="0">
                                          <p:val>
                                            <p:strVal val="#ppt_y"/>
                                          </p:val>
                                        </p:tav>
                                        <p:tav tm="100000">
                                          <p:val>
                                            <p:strVal val="#ppt_y"/>
                                          </p:val>
                                        </p:tav>
                                      </p:tavLst>
                                    </p:anim>
                                  </p:childTnLst>
                                </p:cTn>
                              </p:par>
                            </p:childTnLst>
                          </p:cTn>
                        </p:par>
                        <p:par>
                          <p:cTn id="27" fill="hold">
                            <p:stCondLst>
                              <p:cond delay="2500"/>
                            </p:stCondLst>
                            <p:childTnLst>
                              <p:par>
                                <p:cTn id="28" presetID="22" presetClass="entr" presetSubtype="8" fill="hold" grpId="0" nodeType="afterEffect">
                                  <p:stCondLst>
                                    <p:cond delay="0"/>
                                  </p:stCondLst>
                                  <p:childTnLst>
                                    <p:set>
                                      <p:cBhvr>
                                        <p:cTn id="29" dur="1" fill="hold">
                                          <p:stCondLst>
                                            <p:cond delay="0"/>
                                          </p:stCondLst>
                                        </p:cTn>
                                        <p:tgtEl>
                                          <p:spTgt spid="105"/>
                                        </p:tgtEl>
                                        <p:attrNameLst>
                                          <p:attrName>style.visibility</p:attrName>
                                        </p:attrNameLst>
                                      </p:cBhvr>
                                      <p:to>
                                        <p:strVal val="visible"/>
                                      </p:to>
                                    </p:set>
                                    <p:animEffect transition="in" filter="wipe(left)">
                                      <p:cBhvr>
                                        <p:cTn id="30" dur="500"/>
                                        <p:tgtEl>
                                          <p:spTgt spid="105"/>
                                        </p:tgtEl>
                                      </p:cBhvr>
                                    </p:animEffect>
                                  </p:childTnLst>
                                </p:cTn>
                              </p:par>
                            </p:childTnLst>
                          </p:cTn>
                        </p:par>
                        <p:par>
                          <p:cTn id="31" fill="hold">
                            <p:stCondLst>
                              <p:cond delay="3000"/>
                            </p:stCondLst>
                            <p:childTnLst>
                              <p:par>
                                <p:cTn id="32" presetID="2" presetClass="entr" presetSubtype="8" fill="hold" nodeType="afterEffect">
                                  <p:stCondLst>
                                    <p:cond delay="0"/>
                                  </p:stCondLst>
                                  <p:childTnLst>
                                    <p:set>
                                      <p:cBhvr>
                                        <p:cTn id="33" dur="1" fill="hold">
                                          <p:stCondLst>
                                            <p:cond delay="0"/>
                                          </p:stCondLst>
                                        </p:cTn>
                                        <p:tgtEl>
                                          <p:spTgt spid="115"/>
                                        </p:tgtEl>
                                        <p:attrNameLst>
                                          <p:attrName>style.visibility</p:attrName>
                                        </p:attrNameLst>
                                      </p:cBhvr>
                                      <p:to>
                                        <p:strVal val="visible"/>
                                      </p:to>
                                    </p:set>
                                    <p:anim calcmode="lin" valueType="num">
                                      <p:cBhvr additive="base">
                                        <p:cTn id="34" dur="250" fill="hold"/>
                                        <p:tgtEl>
                                          <p:spTgt spid="115"/>
                                        </p:tgtEl>
                                        <p:attrNameLst>
                                          <p:attrName>ppt_x</p:attrName>
                                        </p:attrNameLst>
                                      </p:cBhvr>
                                      <p:tavLst>
                                        <p:tav tm="0">
                                          <p:val>
                                            <p:strVal val="0-#ppt_w/2"/>
                                          </p:val>
                                        </p:tav>
                                        <p:tav tm="100000">
                                          <p:val>
                                            <p:strVal val="#ppt_x"/>
                                          </p:val>
                                        </p:tav>
                                      </p:tavLst>
                                    </p:anim>
                                    <p:anim calcmode="lin" valueType="num">
                                      <p:cBhvr additive="base">
                                        <p:cTn id="35" dur="250" fill="hold"/>
                                        <p:tgtEl>
                                          <p:spTgt spid="115"/>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22" presetClass="entr" presetSubtype="8" fill="hold" grpId="0" nodeType="afterEffect">
                                  <p:stCondLst>
                                    <p:cond delay="0"/>
                                  </p:stCondLst>
                                  <p:childTnLst>
                                    <p:set>
                                      <p:cBhvr>
                                        <p:cTn id="38" dur="1" fill="hold">
                                          <p:stCondLst>
                                            <p:cond delay="0"/>
                                          </p:stCondLst>
                                        </p:cTn>
                                        <p:tgtEl>
                                          <p:spTgt spid="106"/>
                                        </p:tgtEl>
                                        <p:attrNameLst>
                                          <p:attrName>style.visibility</p:attrName>
                                        </p:attrNameLst>
                                      </p:cBhvr>
                                      <p:to>
                                        <p:strVal val="visible"/>
                                      </p:to>
                                    </p:set>
                                    <p:animEffect transition="in" filter="wipe(left)">
                                      <p:cBhvr>
                                        <p:cTn id="39" dur="500"/>
                                        <p:tgtEl>
                                          <p:spTgt spid="10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02"/>
                                        </p:tgtEl>
                                        <p:attrNameLst>
                                          <p:attrName>style.visibility</p:attrName>
                                        </p:attrNameLst>
                                      </p:cBhvr>
                                      <p:to>
                                        <p:strVal val="visible"/>
                                      </p:to>
                                    </p:set>
                                    <p:animEffect transition="in" filter="fade">
                                      <p:cBhvr>
                                        <p:cTn id="42" dur="500"/>
                                        <p:tgtEl>
                                          <p:spTgt spid="10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01"/>
                                        </p:tgtEl>
                                        <p:attrNameLst>
                                          <p:attrName>style.visibility</p:attrName>
                                        </p:attrNameLst>
                                      </p:cBhvr>
                                      <p:to>
                                        <p:strVal val="visible"/>
                                      </p:to>
                                    </p:set>
                                    <p:animEffect transition="in" filter="fade">
                                      <p:cBhvr>
                                        <p:cTn id="45"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02" grpId="0" animBg="1"/>
      <p:bldP spid="103" grpId="0"/>
      <p:bldP spid="104" grpId="0"/>
      <p:bldP spid="105" grpId="0"/>
      <p:bldP spid="10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六边形 3"/>
          <p:cNvSpPr/>
          <p:nvPr/>
        </p:nvSpPr>
        <p:spPr>
          <a:xfrm>
            <a:off x="2435529" y="2919794"/>
            <a:ext cx="2193345" cy="1891060"/>
          </a:xfrm>
          <a:prstGeom prst="hexagon">
            <a:avLst/>
          </a:prstGeom>
          <a:blipFill dpi="0" rotWithShape="1">
            <a:blip r:embed="rId3" cstate="print"/>
            <a:srcRect/>
            <a:stretch>
              <a:fillRect/>
            </a:stretch>
          </a:blip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3700">
              <a:solidFill>
                <a:schemeClr val="bg1">
                  <a:lumMod val="65000"/>
                </a:schemeClr>
              </a:solidFill>
              <a:latin typeface="Arial" panose="020B0604020202020204" pitchFamily="34" charset="0"/>
              <a:cs typeface="Arial" panose="020B0604020202020204" pitchFamily="34" charset="0"/>
            </a:endParaRPr>
          </a:p>
        </p:txBody>
      </p:sp>
      <p:sp>
        <p:nvSpPr>
          <p:cNvPr id="6" name="六边形 5"/>
          <p:cNvSpPr/>
          <p:nvPr/>
        </p:nvSpPr>
        <p:spPr>
          <a:xfrm>
            <a:off x="5882434" y="2908811"/>
            <a:ext cx="2193345" cy="1891060"/>
          </a:xfrm>
          <a:prstGeom prst="hexagon">
            <a:avLst/>
          </a:prstGeom>
          <a:blipFill>
            <a:blip r:embed="rId3" cstate="print"/>
            <a:stretch>
              <a:fillRect/>
            </a:stretch>
          </a:blip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3700">
              <a:solidFill>
                <a:schemeClr val="bg1">
                  <a:lumMod val="65000"/>
                </a:schemeClr>
              </a:solidFill>
              <a:latin typeface="Arial" panose="020B0604020202020204" pitchFamily="34" charset="0"/>
              <a:cs typeface="Arial" panose="020B0604020202020204" pitchFamily="34" charset="0"/>
            </a:endParaRPr>
          </a:p>
        </p:txBody>
      </p:sp>
      <p:sp>
        <p:nvSpPr>
          <p:cNvPr id="8" name="六边形 7"/>
          <p:cNvSpPr/>
          <p:nvPr/>
        </p:nvSpPr>
        <p:spPr>
          <a:xfrm>
            <a:off x="9329385" y="1028734"/>
            <a:ext cx="2193345" cy="1891060"/>
          </a:xfrm>
          <a:prstGeom prst="hexagon">
            <a:avLst/>
          </a:prstGeom>
          <a:blipFill dpi="0" rotWithShape="1">
            <a:blip r:embed="rId3" cstate="print"/>
            <a:srcRect/>
            <a:stretch>
              <a:fillRect/>
            </a:stretch>
          </a:blip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3700">
              <a:solidFill>
                <a:schemeClr val="bg1">
                  <a:lumMod val="65000"/>
                </a:schemeClr>
              </a:solidFill>
              <a:latin typeface="Arial" panose="020B0604020202020204" pitchFamily="34" charset="0"/>
              <a:cs typeface="Arial" panose="020B0604020202020204" pitchFamily="34" charset="0"/>
            </a:endParaRPr>
          </a:p>
        </p:txBody>
      </p:sp>
      <p:sp>
        <p:nvSpPr>
          <p:cNvPr id="9" name="等腰三角形 8"/>
          <p:cNvSpPr/>
          <p:nvPr/>
        </p:nvSpPr>
        <p:spPr>
          <a:xfrm flipV="1">
            <a:off x="1685720" y="3994263"/>
            <a:ext cx="262110" cy="22598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solidFill>
                <a:schemeClr val="bg1">
                  <a:lumMod val="65000"/>
                </a:schemeClr>
              </a:solidFill>
            </a:endParaRPr>
          </a:p>
        </p:txBody>
      </p:sp>
      <p:sp>
        <p:nvSpPr>
          <p:cNvPr id="10" name="TextBox 9"/>
          <p:cNvSpPr txBox="1"/>
          <p:nvPr/>
        </p:nvSpPr>
        <p:spPr>
          <a:xfrm>
            <a:off x="848614" y="4518449"/>
            <a:ext cx="1887450" cy="1107996"/>
          </a:xfrm>
          <a:prstGeom prst="rect">
            <a:avLst/>
          </a:prstGeom>
          <a:noFill/>
        </p:spPr>
        <p:txBody>
          <a:bodyPr wrap="none" lIns="121908" tIns="60954" rIns="121908" bIns="60954" rtlCol="0">
            <a:spAutoFit/>
          </a:bodyPr>
          <a:lstStyle/>
          <a:p>
            <a:pPr algn="ctr"/>
            <a:r>
              <a:rPr lang="zh-CN" altLang="en-US" sz="1600" dirty="0">
                <a:solidFill>
                  <a:schemeClr val="tx1">
                    <a:lumMod val="50000"/>
                    <a:lumOff val="50000"/>
                  </a:schemeClr>
                </a:solidFill>
              </a:rPr>
              <a:t>单击此处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单击此处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单击此处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单击此处添加文本</a:t>
            </a:r>
          </a:p>
        </p:txBody>
      </p:sp>
      <p:sp>
        <p:nvSpPr>
          <p:cNvPr id="11" name="等腰三角形 10"/>
          <p:cNvSpPr/>
          <p:nvPr/>
        </p:nvSpPr>
        <p:spPr>
          <a:xfrm rot="19483942" flipV="1">
            <a:off x="9305121" y="3904268"/>
            <a:ext cx="262110" cy="225987"/>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solidFill>
                <a:schemeClr val="bg1">
                  <a:lumMod val="65000"/>
                </a:schemeClr>
              </a:solidFill>
            </a:endParaRPr>
          </a:p>
        </p:txBody>
      </p:sp>
      <p:sp>
        <p:nvSpPr>
          <p:cNvPr id="12" name="TextBox 11"/>
          <p:cNvSpPr txBox="1"/>
          <p:nvPr/>
        </p:nvSpPr>
        <p:spPr>
          <a:xfrm>
            <a:off x="9668912" y="4049197"/>
            <a:ext cx="1887450" cy="1107996"/>
          </a:xfrm>
          <a:prstGeom prst="rect">
            <a:avLst/>
          </a:prstGeom>
          <a:noFill/>
        </p:spPr>
        <p:txBody>
          <a:bodyPr wrap="none" lIns="121908" tIns="60954" rIns="121908" bIns="60954" rtlCol="0">
            <a:spAutoFit/>
          </a:bodyPr>
          <a:lstStyle/>
          <a:p>
            <a:pPr algn="ctr"/>
            <a:r>
              <a:rPr lang="zh-CN" altLang="en-US" sz="1600" dirty="0">
                <a:solidFill>
                  <a:schemeClr val="tx1">
                    <a:lumMod val="50000"/>
                    <a:lumOff val="50000"/>
                  </a:schemeClr>
                </a:solidFill>
              </a:rPr>
              <a:t>单击此处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单击此处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单击此处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单击此处添加文本</a:t>
            </a:r>
          </a:p>
        </p:txBody>
      </p:sp>
      <p:sp>
        <p:nvSpPr>
          <p:cNvPr id="13" name="TextBox 12"/>
          <p:cNvSpPr txBox="1"/>
          <p:nvPr/>
        </p:nvSpPr>
        <p:spPr>
          <a:xfrm>
            <a:off x="4303901" y="1936962"/>
            <a:ext cx="1887450" cy="1107996"/>
          </a:xfrm>
          <a:prstGeom prst="rect">
            <a:avLst/>
          </a:prstGeom>
          <a:noFill/>
        </p:spPr>
        <p:txBody>
          <a:bodyPr wrap="none" lIns="121908" tIns="60954" rIns="121908" bIns="60954" rtlCol="0">
            <a:spAutoFit/>
          </a:bodyPr>
          <a:lstStyle/>
          <a:p>
            <a:pPr algn="ctr"/>
            <a:r>
              <a:rPr lang="zh-CN" altLang="en-US" sz="1600" dirty="0">
                <a:solidFill>
                  <a:schemeClr val="tx1">
                    <a:lumMod val="50000"/>
                    <a:lumOff val="50000"/>
                  </a:schemeClr>
                </a:solidFill>
              </a:rPr>
              <a:t>单击此处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单击此处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单击此处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单击此处添加文本</a:t>
            </a:r>
          </a:p>
        </p:txBody>
      </p:sp>
      <p:sp>
        <p:nvSpPr>
          <p:cNvPr id="14" name="等腰三角形 13"/>
          <p:cNvSpPr/>
          <p:nvPr/>
        </p:nvSpPr>
        <p:spPr>
          <a:xfrm>
            <a:off x="5116571" y="3514210"/>
            <a:ext cx="262110" cy="2259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a:solidFill>
                <a:schemeClr val="bg1">
                  <a:lumMod val="65000"/>
                </a:schemeClr>
              </a:solidFill>
            </a:endParaRPr>
          </a:p>
        </p:txBody>
      </p:sp>
      <p:grpSp>
        <p:nvGrpSpPr>
          <p:cNvPr id="18" name="组合 17"/>
          <p:cNvGrpSpPr/>
          <p:nvPr/>
        </p:nvGrpSpPr>
        <p:grpSpPr>
          <a:xfrm>
            <a:off x="720105" y="1963114"/>
            <a:ext cx="2193345" cy="1891060"/>
            <a:chOff x="539552" y="1472335"/>
            <a:chExt cx="1645223" cy="1418295"/>
          </a:xfrm>
        </p:grpSpPr>
        <p:sp>
          <p:nvSpPr>
            <p:cNvPr id="3" name="六边形 2"/>
            <p:cNvSpPr/>
            <p:nvPr/>
          </p:nvSpPr>
          <p:spPr>
            <a:xfrm>
              <a:off x="539552" y="1472335"/>
              <a:ext cx="1645223" cy="1418295"/>
            </a:xfrm>
            <a:prstGeom prst="hexagon">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latin typeface="Arial" panose="020B0604020202020204" pitchFamily="34" charset="0"/>
                  <a:cs typeface="Arial" panose="020B0604020202020204" pitchFamily="34" charset="0"/>
                </a:rPr>
                <a:t>技术</a:t>
              </a:r>
              <a:endParaRPr lang="en-US" altLang="zh-CN" dirty="0">
                <a:solidFill>
                  <a:schemeClr val="bg1"/>
                </a:solidFill>
                <a:latin typeface="Arial" panose="020B0604020202020204" pitchFamily="34" charset="0"/>
                <a:cs typeface="Arial" panose="020B0604020202020204" pitchFamily="34" charset="0"/>
              </a:endParaRPr>
            </a:p>
            <a:p>
              <a:pPr algn="ctr"/>
              <a:r>
                <a:rPr lang="zh-CN" altLang="en-US" dirty="0">
                  <a:solidFill>
                    <a:schemeClr val="bg1"/>
                  </a:solidFill>
                  <a:latin typeface="Arial" panose="020B0604020202020204" pitchFamily="34" charset="0"/>
                  <a:cs typeface="Arial" panose="020B0604020202020204" pitchFamily="34" charset="0"/>
                </a:rPr>
                <a:t>团队</a:t>
              </a:r>
            </a:p>
          </p:txBody>
        </p:sp>
        <p:sp>
          <p:nvSpPr>
            <p:cNvPr id="17" name="Freeform 6"/>
            <p:cNvSpPr>
              <a:spLocks noEditPoints="1"/>
            </p:cNvSpPr>
            <p:nvPr/>
          </p:nvSpPr>
          <p:spPr bwMode="auto">
            <a:xfrm>
              <a:off x="1199602" y="1563149"/>
              <a:ext cx="325122" cy="305070"/>
            </a:xfrm>
            <a:custGeom>
              <a:avLst/>
              <a:gdLst>
                <a:gd name="T0" fmla="*/ 151 w 192"/>
                <a:gd name="T1" fmla="*/ 144 h 180"/>
                <a:gd name="T2" fmla="*/ 132 w 192"/>
                <a:gd name="T3" fmla="*/ 128 h 180"/>
                <a:gd name="T4" fmla="*/ 105 w 192"/>
                <a:gd name="T5" fmla="*/ 128 h 180"/>
                <a:gd name="T6" fmla="*/ 108 w 192"/>
                <a:gd name="T7" fmla="*/ 119 h 180"/>
                <a:gd name="T8" fmla="*/ 138 w 192"/>
                <a:gd name="T9" fmla="*/ 104 h 180"/>
                <a:gd name="T10" fmla="*/ 171 w 192"/>
                <a:gd name="T11" fmla="*/ 104 h 180"/>
                <a:gd name="T12" fmla="*/ 182 w 192"/>
                <a:gd name="T13" fmla="*/ 113 h 180"/>
                <a:gd name="T14" fmla="*/ 192 w 192"/>
                <a:gd name="T15" fmla="*/ 144 h 180"/>
                <a:gd name="T16" fmla="*/ 151 w 192"/>
                <a:gd name="T17" fmla="*/ 144 h 180"/>
                <a:gd name="T18" fmla="*/ 146 w 192"/>
                <a:gd name="T19" fmla="*/ 96 h 180"/>
                <a:gd name="T20" fmla="*/ 141 w 192"/>
                <a:gd name="T21" fmla="*/ 95 h 180"/>
                <a:gd name="T22" fmla="*/ 151 w 192"/>
                <a:gd name="T23" fmla="*/ 63 h 180"/>
                <a:gd name="T24" fmla="*/ 129 w 192"/>
                <a:gd name="T25" fmla="*/ 24 h 180"/>
                <a:gd name="T26" fmla="*/ 182 w 192"/>
                <a:gd name="T27" fmla="*/ 59 h 180"/>
                <a:gd name="T28" fmla="*/ 146 w 192"/>
                <a:gd name="T29" fmla="*/ 96 h 180"/>
                <a:gd name="T30" fmla="*/ 140 w 192"/>
                <a:gd name="T31" fmla="*/ 66 h 180"/>
                <a:gd name="T32" fmla="*/ 94 w 192"/>
                <a:gd name="T33" fmla="*/ 112 h 180"/>
                <a:gd name="T34" fmla="*/ 48 w 192"/>
                <a:gd name="T35" fmla="*/ 66 h 180"/>
                <a:gd name="T36" fmla="*/ 94 w 192"/>
                <a:gd name="T37" fmla="*/ 20 h 180"/>
                <a:gd name="T38" fmla="*/ 140 w 192"/>
                <a:gd name="T39" fmla="*/ 66 h 180"/>
                <a:gd name="T40" fmla="*/ 86 w 192"/>
                <a:gd name="T41" fmla="*/ 33 h 180"/>
                <a:gd name="T42" fmla="*/ 58 w 192"/>
                <a:gd name="T43" fmla="*/ 66 h 180"/>
                <a:gd name="T44" fmla="*/ 94 w 192"/>
                <a:gd name="T45" fmla="*/ 102 h 180"/>
                <a:gd name="T46" fmla="*/ 129 w 192"/>
                <a:gd name="T47" fmla="*/ 66 h 180"/>
                <a:gd name="T48" fmla="*/ 86 w 192"/>
                <a:gd name="T49" fmla="*/ 33 h 180"/>
                <a:gd name="T50" fmla="*/ 60 w 192"/>
                <a:gd name="T51" fmla="*/ 23 h 180"/>
                <a:gd name="T52" fmla="*/ 36 w 192"/>
                <a:gd name="T53" fmla="*/ 63 h 180"/>
                <a:gd name="T54" fmla="*/ 46 w 192"/>
                <a:gd name="T55" fmla="*/ 100 h 180"/>
                <a:gd name="T56" fmla="*/ 46 w 192"/>
                <a:gd name="T57" fmla="*/ 100 h 180"/>
                <a:gd name="T58" fmla="*/ 9 w 192"/>
                <a:gd name="T59" fmla="*/ 59 h 180"/>
                <a:gd name="T60" fmla="*/ 60 w 192"/>
                <a:gd name="T61" fmla="*/ 23 h 180"/>
                <a:gd name="T62" fmla="*/ 23 w 192"/>
                <a:gd name="T63" fmla="*/ 104 h 180"/>
                <a:gd name="T64" fmla="*/ 50 w 192"/>
                <a:gd name="T65" fmla="*/ 104 h 180"/>
                <a:gd name="T66" fmla="*/ 80 w 192"/>
                <a:gd name="T67" fmla="*/ 120 h 180"/>
                <a:gd name="T68" fmla="*/ 82 w 192"/>
                <a:gd name="T69" fmla="*/ 128 h 180"/>
                <a:gd name="T70" fmla="*/ 58 w 192"/>
                <a:gd name="T71" fmla="*/ 128 h 180"/>
                <a:gd name="T72" fmla="*/ 40 w 192"/>
                <a:gd name="T73" fmla="*/ 144 h 180"/>
                <a:gd name="T74" fmla="*/ 0 w 192"/>
                <a:gd name="T75" fmla="*/ 144 h 180"/>
                <a:gd name="T76" fmla="*/ 11 w 192"/>
                <a:gd name="T77" fmla="*/ 113 h 180"/>
                <a:gd name="T78" fmla="*/ 23 w 192"/>
                <a:gd name="T79" fmla="*/ 104 h 180"/>
                <a:gd name="T80" fmla="*/ 65 w 192"/>
                <a:gd name="T81" fmla="*/ 132 h 180"/>
                <a:gd name="T82" fmla="*/ 125 w 192"/>
                <a:gd name="T83" fmla="*/ 132 h 180"/>
                <a:gd name="T84" fmla="*/ 140 w 192"/>
                <a:gd name="T85" fmla="*/ 143 h 180"/>
                <a:gd name="T86" fmla="*/ 152 w 192"/>
                <a:gd name="T87" fmla="*/ 180 h 180"/>
                <a:gd name="T88" fmla="*/ 36 w 192"/>
                <a:gd name="T89" fmla="*/ 180 h 180"/>
                <a:gd name="T90" fmla="*/ 51 w 192"/>
                <a:gd name="T91" fmla="*/ 143 h 180"/>
                <a:gd name="T92" fmla="*/ 65 w 192"/>
                <a:gd name="T93"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 h="180">
                  <a:moveTo>
                    <a:pt x="151" y="144"/>
                  </a:moveTo>
                  <a:cubicBezTo>
                    <a:pt x="150" y="142"/>
                    <a:pt x="145" y="128"/>
                    <a:pt x="132" y="128"/>
                  </a:cubicBezTo>
                  <a:cubicBezTo>
                    <a:pt x="105" y="128"/>
                    <a:pt x="105" y="128"/>
                    <a:pt x="105" y="128"/>
                  </a:cubicBezTo>
                  <a:cubicBezTo>
                    <a:pt x="108" y="119"/>
                    <a:pt x="108" y="119"/>
                    <a:pt x="108" y="119"/>
                  </a:cubicBezTo>
                  <a:cubicBezTo>
                    <a:pt x="120" y="116"/>
                    <a:pt x="130" y="113"/>
                    <a:pt x="138" y="104"/>
                  </a:cubicBezTo>
                  <a:cubicBezTo>
                    <a:pt x="171" y="104"/>
                    <a:pt x="171" y="104"/>
                    <a:pt x="171" y="104"/>
                  </a:cubicBezTo>
                  <a:cubicBezTo>
                    <a:pt x="180" y="104"/>
                    <a:pt x="182" y="113"/>
                    <a:pt x="182" y="113"/>
                  </a:cubicBezTo>
                  <a:cubicBezTo>
                    <a:pt x="192" y="144"/>
                    <a:pt x="192" y="144"/>
                    <a:pt x="192" y="144"/>
                  </a:cubicBezTo>
                  <a:lnTo>
                    <a:pt x="151" y="144"/>
                  </a:lnTo>
                  <a:close/>
                  <a:moveTo>
                    <a:pt x="146" y="96"/>
                  </a:moveTo>
                  <a:cubicBezTo>
                    <a:pt x="144" y="96"/>
                    <a:pt x="143" y="95"/>
                    <a:pt x="141" y="95"/>
                  </a:cubicBezTo>
                  <a:cubicBezTo>
                    <a:pt x="147" y="86"/>
                    <a:pt x="151" y="75"/>
                    <a:pt x="151" y="63"/>
                  </a:cubicBezTo>
                  <a:cubicBezTo>
                    <a:pt x="151" y="38"/>
                    <a:pt x="139" y="34"/>
                    <a:pt x="129" y="24"/>
                  </a:cubicBezTo>
                  <a:cubicBezTo>
                    <a:pt x="102" y="32"/>
                    <a:pt x="182" y="0"/>
                    <a:pt x="182" y="59"/>
                  </a:cubicBezTo>
                  <a:cubicBezTo>
                    <a:pt x="182" y="79"/>
                    <a:pt x="166" y="96"/>
                    <a:pt x="146" y="96"/>
                  </a:cubicBezTo>
                  <a:close/>
                  <a:moveTo>
                    <a:pt x="140" y="66"/>
                  </a:moveTo>
                  <a:cubicBezTo>
                    <a:pt x="140" y="92"/>
                    <a:pt x="119" y="112"/>
                    <a:pt x="94" y="112"/>
                  </a:cubicBezTo>
                  <a:cubicBezTo>
                    <a:pt x="68" y="112"/>
                    <a:pt x="48" y="92"/>
                    <a:pt x="48" y="66"/>
                  </a:cubicBezTo>
                  <a:cubicBezTo>
                    <a:pt x="48" y="41"/>
                    <a:pt x="68" y="20"/>
                    <a:pt x="94" y="20"/>
                  </a:cubicBezTo>
                  <a:cubicBezTo>
                    <a:pt x="119" y="20"/>
                    <a:pt x="140" y="41"/>
                    <a:pt x="140" y="66"/>
                  </a:cubicBezTo>
                  <a:close/>
                  <a:moveTo>
                    <a:pt x="86" y="33"/>
                  </a:moveTo>
                  <a:cubicBezTo>
                    <a:pt x="72" y="38"/>
                    <a:pt x="89" y="56"/>
                    <a:pt x="58" y="66"/>
                  </a:cubicBezTo>
                  <a:cubicBezTo>
                    <a:pt x="58" y="86"/>
                    <a:pt x="74" y="102"/>
                    <a:pt x="94" y="102"/>
                  </a:cubicBezTo>
                  <a:cubicBezTo>
                    <a:pt x="113" y="102"/>
                    <a:pt x="129" y="86"/>
                    <a:pt x="129" y="66"/>
                  </a:cubicBezTo>
                  <a:cubicBezTo>
                    <a:pt x="111" y="52"/>
                    <a:pt x="81" y="58"/>
                    <a:pt x="86" y="33"/>
                  </a:cubicBezTo>
                  <a:close/>
                  <a:moveTo>
                    <a:pt x="60" y="23"/>
                  </a:moveTo>
                  <a:cubicBezTo>
                    <a:pt x="50" y="33"/>
                    <a:pt x="36" y="41"/>
                    <a:pt x="36" y="63"/>
                  </a:cubicBezTo>
                  <a:cubicBezTo>
                    <a:pt x="36" y="75"/>
                    <a:pt x="40" y="90"/>
                    <a:pt x="46" y="100"/>
                  </a:cubicBezTo>
                  <a:cubicBezTo>
                    <a:pt x="46" y="100"/>
                    <a:pt x="46" y="100"/>
                    <a:pt x="46" y="100"/>
                  </a:cubicBezTo>
                  <a:cubicBezTo>
                    <a:pt x="26" y="100"/>
                    <a:pt x="9" y="79"/>
                    <a:pt x="9" y="59"/>
                  </a:cubicBezTo>
                  <a:cubicBezTo>
                    <a:pt x="9" y="3"/>
                    <a:pt x="90" y="29"/>
                    <a:pt x="60" y="23"/>
                  </a:cubicBezTo>
                  <a:close/>
                  <a:moveTo>
                    <a:pt x="23" y="104"/>
                  </a:moveTo>
                  <a:cubicBezTo>
                    <a:pt x="50" y="104"/>
                    <a:pt x="50" y="104"/>
                    <a:pt x="50" y="104"/>
                  </a:cubicBezTo>
                  <a:cubicBezTo>
                    <a:pt x="59" y="115"/>
                    <a:pt x="66" y="118"/>
                    <a:pt x="80" y="120"/>
                  </a:cubicBezTo>
                  <a:cubicBezTo>
                    <a:pt x="82" y="128"/>
                    <a:pt x="82" y="128"/>
                    <a:pt x="82" y="128"/>
                  </a:cubicBezTo>
                  <a:cubicBezTo>
                    <a:pt x="58" y="128"/>
                    <a:pt x="58" y="128"/>
                    <a:pt x="58" y="128"/>
                  </a:cubicBezTo>
                  <a:cubicBezTo>
                    <a:pt x="45" y="128"/>
                    <a:pt x="41" y="142"/>
                    <a:pt x="40" y="144"/>
                  </a:cubicBezTo>
                  <a:cubicBezTo>
                    <a:pt x="0" y="144"/>
                    <a:pt x="0" y="144"/>
                    <a:pt x="0" y="144"/>
                  </a:cubicBezTo>
                  <a:cubicBezTo>
                    <a:pt x="11" y="113"/>
                    <a:pt x="11" y="113"/>
                    <a:pt x="11" y="113"/>
                  </a:cubicBezTo>
                  <a:cubicBezTo>
                    <a:pt x="11" y="113"/>
                    <a:pt x="14" y="104"/>
                    <a:pt x="23" y="104"/>
                  </a:cubicBezTo>
                  <a:close/>
                  <a:moveTo>
                    <a:pt x="65" y="132"/>
                  </a:moveTo>
                  <a:cubicBezTo>
                    <a:pt x="125" y="132"/>
                    <a:pt x="125" y="132"/>
                    <a:pt x="125" y="132"/>
                  </a:cubicBezTo>
                  <a:cubicBezTo>
                    <a:pt x="136" y="132"/>
                    <a:pt x="140" y="143"/>
                    <a:pt x="140" y="143"/>
                  </a:cubicBezTo>
                  <a:cubicBezTo>
                    <a:pt x="152" y="180"/>
                    <a:pt x="152" y="180"/>
                    <a:pt x="152" y="180"/>
                  </a:cubicBezTo>
                  <a:cubicBezTo>
                    <a:pt x="36" y="180"/>
                    <a:pt x="36" y="180"/>
                    <a:pt x="36" y="180"/>
                  </a:cubicBezTo>
                  <a:cubicBezTo>
                    <a:pt x="51" y="143"/>
                    <a:pt x="51" y="143"/>
                    <a:pt x="51" y="143"/>
                  </a:cubicBezTo>
                  <a:cubicBezTo>
                    <a:pt x="51" y="143"/>
                    <a:pt x="54" y="132"/>
                    <a:pt x="65" y="132"/>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grpSp>
      <p:grpSp>
        <p:nvGrpSpPr>
          <p:cNvPr id="21" name="组合 20"/>
          <p:cNvGrpSpPr/>
          <p:nvPr/>
        </p:nvGrpSpPr>
        <p:grpSpPr>
          <a:xfrm>
            <a:off x="4150955" y="3865323"/>
            <a:ext cx="2193345" cy="1891060"/>
            <a:chOff x="3113025" y="2898992"/>
            <a:chExt cx="1645223" cy="1418295"/>
          </a:xfrm>
        </p:grpSpPr>
        <p:sp>
          <p:nvSpPr>
            <p:cNvPr id="5" name="六边形 4"/>
            <p:cNvSpPr/>
            <p:nvPr/>
          </p:nvSpPr>
          <p:spPr>
            <a:xfrm>
              <a:off x="3113025" y="2898992"/>
              <a:ext cx="1645223" cy="1418295"/>
            </a:xfrm>
            <a:prstGeom prst="hexagon">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latin typeface="Arial" panose="020B0604020202020204" pitchFamily="34" charset="0"/>
                  <a:cs typeface="Arial" panose="020B0604020202020204" pitchFamily="34" charset="0"/>
                </a:rPr>
                <a:t>项目</a:t>
              </a:r>
              <a:endParaRPr lang="en-US" altLang="zh-CN" dirty="0">
                <a:solidFill>
                  <a:schemeClr val="bg1"/>
                </a:solidFill>
                <a:latin typeface="Arial" panose="020B0604020202020204" pitchFamily="34" charset="0"/>
                <a:cs typeface="Arial" panose="020B0604020202020204" pitchFamily="34" charset="0"/>
              </a:endParaRPr>
            </a:p>
            <a:p>
              <a:pPr algn="ctr"/>
              <a:r>
                <a:rPr lang="zh-CN" altLang="en-US" dirty="0">
                  <a:solidFill>
                    <a:schemeClr val="bg1"/>
                  </a:solidFill>
                  <a:latin typeface="Arial" panose="020B0604020202020204" pitchFamily="34" charset="0"/>
                  <a:cs typeface="Arial" panose="020B0604020202020204" pitchFamily="34" charset="0"/>
                </a:rPr>
                <a:t>团队</a:t>
              </a:r>
            </a:p>
          </p:txBody>
        </p:sp>
        <p:sp>
          <p:nvSpPr>
            <p:cNvPr id="19" name="Freeform 6"/>
            <p:cNvSpPr>
              <a:spLocks noEditPoints="1"/>
            </p:cNvSpPr>
            <p:nvPr/>
          </p:nvSpPr>
          <p:spPr bwMode="auto">
            <a:xfrm>
              <a:off x="3773075" y="2981641"/>
              <a:ext cx="325122" cy="305070"/>
            </a:xfrm>
            <a:custGeom>
              <a:avLst/>
              <a:gdLst>
                <a:gd name="T0" fmla="*/ 151 w 192"/>
                <a:gd name="T1" fmla="*/ 144 h 180"/>
                <a:gd name="T2" fmla="*/ 132 w 192"/>
                <a:gd name="T3" fmla="*/ 128 h 180"/>
                <a:gd name="T4" fmla="*/ 105 w 192"/>
                <a:gd name="T5" fmla="*/ 128 h 180"/>
                <a:gd name="T6" fmla="*/ 108 w 192"/>
                <a:gd name="T7" fmla="*/ 119 h 180"/>
                <a:gd name="T8" fmla="*/ 138 w 192"/>
                <a:gd name="T9" fmla="*/ 104 h 180"/>
                <a:gd name="T10" fmla="*/ 171 w 192"/>
                <a:gd name="T11" fmla="*/ 104 h 180"/>
                <a:gd name="T12" fmla="*/ 182 w 192"/>
                <a:gd name="T13" fmla="*/ 113 h 180"/>
                <a:gd name="T14" fmla="*/ 192 w 192"/>
                <a:gd name="T15" fmla="*/ 144 h 180"/>
                <a:gd name="T16" fmla="*/ 151 w 192"/>
                <a:gd name="T17" fmla="*/ 144 h 180"/>
                <a:gd name="T18" fmla="*/ 146 w 192"/>
                <a:gd name="T19" fmla="*/ 96 h 180"/>
                <a:gd name="T20" fmla="*/ 141 w 192"/>
                <a:gd name="T21" fmla="*/ 95 h 180"/>
                <a:gd name="T22" fmla="*/ 151 w 192"/>
                <a:gd name="T23" fmla="*/ 63 h 180"/>
                <a:gd name="T24" fmla="*/ 129 w 192"/>
                <a:gd name="T25" fmla="*/ 24 h 180"/>
                <a:gd name="T26" fmla="*/ 182 w 192"/>
                <a:gd name="T27" fmla="*/ 59 h 180"/>
                <a:gd name="T28" fmla="*/ 146 w 192"/>
                <a:gd name="T29" fmla="*/ 96 h 180"/>
                <a:gd name="T30" fmla="*/ 140 w 192"/>
                <a:gd name="T31" fmla="*/ 66 h 180"/>
                <a:gd name="T32" fmla="*/ 94 w 192"/>
                <a:gd name="T33" fmla="*/ 112 h 180"/>
                <a:gd name="T34" fmla="*/ 48 w 192"/>
                <a:gd name="T35" fmla="*/ 66 h 180"/>
                <a:gd name="T36" fmla="*/ 94 w 192"/>
                <a:gd name="T37" fmla="*/ 20 h 180"/>
                <a:gd name="T38" fmla="*/ 140 w 192"/>
                <a:gd name="T39" fmla="*/ 66 h 180"/>
                <a:gd name="T40" fmla="*/ 86 w 192"/>
                <a:gd name="T41" fmla="*/ 33 h 180"/>
                <a:gd name="T42" fmla="*/ 58 w 192"/>
                <a:gd name="T43" fmla="*/ 66 h 180"/>
                <a:gd name="T44" fmla="*/ 94 w 192"/>
                <a:gd name="T45" fmla="*/ 102 h 180"/>
                <a:gd name="T46" fmla="*/ 129 w 192"/>
                <a:gd name="T47" fmla="*/ 66 h 180"/>
                <a:gd name="T48" fmla="*/ 86 w 192"/>
                <a:gd name="T49" fmla="*/ 33 h 180"/>
                <a:gd name="T50" fmla="*/ 60 w 192"/>
                <a:gd name="T51" fmla="*/ 23 h 180"/>
                <a:gd name="T52" fmla="*/ 36 w 192"/>
                <a:gd name="T53" fmla="*/ 63 h 180"/>
                <a:gd name="T54" fmla="*/ 46 w 192"/>
                <a:gd name="T55" fmla="*/ 100 h 180"/>
                <a:gd name="T56" fmla="*/ 46 w 192"/>
                <a:gd name="T57" fmla="*/ 100 h 180"/>
                <a:gd name="T58" fmla="*/ 9 w 192"/>
                <a:gd name="T59" fmla="*/ 59 h 180"/>
                <a:gd name="T60" fmla="*/ 60 w 192"/>
                <a:gd name="T61" fmla="*/ 23 h 180"/>
                <a:gd name="T62" fmla="*/ 23 w 192"/>
                <a:gd name="T63" fmla="*/ 104 h 180"/>
                <a:gd name="T64" fmla="*/ 50 w 192"/>
                <a:gd name="T65" fmla="*/ 104 h 180"/>
                <a:gd name="T66" fmla="*/ 80 w 192"/>
                <a:gd name="T67" fmla="*/ 120 h 180"/>
                <a:gd name="T68" fmla="*/ 82 w 192"/>
                <a:gd name="T69" fmla="*/ 128 h 180"/>
                <a:gd name="T70" fmla="*/ 58 w 192"/>
                <a:gd name="T71" fmla="*/ 128 h 180"/>
                <a:gd name="T72" fmla="*/ 40 w 192"/>
                <a:gd name="T73" fmla="*/ 144 h 180"/>
                <a:gd name="T74" fmla="*/ 0 w 192"/>
                <a:gd name="T75" fmla="*/ 144 h 180"/>
                <a:gd name="T76" fmla="*/ 11 w 192"/>
                <a:gd name="T77" fmla="*/ 113 h 180"/>
                <a:gd name="T78" fmla="*/ 23 w 192"/>
                <a:gd name="T79" fmla="*/ 104 h 180"/>
                <a:gd name="T80" fmla="*/ 65 w 192"/>
                <a:gd name="T81" fmla="*/ 132 h 180"/>
                <a:gd name="T82" fmla="*/ 125 w 192"/>
                <a:gd name="T83" fmla="*/ 132 h 180"/>
                <a:gd name="T84" fmla="*/ 140 w 192"/>
                <a:gd name="T85" fmla="*/ 143 h 180"/>
                <a:gd name="T86" fmla="*/ 152 w 192"/>
                <a:gd name="T87" fmla="*/ 180 h 180"/>
                <a:gd name="T88" fmla="*/ 36 w 192"/>
                <a:gd name="T89" fmla="*/ 180 h 180"/>
                <a:gd name="T90" fmla="*/ 51 w 192"/>
                <a:gd name="T91" fmla="*/ 143 h 180"/>
                <a:gd name="T92" fmla="*/ 65 w 192"/>
                <a:gd name="T93"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 h="180">
                  <a:moveTo>
                    <a:pt x="151" y="144"/>
                  </a:moveTo>
                  <a:cubicBezTo>
                    <a:pt x="150" y="142"/>
                    <a:pt x="145" y="128"/>
                    <a:pt x="132" y="128"/>
                  </a:cubicBezTo>
                  <a:cubicBezTo>
                    <a:pt x="105" y="128"/>
                    <a:pt x="105" y="128"/>
                    <a:pt x="105" y="128"/>
                  </a:cubicBezTo>
                  <a:cubicBezTo>
                    <a:pt x="108" y="119"/>
                    <a:pt x="108" y="119"/>
                    <a:pt x="108" y="119"/>
                  </a:cubicBezTo>
                  <a:cubicBezTo>
                    <a:pt x="120" y="116"/>
                    <a:pt x="130" y="113"/>
                    <a:pt x="138" y="104"/>
                  </a:cubicBezTo>
                  <a:cubicBezTo>
                    <a:pt x="171" y="104"/>
                    <a:pt x="171" y="104"/>
                    <a:pt x="171" y="104"/>
                  </a:cubicBezTo>
                  <a:cubicBezTo>
                    <a:pt x="180" y="104"/>
                    <a:pt x="182" y="113"/>
                    <a:pt x="182" y="113"/>
                  </a:cubicBezTo>
                  <a:cubicBezTo>
                    <a:pt x="192" y="144"/>
                    <a:pt x="192" y="144"/>
                    <a:pt x="192" y="144"/>
                  </a:cubicBezTo>
                  <a:lnTo>
                    <a:pt x="151" y="144"/>
                  </a:lnTo>
                  <a:close/>
                  <a:moveTo>
                    <a:pt x="146" y="96"/>
                  </a:moveTo>
                  <a:cubicBezTo>
                    <a:pt x="144" y="96"/>
                    <a:pt x="143" y="95"/>
                    <a:pt x="141" y="95"/>
                  </a:cubicBezTo>
                  <a:cubicBezTo>
                    <a:pt x="147" y="86"/>
                    <a:pt x="151" y="75"/>
                    <a:pt x="151" y="63"/>
                  </a:cubicBezTo>
                  <a:cubicBezTo>
                    <a:pt x="151" y="38"/>
                    <a:pt x="139" y="34"/>
                    <a:pt x="129" y="24"/>
                  </a:cubicBezTo>
                  <a:cubicBezTo>
                    <a:pt x="102" y="32"/>
                    <a:pt x="182" y="0"/>
                    <a:pt x="182" y="59"/>
                  </a:cubicBezTo>
                  <a:cubicBezTo>
                    <a:pt x="182" y="79"/>
                    <a:pt x="166" y="96"/>
                    <a:pt x="146" y="96"/>
                  </a:cubicBezTo>
                  <a:close/>
                  <a:moveTo>
                    <a:pt x="140" y="66"/>
                  </a:moveTo>
                  <a:cubicBezTo>
                    <a:pt x="140" y="92"/>
                    <a:pt x="119" y="112"/>
                    <a:pt x="94" y="112"/>
                  </a:cubicBezTo>
                  <a:cubicBezTo>
                    <a:pt x="68" y="112"/>
                    <a:pt x="48" y="92"/>
                    <a:pt x="48" y="66"/>
                  </a:cubicBezTo>
                  <a:cubicBezTo>
                    <a:pt x="48" y="41"/>
                    <a:pt x="68" y="20"/>
                    <a:pt x="94" y="20"/>
                  </a:cubicBezTo>
                  <a:cubicBezTo>
                    <a:pt x="119" y="20"/>
                    <a:pt x="140" y="41"/>
                    <a:pt x="140" y="66"/>
                  </a:cubicBezTo>
                  <a:close/>
                  <a:moveTo>
                    <a:pt x="86" y="33"/>
                  </a:moveTo>
                  <a:cubicBezTo>
                    <a:pt x="72" y="38"/>
                    <a:pt x="89" y="56"/>
                    <a:pt x="58" y="66"/>
                  </a:cubicBezTo>
                  <a:cubicBezTo>
                    <a:pt x="58" y="86"/>
                    <a:pt x="74" y="102"/>
                    <a:pt x="94" y="102"/>
                  </a:cubicBezTo>
                  <a:cubicBezTo>
                    <a:pt x="113" y="102"/>
                    <a:pt x="129" y="86"/>
                    <a:pt x="129" y="66"/>
                  </a:cubicBezTo>
                  <a:cubicBezTo>
                    <a:pt x="111" y="52"/>
                    <a:pt x="81" y="58"/>
                    <a:pt x="86" y="33"/>
                  </a:cubicBezTo>
                  <a:close/>
                  <a:moveTo>
                    <a:pt x="60" y="23"/>
                  </a:moveTo>
                  <a:cubicBezTo>
                    <a:pt x="50" y="33"/>
                    <a:pt x="36" y="41"/>
                    <a:pt x="36" y="63"/>
                  </a:cubicBezTo>
                  <a:cubicBezTo>
                    <a:pt x="36" y="75"/>
                    <a:pt x="40" y="90"/>
                    <a:pt x="46" y="100"/>
                  </a:cubicBezTo>
                  <a:cubicBezTo>
                    <a:pt x="46" y="100"/>
                    <a:pt x="46" y="100"/>
                    <a:pt x="46" y="100"/>
                  </a:cubicBezTo>
                  <a:cubicBezTo>
                    <a:pt x="26" y="100"/>
                    <a:pt x="9" y="79"/>
                    <a:pt x="9" y="59"/>
                  </a:cubicBezTo>
                  <a:cubicBezTo>
                    <a:pt x="9" y="3"/>
                    <a:pt x="90" y="29"/>
                    <a:pt x="60" y="23"/>
                  </a:cubicBezTo>
                  <a:close/>
                  <a:moveTo>
                    <a:pt x="23" y="104"/>
                  </a:moveTo>
                  <a:cubicBezTo>
                    <a:pt x="50" y="104"/>
                    <a:pt x="50" y="104"/>
                    <a:pt x="50" y="104"/>
                  </a:cubicBezTo>
                  <a:cubicBezTo>
                    <a:pt x="59" y="115"/>
                    <a:pt x="66" y="118"/>
                    <a:pt x="80" y="120"/>
                  </a:cubicBezTo>
                  <a:cubicBezTo>
                    <a:pt x="82" y="128"/>
                    <a:pt x="82" y="128"/>
                    <a:pt x="82" y="128"/>
                  </a:cubicBezTo>
                  <a:cubicBezTo>
                    <a:pt x="58" y="128"/>
                    <a:pt x="58" y="128"/>
                    <a:pt x="58" y="128"/>
                  </a:cubicBezTo>
                  <a:cubicBezTo>
                    <a:pt x="45" y="128"/>
                    <a:pt x="41" y="142"/>
                    <a:pt x="40" y="144"/>
                  </a:cubicBezTo>
                  <a:cubicBezTo>
                    <a:pt x="0" y="144"/>
                    <a:pt x="0" y="144"/>
                    <a:pt x="0" y="144"/>
                  </a:cubicBezTo>
                  <a:cubicBezTo>
                    <a:pt x="11" y="113"/>
                    <a:pt x="11" y="113"/>
                    <a:pt x="11" y="113"/>
                  </a:cubicBezTo>
                  <a:cubicBezTo>
                    <a:pt x="11" y="113"/>
                    <a:pt x="14" y="104"/>
                    <a:pt x="23" y="104"/>
                  </a:cubicBezTo>
                  <a:close/>
                  <a:moveTo>
                    <a:pt x="65" y="132"/>
                  </a:moveTo>
                  <a:cubicBezTo>
                    <a:pt x="125" y="132"/>
                    <a:pt x="125" y="132"/>
                    <a:pt x="125" y="132"/>
                  </a:cubicBezTo>
                  <a:cubicBezTo>
                    <a:pt x="136" y="132"/>
                    <a:pt x="140" y="143"/>
                    <a:pt x="140" y="143"/>
                  </a:cubicBezTo>
                  <a:cubicBezTo>
                    <a:pt x="152" y="180"/>
                    <a:pt x="152" y="180"/>
                    <a:pt x="152" y="180"/>
                  </a:cubicBezTo>
                  <a:cubicBezTo>
                    <a:pt x="36" y="180"/>
                    <a:pt x="36" y="180"/>
                    <a:pt x="36" y="180"/>
                  </a:cubicBezTo>
                  <a:cubicBezTo>
                    <a:pt x="51" y="143"/>
                    <a:pt x="51" y="143"/>
                    <a:pt x="51" y="143"/>
                  </a:cubicBezTo>
                  <a:cubicBezTo>
                    <a:pt x="51" y="143"/>
                    <a:pt x="54" y="132"/>
                    <a:pt x="65" y="132"/>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grpSp>
      <p:grpSp>
        <p:nvGrpSpPr>
          <p:cNvPr id="22" name="组合 21"/>
          <p:cNvGrpSpPr/>
          <p:nvPr/>
        </p:nvGrpSpPr>
        <p:grpSpPr>
          <a:xfrm>
            <a:off x="7597860" y="1958265"/>
            <a:ext cx="2193345" cy="1891060"/>
            <a:chOff x="5698540" y="1468698"/>
            <a:chExt cx="1645223" cy="1418295"/>
          </a:xfrm>
        </p:grpSpPr>
        <p:sp>
          <p:nvSpPr>
            <p:cNvPr id="7" name="六边形 6"/>
            <p:cNvSpPr/>
            <p:nvPr/>
          </p:nvSpPr>
          <p:spPr>
            <a:xfrm>
              <a:off x="5698540" y="1468698"/>
              <a:ext cx="1645223" cy="1418295"/>
            </a:xfrm>
            <a:prstGeom prst="hexagon">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latin typeface="Arial" panose="020B0604020202020204" pitchFamily="34" charset="0"/>
                  <a:cs typeface="Arial" panose="020B0604020202020204" pitchFamily="34" charset="0"/>
                </a:rPr>
                <a:t>销售</a:t>
              </a:r>
              <a:endParaRPr lang="en-US" altLang="zh-CN" dirty="0">
                <a:solidFill>
                  <a:schemeClr val="bg1"/>
                </a:solidFill>
                <a:latin typeface="Arial" panose="020B0604020202020204" pitchFamily="34" charset="0"/>
                <a:cs typeface="Arial" panose="020B0604020202020204" pitchFamily="34" charset="0"/>
              </a:endParaRPr>
            </a:p>
            <a:p>
              <a:pPr algn="ctr"/>
              <a:r>
                <a:rPr lang="zh-CN" altLang="en-US" dirty="0">
                  <a:solidFill>
                    <a:schemeClr val="bg1"/>
                  </a:solidFill>
                  <a:latin typeface="Arial" panose="020B0604020202020204" pitchFamily="34" charset="0"/>
                  <a:cs typeface="Arial" panose="020B0604020202020204" pitchFamily="34" charset="0"/>
                </a:rPr>
                <a:t>团队</a:t>
              </a:r>
            </a:p>
          </p:txBody>
        </p:sp>
        <p:sp>
          <p:nvSpPr>
            <p:cNvPr id="20" name="Freeform 6"/>
            <p:cNvSpPr>
              <a:spLocks noEditPoints="1"/>
            </p:cNvSpPr>
            <p:nvPr/>
          </p:nvSpPr>
          <p:spPr bwMode="auto">
            <a:xfrm>
              <a:off x="6335110" y="1554986"/>
              <a:ext cx="325122" cy="305070"/>
            </a:xfrm>
            <a:custGeom>
              <a:avLst/>
              <a:gdLst>
                <a:gd name="T0" fmla="*/ 151 w 192"/>
                <a:gd name="T1" fmla="*/ 144 h 180"/>
                <a:gd name="T2" fmla="*/ 132 w 192"/>
                <a:gd name="T3" fmla="*/ 128 h 180"/>
                <a:gd name="T4" fmla="*/ 105 w 192"/>
                <a:gd name="T5" fmla="*/ 128 h 180"/>
                <a:gd name="T6" fmla="*/ 108 w 192"/>
                <a:gd name="T7" fmla="*/ 119 h 180"/>
                <a:gd name="T8" fmla="*/ 138 w 192"/>
                <a:gd name="T9" fmla="*/ 104 h 180"/>
                <a:gd name="T10" fmla="*/ 171 w 192"/>
                <a:gd name="T11" fmla="*/ 104 h 180"/>
                <a:gd name="T12" fmla="*/ 182 w 192"/>
                <a:gd name="T13" fmla="*/ 113 h 180"/>
                <a:gd name="T14" fmla="*/ 192 w 192"/>
                <a:gd name="T15" fmla="*/ 144 h 180"/>
                <a:gd name="T16" fmla="*/ 151 w 192"/>
                <a:gd name="T17" fmla="*/ 144 h 180"/>
                <a:gd name="T18" fmla="*/ 146 w 192"/>
                <a:gd name="T19" fmla="*/ 96 h 180"/>
                <a:gd name="T20" fmla="*/ 141 w 192"/>
                <a:gd name="T21" fmla="*/ 95 h 180"/>
                <a:gd name="T22" fmla="*/ 151 w 192"/>
                <a:gd name="T23" fmla="*/ 63 h 180"/>
                <a:gd name="T24" fmla="*/ 129 w 192"/>
                <a:gd name="T25" fmla="*/ 24 h 180"/>
                <a:gd name="T26" fmla="*/ 182 w 192"/>
                <a:gd name="T27" fmla="*/ 59 h 180"/>
                <a:gd name="T28" fmla="*/ 146 w 192"/>
                <a:gd name="T29" fmla="*/ 96 h 180"/>
                <a:gd name="T30" fmla="*/ 140 w 192"/>
                <a:gd name="T31" fmla="*/ 66 h 180"/>
                <a:gd name="T32" fmla="*/ 94 w 192"/>
                <a:gd name="T33" fmla="*/ 112 h 180"/>
                <a:gd name="T34" fmla="*/ 48 w 192"/>
                <a:gd name="T35" fmla="*/ 66 h 180"/>
                <a:gd name="T36" fmla="*/ 94 w 192"/>
                <a:gd name="T37" fmla="*/ 20 h 180"/>
                <a:gd name="T38" fmla="*/ 140 w 192"/>
                <a:gd name="T39" fmla="*/ 66 h 180"/>
                <a:gd name="T40" fmla="*/ 86 w 192"/>
                <a:gd name="T41" fmla="*/ 33 h 180"/>
                <a:gd name="T42" fmla="*/ 58 w 192"/>
                <a:gd name="T43" fmla="*/ 66 h 180"/>
                <a:gd name="T44" fmla="*/ 94 w 192"/>
                <a:gd name="T45" fmla="*/ 102 h 180"/>
                <a:gd name="T46" fmla="*/ 129 w 192"/>
                <a:gd name="T47" fmla="*/ 66 h 180"/>
                <a:gd name="T48" fmla="*/ 86 w 192"/>
                <a:gd name="T49" fmla="*/ 33 h 180"/>
                <a:gd name="T50" fmla="*/ 60 w 192"/>
                <a:gd name="T51" fmla="*/ 23 h 180"/>
                <a:gd name="T52" fmla="*/ 36 w 192"/>
                <a:gd name="T53" fmla="*/ 63 h 180"/>
                <a:gd name="T54" fmla="*/ 46 w 192"/>
                <a:gd name="T55" fmla="*/ 100 h 180"/>
                <a:gd name="T56" fmla="*/ 46 w 192"/>
                <a:gd name="T57" fmla="*/ 100 h 180"/>
                <a:gd name="T58" fmla="*/ 9 w 192"/>
                <a:gd name="T59" fmla="*/ 59 h 180"/>
                <a:gd name="T60" fmla="*/ 60 w 192"/>
                <a:gd name="T61" fmla="*/ 23 h 180"/>
                <a:gd name="T62" fmla="*/ 23 w 192"/>
                <a:gd name="T63" fmla="*/ 104 h 180"/>
                <a:gd name="T64" fmla="*/ 50 w 192"/>
                <a:gd name="T65" fmla="*/ 104 h 180"/>
                <a:gd name="T66" fmla="*/ 80 w 192"/>
                <a:gd name="T67" fmla="*/ 120 h 180"/>
                <a:gd name="T68" fmla="*/ 82 w 192"/>
                <a:gd name="T69" fmla="*/ 128 h 180"/>
                <a:gd name="T70" fmla="*/ 58 w 192"/>
                <a:gd name="T71" fmla="*/ 128 h 180"/>
                <a:gd name="T72" fmla="*/ 40 w 192"/>
                <a:gd name="T73" fmla="*/ 144 h 180"/>
                <a:gd name="T74" fmla="*/ 0 w 192"/>
                <a:gd name="T75" fmla="*/ 144 h 180"/>
                <a:gd name="T76" fmla="*/ 11 w 192"/>
                <a:gd name="T77" fmla="*/ 113 h 180"/>
                <a:gd name="T78" fmla="*/ 23 w 192"/>
                <a:gd name="T79" fmla="*/ 104 h 180"/>
                <a:gd name="T80" fmla="*/ 65 w 192"/>
                <a:gd name="T81" fmla="*/ 132 h 180"/>
                <a:gd name="T82" fmla="*/ 125 w 192"/>
                <a:gd name="T83" fmla="*/ 132 h 180"/>
                <a:gd name="T84" fmla="*/ 140 w 192"/>
                <a:gd name="T85" fmla="*/ 143 h 180"/>
                <a:gd name="T86" fmla="*/ 152 w 192"/>
                <a:gd name="T87" fmla="*/ 180 h 180"/>
                <a:gd name="T88" fmla="*/ 36 w 192"/>
                <a:gd name="T89" fmla="*/ 180 h 180"/>
                <a:gd name="T90" fmla="*/ 51 w 192"/>
                <a:gd name="T91" fmla="*/ 143 h 180"/>
                <a:gd name="T92" fmla="*/ 65 w 192"/>
                <a:gd name="T93" fmla="*/ 1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 h="180">
                  <a:moveTo>
                    <a:pt x="151" y="144"/>
                  </a:moveTo>
                  <a:cubicBezTo>
                    <a:pt x="150" y="142"/>
                    <a:pt x="145" y="128"/>
                    <a:pt x="132" y="128"/>
                  </a:cubicBezTo>
                  <a:cubicBezTo>
                    <a:pt x="105" y="128"/>
                    <a:pt x="105" y="128"/>
                    <a:pt x="105" y="128"/>
                  </a:cubicBezTo>
                  <a:cubicBezTo>
                    <a:pt x="108" y="119"/>
                    <a:pt x="108" y="119"/>
                    <a:pt x="108" y="119"/>
                  </a:cubicBezTo>
                  <a:cubicBezTo>
                    <a:pt x="120" y="116"/>
                    <a:pt x="130" y="113"/>
                    <a:pt x="138" y="104"/>
                  </a:cubicBezTo>
                  <a:cubicBezTo>
                    <a:pt x="171" y="104"/>
                    <a:pt x="171" y="104"/>
                    <a:pt x="171" y="104"/>
                  </a:cubicBezTo>
                  <a:cubicBezTo>
                    <a:pt x="180" y="104"/>
                    <a:pt x="182" y="113"/>
                    <a:pt x="182" y="113"/>
                  </a:cubicBezTo>
                  <a:cubicBezTo>
                    <a:pt x="192" y="144"/>
                    <a:pt x="192" y="144"/>
                    <a:pt x="192" y="144"/>
                  </a:cubicBezTo>
                  <a:lnTo>
                    <a:pt x="151" y="144"/>
                  </a:lnTo>
                  <a:close/>
                  <a:moveTo>
                    <a:pt x="146" y="96"/>
                  </a:moveTo>
                  <a:cubicBezTo>
                    <a:pt x="144" y="96"/>
                    <a:pt x="143" y="95"/>
                    <a:pt x="141" y="95"/>
                  </a:cubicBezTo>
                  <a:cubicBezTo>
                    <a:pt x="147" y="86"/>
                    <a:pt x="151" y="75"/>
                    <a:pt x="151" y="63"/>
                  </a:cubicBezTo>
                  <a:cubicBezTo>
                    <a:pt x="151" y="38"/>
                    <a:pt x="139" y="34"/>
                    <a:pt x="129" y="24"/>
                  </a:cubicBezTo>
                  <a:cubicBezTo>
                    <a:pt x="102" y="32"/>
                    <a:pt x="182" y="0"/>
                    <a:pt x="182" y="59"/>
                  </a:cubicBezTo>
                  <a:cubicBezTo>
                    <a:pt x="182" y="79"/>
                    <a:pt x="166" y="96"/>
                    <a:pt x="146" y="96"/>
                  </a:cubicBezTo>
                  <a:close/>
                  <a:moveTo>
                    <a:pt x="140" y="66"/>
                  </a:moveTo>
                  <a:cubicBezTo>
                    <a:pt x="140" y="92"/>
                    <a:pt x="119" y="112"/>
                    <a:pt x="94" y="112"/>
                  </a:cubicBezTo>
                  <a:cubicBezTo>
                    <a:pt x="68" y="112"/>
                    <a:pt x="48" y="92"/>
                    <a:pt x="48" y="66"/>
                  </a:cubicBezTo>
                  <a:cubicBezTo>
                    <a:pt x="48" y="41"/>
                    <a:pt x="68" y="20"/>
                    <a:pt x="94" y="20"/>
                  </a:cubicBezTo>
                  <a:cubicBezTo>
                    <a:pt x="119" y="20"/>
                    <a:pt x="140" y="41"/>
                    <a:pt x="140" y="66"/>
                  </a:cubicBezTo>
                  <a:close/>
                  <a:moveTo>
                    <a:pt x="86" y="33"/>
                  </a:moveTo>
                  <a:cubicBezTo>
                    <a:pt x="72" y="38"/>
                    <a:pt x="89" y="56"/>
                    <a:pt x="58" y="66"/>
                  </a:cubicBezTo>
                  <a:cubicBezTo>
                    <a:pt x="58" y="86"/>
                    <a:pt x="74" y="102"/>
                    <a:pt x="94" y="102"/>
                  </a:cubicBezTo>
                  <a:cubicBezTo>
                    <a:pt x="113" y="102"/>
                    <a:pt x="129" y="86"/>
                    <a:pt x="129" y="66"/>
                  </a:cubicBezTo>
                  <a:cubicBezTo>
                    <a:pt x="111" y="52"/>
                    <a:pt x="81" y="58"/>
                    <a:pt x="86" y="33"/>
                  </a:cubicBezTo>
                  <a:close/>
                  <a:moveTo>
                    <a:pt x="60" y="23"/>
                  </a:moveTo>
                  <a:cubicBezTo>
                    <a:pt x="50" y="33"/>
                    <a:pt x="36" y="41"/>
                    <a:pt x="36" y="63"/>
                  </a:cubicBezTo>
                  <a:cubicBezTo>
                    <a:pt x="36" y="75"/>
                    <a:pt x="40" y="90"/>
                    <a:pt x="46" y="100"/>
                  </a:cubicBezTo>
                  <a:cubicBezTo>
                    <a:pt x="46" y="100"/>
                    <a:pt x="46" y="100"/>
                    <a:pt x="46" y="100"/>
                  </a:cubicBezTo>
                  <a:cubicBezTo>
                    <a:pt x="26" y="100"/>
                    <a:pt x="9" y="79"/>
                    <a:pt x="9" y="59"/>
                  </a:cubicBezTo>
                  <a:cubicBezTo>
                    <a:pt x="9" y="3"/>
                    <a:pt x="90" y="29"/>
                    <a:pt x="60" y="23"/>
                  </a:cubicBezTo>
                  <a:close/>
                  <a:moveTo>
                    <a:pt x="23" y="104"/>
                  </a:moveTo>
                  <a:cubicBezTo>
                    <a:pt x="50" y="104"/>
                    <a:pt x="50" y="104"/>
                    <a:pt x="50" y="104"/>
                  </a:cubicBezTo>
                  <a:cubicBezTo>
                    <a:pt x="59" y="115"/>
                    <a:pt x="66" y="118"/>
                    <a:pt x="80" y="120"/>
                  </a:cubicBezTo>
                  <a:cubicBezTo>
                    <a:pt x="82" y="128"/>
                    <a:pt x="82" y="128"/>
                    <a:pt x="82" y="128"/>
                  </a:cubicBezTo>
                  <a:cubicBezTo>
                    <a:pt x="58" y="128"/>
                    <a:pt x="58" y="128"/>
                    <a:pt x="58" y="128"/>
                  </a:cubicBezTo>
                  <a:cubicBezTo>
                    <a:pt x="45" y="128"/>
                    <a:pt x="41" y="142"/>
                    <a:pt x="40" y="144"/>
                  </a:cubicBezTo>
                  <a:cubicBezTo>
                    <a:pt x="0" y="144"/>
                    <a:pt x="0" y="144"/>
                    <a:pt x="0" y="144"/>
                  </a:cubicBezTo>
                  <a:cubicBezTo>
                    <a:pt x="11" y="113"/>
                    <a:pt x="11" y="113"/>
                    <a:pt x="11" y="113"/>
                  </a:cubicBezTo>
                  <a:cubicBezTo>
                    <a:pt x="11" y="113"/>
                    <a:pt x="14" y="104"/>
                    <a:pt x="23" y="104"/>
                  </a:cubicBezTo>
                  <a:close/>
                  <a:moveTo>
                    <a:pt x="65" y="132"/>
                  </a:moveTo>
                  <a:cubicBezTo>
                    <a:pt x="125" y="132"/>
                    <a:pt x="125" y="132"/>
                    <a:pt x="125" y="132"/>
                  </a:cubicBezTo>
                  <a:cubicBezTo>
                    <a:pt x="136" y="132"/>
                    <a:pt x="140" y="143"/>
                    <a:pt x="140" y="143"/>
                  </a:cubicBezTo>
                  <a:cubicBezTo>
                    <a:pt x="152" y="180"/>
                    <a:pt x="152" y="180"/>
                    <a:pt x="152" y="180"/>
                  </a:cubicBezTo>
                  <a:cubicBezTo>
                    <a:pt x="36" y="180"/>
                    <a:pt x="36" y="180"/>
                    <a:pt x="36" y="180"/>
                  </a:cubicBezTo>
                  <a:cubicBezTo>
                    <a:pt x="51" y="143"/>
                    <a:pt x="51" y="143"/>
                    <a:pt x="51" y="143"/>
                  </a:cubicBezTo>
                  <a:cubicBezTo>
                    <a:pt x="51" y="143"/>
                    <a:pt x="54" y="132"/>
                    <a:pt x="65" y="132"/>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gr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2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4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40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grpId="0" nodeType="withEffect">
                                  <p:stCondLst>
                                    <p:cond delay="6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60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par>
                          <p:cTn id="23" fill="hold">
                            <p:stCondLst>
                              <p:cond delay="700"/>
                            </p:stCondLst>
                            <p:childTnLst>
                              <p:par>
                                <p:cTn id="24" presetID="12" presetClass="entr" presetSubtype="1" fill="hold" grpId="0" nodeType="after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additive="base">
                                        <p:cTn id="26" dur="300"/>
                                        <p:tgtEl>
                                          <p:spTgt spid="9"/>
                                        </p:tgtEl>
                                        <p:attrNameLst>
                                          <p:attrName>ppt_y</p:attrName>
                                        </p:attrNameLst>
                                      </p:cBhvr>
                                      <p:tavLst>
                                        <p:tav tm="0">
                                          <p:val>
                                            <p:strVal val="#ppt_y-#ppt_h*1.125000"/>
                                          </p:val>
                                        </p:tav>
                                        <p:tav tm="100000">
                                          <p:val>
                                            <p:strVal val="#ppt_y"/>
                                          </p:val>
                                        </p:tav>
                                      </p:tavLst>
                                    </p:anim>
                                    <p:animEffect transition="in" filter="wipe(down)">
                                      <p:cBhvr>
                                        <p:cTn id="27" dur="300"/>
                                        <p:tgtEl>
                                          <p:spTgt spid="9"/>
                                        </p:tgtEl>
                                      </p:cBhvr>
                                    </p:animEffect>
                                  </p:childTnLst>
                                </p:cTn>
                              </p:par>
                              <p:par>
                                <p:cTn id="28" presetID="12" presetClass="entr" presetSubtype="4"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300"/>
                                        <p:tgtEl>
                                          <p:spTgt spid="14"/>
                                        </p:tgtEl>
                                        <p:attrNameLst>
                                          <p:attrName>ppt_y</p:attrName>
                                        </p:attrNameLst>
                                      </p:cBhvr>
                                      <p:tavLst>
                                        <p:tav tm="0">
                                          <p:val>
                                            <p:strVal val="#ppt_y+#ppt_h*1.125000"/>
                                          </p:val>
                                        </p:tav>
                                        <p:tav tm="100000">
                                          <p:val>
                                            <p:strVal val="#ppt_y"/>
                                          </p:val>
                                        </p:tav>
                                      </p:tavLst>
                                    </p:anim>
                                    <p:animEffect transition="in" filter="wipe(up)">
                                      <p:cBhvr>
                                        <p:cTn id="31" dur="300"/>
                                        <p:tgtEl>
                                          <p:spTgt spid="14"/>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 calcmode="lin" valueType="num">
                                      <p:cBhvr additive="base">
                                        <p:cTn id="34" dur="300"/>
                                        <p:tgtEl>
                                          <p:spTgt spid="11"/>
                                        </p:tgtEl>
                                        <p:attrNameLst>
                                          <p:attrName>ppt_y</p:attrName>
                                        </p:attrNameLst>
                                      </p:cBhvr>
                                      <p:tavLst>
                                        <p:tav tm="0">
                                          <p:val>
                                            <p:strVal val="#ppt_y-#ppt_h*1.125000"/>
                                          </p:val>
                                        </p:tav>
                                        <p:tav tm="100000">
                                          <p:val>
                                            <p:strVal val="#ppt_y"/>
                                          </p:val>
                                        </p:tav>
                                      </p:tavLst>
                                    </p:anim>
                                    <p:animEffect transition="in" filter="wipe(down)">
                                      <p:cBhvr>
                                        <p:cTn id="35" dur="300"/>
                                        <p:tgtEl>
                                          <p:spTgt spid="11"/>
                                        </p:tgtEl>
                                      </p:cBhvr>
                                    </p:animEffect>
                                  </p:childTnLst>
                                </p:cTn>
                              </p:par>
                            </p:childTnLst>
                          </p:cTn>
                        </p:par>
                        <p:par>
                          <p:cTn id="36" fill="hold">
                            <p:stCondLst>
                              <p:cond delay="1200"/>
                            </p:stCondLst>
                            <p:childTnLst>
                              <p:par>
                                <p:cTn id="37" presetID="22" presetClass="entr" presetSubtype="1" fill="hold" grpId="0"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wipe(up)">
                                      <p:cBhvr>
                                        <p:cTn id="39" dur="300"/>
                                        <p:tgtEl>
                                          <p:spTgt spid="10"/>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ipe(down)">
                                      <p:cBhvr>
                                        <p:cTn id="42" dur="300"/>
                                        <p:tgtEl>
                                          <p:spTgt spid="13"/>
                                        </p:tgtEl>
                                      </p:cBhvr>
                                    </p:animEffect>
                                  </p:childTnLst>
                                </p:cTn>
                              </p:par>
                              <p:par>
                                <p:cTn id="43" presetID="22" presetClass="entr" presetSubtype="1"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up)">
                                      <p:cBhvr>
                                        <p:cTn id="45" dur="3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P spid="9" grpId="0" animBg="1"/>
      <p:bldP spid="10" grpId="0"/>
      <p:bldP spid="11" grpId="0" animBg="1"/>
      <p:bldP spid="12" grpId="0"/>
      <p:bldP spid="13" grpId="0"/>
      <p:bldP spid="1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空心弧 2"/>
          <p:cNvSpPr/>
          <p:nvPr/>
        </p:nvSpPr>
        <p:spPr>
          <a:xfrm rot="483470">
            <a:off x="1826763" y="1637510"/>
            <a:ext cx="3724863" cy="3725348"/>
          </a:xfrm>
          <a:prstGeom prst="blockArc">
            <a:avLst>
              <a:gd name="adj1" fmla="val 5692214"/>
              <a:gd name="adj2" fmla="val 42522"/>
              <a:gd name="adj3" fmla="val 1111"/>
            </a:avLst>
          </a:prstGeom>
          <a:solidFill>
            <a:srgbClr val="1888B0"/>
          </a:solidFill>
          <a:ln w="25400" cap="flat" cmpd="sng" algn="ctr">
            <a:solidFill>
              <a:schemeClr val="accent3"/>
            </a:solidFill>
            <a:prstDash val="solid"/>
          </a:ln>
          <a:effectLst/>
        </p:spPr>
        <p:txBody>
          <a:bodyPr lIns="121908" tIns="60954" rIns="121908" bIns="60954" rtlCol="0" anchor="ctr"/>
          <a:lstStyle/>
          <a:p>
            <a:pPr algn="ctr">
              <a:defRPr/>
            </a:pPr>
            <a:endParaRPr lang="zh-CN" altLang="en-US" sz="1500" kern="0">
              <a:solidFill>
                <a:sysClr val="windowText" lastClr="000000"/>
              </a:solidFill>
              <a:latin typeface="Calibri" panose="020F0502020204030204"/>
              <a:ea typeface="宋体" panose="02010600030101010101" pitchFamily="2" charset="-122"/>
            </a:endParaRPr>
          </a:p>
        </p:txBody>
      </p:sp>
      <p:grpSp>
        <p:nvGrpSpPr>
          <p:cNvPr id="4" name="组合 3"/>
          <p:cNvGrpSpPr/>
          <p:nvPr/>
        </p:nvGrpSpPr>
        <p:grpSpPr>
          <a:xfrm>
            <a:off x="4906015" y="1112725"/>
            <a:ext cx="4177138" cy="1074952"/>
            <a:chOff x="4148176" y="1697000"/>
            <a:chExt cx="3133261" cy="806214"/>
          </a:xfrm>
        </p:grpSpPr>
        <p:cxnSp>
          <p:nvCxnSpPr>
            <p:cNvPr id="5" name="直接连接符 4"/>
            <p:cNvCxnSpPr/>
            <p:nvPr/>
          </p:nvCxnSpPr>
          <p:spPr>
            <a:xfrm>
              <a:off x="4959524" y="2089717"/>
              <a:ext cx="2321913" cy="5290"/>
            </a:xfrm>
            <a:prstGeom prst="line">
              <a:avLst/>
            </a:prstGeom>
            <a:noFill/>
            <a:ln w="12700" cap="flat" cmpd="sng" algn="ctr">
              <a:solidFill>
                <a:sysClr val="window" lastClr="FFFFFF">
                  <a:lumMod val="50000"/>
                </a:sysClr>
              </a:solidFill>
              <a:prstDash val="solid"/>
              <a:headEnd type="none" w="med" len="med"/>
              <a:tailEnd type="oval" w="med" len="med"/>
            </a:ln>
            <a:effectLst/>
          </p:spPr>
        </p:cxnSp>
        <p:grpSp>
          <p:nvGrpSpPr>
            <p:cNvPr id="6" name="组合 5"/>
            <p:cNvGrpSpPr/>
            <p:nvPr/>
          </p:nvGrpSpPr>
          <p:grpSpPr>
            <a:xfrm>
              <a:off x="4148176" y="1697000"/>
              <a:ext cx="904292" cy="806214"/>
              <a:chOff x="3835847" y="1395243"/>
              <a:chExt cx="1462116" cy="1303538"/>
            </a:xfrm>
          </p:grpSpPr>
          <p:sp>
            <p:nvSpPr>
              <p:cNvPr id="8" name="同心圆 7"/>
              <p:cNvSpPr/>
              <p:nvPr/>
            </p:nvSpPr>
            <p:spPr>
              <a:xfrm>
                <a:off x="3835847" y="1395243"/>
                <a:ext cx="1303538" cy="1303538"/>
              </a:xfrm>
              <a:prstGeom prst="donut">
                <a:avLst>
                  <a:gd name="adj" fmla="val 3142"/>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Text" lastClr="000000"/>
                  </a:solidFill>
                  <a:latin typeface="Calibri" panose="020F0502020204030204"/>
                  <a:ea typeface="宋体" panose="02010600030101010101" pitchFamily="2" charset="-122"/>
                </a:endParaRPr>
              </a:p>
            </p:txBody>
          </p:sp>
          <p:grpSp>
            <p:nvGrpSpPr>
              <p:cNvPr id="9" name="组合 8"/>
              <p:cNvGrpSpPr/>
              <p:nvPr/>
            </p:nvGrpSpPr>
            <p:grpSpPr>
              <a:xfrm>
                <a:off x="4939609" y="1857832"/>
                <a:ext cx="358354" cy="358354"/>
                <a:chOff x="5917211" y="1835961"/>
                <a:chExt cx="504056" cy="504056"/>
              </a:xfrm>
            </p:grpSpPr>
            <p:sp>
              <p:nvSpPr>
                <p:cNvPr id="11" name="同心圆 10"/>
                <p:cNvSpPr/>
                <p:nvPr/>
              </p:nvSpPr>
              <p:spPr>
                <a:xfrm>
                  <a:off x="5917211" y="1835961"/>
                  <a:ext cx="504056" cy="504056"/>
                </a:xfrm>
                <a:prstGeom prst="donut">
                  <a:avLst>
                    <a:gd name="adj" fmla="val 3142"/>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Text" lastClr="000000"/>
                    </a:solidFill>
                    <a:latin typeface="Calibri" panose="020F0502020204030204"/>
                    <a:ea typeface="宋体" panose="02010600030101010101" pitchFamily="2" charset="-122"/>
                  </a:endParaRPr>
                </a:p>
              </p:txBody>
            </p:sp>
            <p:sp>
              <p:nvSpPr>
                <p:cNvPr id="12" name="椭圆 11"/>
                <p:cNvSpPr/>
                <p:nvPr/>
              </p:nvSpPr>
              <p:spPr>
                <a:xfrm>
                  <a:off x="6039087" y="1981663"/>
                  <a:ext cx="222754" cy="222754"/>
                </a:xfrm>
                <a:prstGeom prst="ellipse">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 lastClr="FFFFFF"/>
                    </a:solidFill>
                    <a:latin typeface="Calibri" panose="020F0502020204030204"/>
                    <a:ea typeface="宋体" panose="02010600030101010101" pitchFamily="2" charset="-122"/>
                  </a:endParaRPr>
                </a:p>
              </p:txBody>
            </p:sp>
          </p:grpSp>
          <p:sp>
            <p:nvSpPr>
              <p:cNvPr id="10" name="椭圆 9"/>
              <p:cNvSpPr/>
              <p:nvPr/>
            </p:nvSpPr>
            <p:spPr>
              <a:xfrm>
                <a:off x="4151028" y="1732853"/>
                <a:ext cx="676101" cy="676101"/>
              </a:xfrm>
              <a:prstGeom prst="ellipse">
                <a:avLst/>
              </a:prstGeom>
              <a:solidFill>
                <a:schemeClr val="accent3"/>
              </a:solidFill>
              <a:ln w="25400" cap="flat" cmpd="sng" algn="ctr">
                <a:noFill/>
                <a:prstDash val="solid"/>
              </a:ln>
              <a:effectLst/>
            </p:spPr>
            <p:txBody>
              <a:bodyPr rtlCol="0" anchor="ctr"/>
              <a:lstStyle/>
              <a:p>
                <a:pPr algn="ctr">
                  <a:defRPr/>
                </a:pPr>
                <a:r>
                  <a:rPr lang="en-US" altLang="zh-CN" sz="1900" kern="0" dirty="0">
                    <a:solidFill>
                      <a:sysClr val="window" lastClr="FFFFFF"/>
                    </a:solidFill>
                    <a:latin typeface="Calibri" panose="020F0502020204030204"/>
                    <a:ea typeface="宋体" panose="02010600030101010101" pitchFamily="2" charset="-122"/>
                  </a:rPr>
                  <a:t>1</a:t>
                </a:r>
                <a:endParaRPr lang="zh-CN" altLang="en-US" sz="1900" kern="0" dirty="0">
                  <a:solidFill>
                    <a:sysClr val="window" lastClr="FFFFFF"/>
                  </a:solidFill>
                  <a:latin typeface="Calibri" panose="020F0502020204030204"/>
                  <a:ea typeface="宋体" panose="02010600030101010101" pitchFamily="2" charset="-122"/>
                </a:endParaRPr>
              </a:p>
            </p:txBody>
          </p:sp>
        </p:grpSp>
        <p:sp>
          <p:nvSpPr>
            <p:cNvPr id="7" name="TextBox 6"/>
            <p:cNvSpPr txBox="1"/>
            <p:nvPr/>
          </p:nvSpPr>
          <p:spPr>
            <a:xfrm>
              <a:off x="5040782" y="1768669"/>
              <a:ext cx="2180550" cy="288541"/>
            </a:xfrm>
            <a:prstGeom prst="rect">
              <a:avLst/>
            </a:prstGeom>
            <a:noFill/>
          </p:spPr>
          <p:txBody>
            <a:bodyPr wrap="square" rtlCol="0">
              <a:spAutoFit/>
            </a:bodyPr>
            <a:lstStyle/>
            <a:p>
              <a:pPr lvl="0">
                <a:defRPr/>
              </a:pPr>
              <a:r>
                <a:rPr lang="zh-CN" altLang="en-US" sz="1900" b="1" kern="0" dirty="0">
                  <a:solidFill>
                    <a:schemeClr val="accent1"/>
                  </a:solidFill>
                  <a:latin typeface="Arial" panose="020B0604020202020204" pitchFamily="34" charset="0"/>
                  <a:ea typeface="微软雅黑" panose="020B0503020204020204" pitchFamily="34" charset="-122"/>
                  <a:cs typeface="Arial" panose="020B0604020202020204" pitchFamily="34" charset="0"/>
                </a:rPr>
                <a:t>失误一</a:t>
              </a:r>
            </a:p>
          </p:txBody>
        </p:sp>
      </p:grpSp>
      <p:grpSp>
        <p:nvGrpSpPr>
          <p:cNvPr id="13" name="组合 12"/>
          <p:cNvGrpSpPr/>
          <p:nvPr/>
        </p:nvGrpSpPr>
        <p:grpSpPr>
          <a:xfrm>
            <a:off x="5613821" y="2550983"/>
            <a:ext cx="4177138" cy="1074952"/>
            <a:chOff x="4679100" y="2775693"/>
            <a:chExt cx="3133261" cy="806214"/>
          </a:xfrm>
        </p:grpSpPr>
        <p:cxnSp>
          <p:nvCxnSpPr>
            <p:cNvPr id="14" name="直接连接符 13"/>
            <p:cNvCxnSpPr/>
            <p:nvPr/>
          </p:nvCxnSpPr>
          <p:spPr>
            <a:xfrm>
              <a:off x="5490448" y="3168410"/>
              <a:ext cx="2321913" cy="5290"/>
            </a:xfrm>
            <a:prstGeom prst="line">
              <a:avLst/>
            </a:prstGeom>
            <a:noFill/>
            <a:ln w="12700" cap="flat" cmpd="sng" algn="ctr">
              <a:solidFill>
                <a:sysClr val="window" lastClr="FFFFFF">
                  <a:lumMod val="50000"/>
                </a:sysClr>
              </a:solidFill>
              <a:prstDash val="solid"/>
              <a:headEnd type="none" w="med" len="med"/>
              <a:tailEnd type="oval" w="med" len="med"/>
            </a:ln>
            <a:effectLst/>
          </p:spPr>
        </p:cxnSp>
        <p:grpSp>
          <p:nvGrpSpPr>
            <p:cNvPr id="15" name="组合 14"/>
            <p:cNvGrpSpPr/>
            <p:nvPr/>
          </p:nvGrpSpPr>
          <p:grpSpPr>
            <a:xfrm>
              <a:off x="4679100" y="2775693"/>
              <a:ext cx="904292" cy="806214"/>
              <a:chOff x="3835847" y="1395243"/>
              <a:chExt cx="1462116" cy="1303538"/>
            </a:xfrm>
          </p:grpSpPr>
          <p:sp>
            <p:nvSpPr>
              <p:cNvPr id="17" name="同心圆 16"/>
              <p:cNvSpPr/>
              <p:nvPr/>
            </p:nvSpPr>
            <p:spPr>
              <a:xfrm>
                <a:off x="3835847" y="1395243"/>
                <a:ext cx="1303538" cy="1303538"/>
              </a:xfrm>
              <a:prstGeom prst="donut">
                <a:avLst>
                  <a:gd name="adj" fmla="val 3142"/>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Text" lastClr="000000"/>
                  </a:solidFill>
                  <a:latin typeface="Calibri" panose="020F0502020204030204"/>
                  <a:ea typeface="宋体" panose="02010600030101010101" pitchFamily="2" charset="-122"/>
                </a:endParaRPr>
              </a:p>
            </p:txBody>
          </p:sp>
          <p:grpSp>
            <p:nvGrpSpPr>
              <p:cNvPr id="18" name="组合 17"/>
              <p:cNvGrpSpPr/>
              <p:nvPr/>
            </p:nvGrpSpPr>
            <p:grpSpPr>
              <a:xfrm>
                <a:off x="4939609" y="1857832"/>
                <a:ext cx="358354" cy="358354"/>
                <a:chOff x="5917211" y="1835961"/>
                <a:chExt cx="504056" cy="504056"/>
              </a:xfrm>
            </p:grpSpPr>
            <p:sp>
              <p:nvSpPr>
                <p:cNvPr id="20" name="同心圆 19"/>
                <p:cNvSpPr/>
                <p:nvPr/>
              </p:nvSpPr>
              <p:spPr>
                <a:xfrm>
                  <a:off x="5917211" y="1835961"/>
                  <a:ext cx="504056" cy="504056"/>
                </a:xfrm>
                <a:prstGeom prst="donut">
                  <a:avLst>
                    <a:gd name="adj" fmla="val 3142"/>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Text" lastClr="000000"/>
                    </a:solidFill>
                    <a:latin typeface="Calibri" panose="020F0502020204030204"/>
                    <a:ea typeface="宋体" panose="02010600030101010101" pitchFamily="2" charset="-122"/>
                  </a:endParaRPr>
                </a:p>
              </p:txBody>
            </p:sp>
            <p:sp>
              <p:nvSpPr>
                <p:cNvPr id="21" name="椭圆 20"/>
                <p:cNvSpPr/>
                <p:nvPr/>
              </p:nvSpPr>
              <p:spPr>
                <a:xfrm>
                  <a:off x="6039087" y="1981663"/>
                  <a:ext cx="222754" cy="222754"/>
                </a:xfrm>
                <a:prstGeom prst="ellipse">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 lastClr="FFFFFF"/>
                    </a:solidFill>
                    <a:latin typeface="Calibri" panose="020F0502020204030204"/>
                    <a:ea typeface="宋体" panose="02010600030101010101" pitchFamily="2" charset="-122"/>
                  </a:endParaRPr>
                </a:p>
              </p:txBody>
            </p:sp>
          </p:grpSp>
          <p:sp>
            <p:nvSpPr>
              <p:cNvPr id="19" name="椭圆 18"/>
              <p:cNvSpPr/>
              <p:nvPr/>
            </p:nvSpPr>
            <p:spPr>
              <a:xfrm>
                <a:off x="4151028" y="1732853"/>
                <a:ext cx="676101" cy="676101"/>
              </a:xfrm>
              <a:prstGeom prst="ellipse">
                <a:avLst/>
              </a:prstGeom>
              <a:solidFill>
                <a:schemeClr val="accent2"/>
              </a:solidFill>
              <a:ln w="25400" cap="flat" cmpd="sng" algn="ctr">
                <a:noFill/>
                <a:prstDash val="solid"/>
              </a:ln>
              <a:effectLst/>
            </p:spPr>
            <p:txBody>
              <a:bodyPr rtlCol="0" anchor="ctr"/>
              <a:lstStyle/>
              <a:p>
                <a:pPr algn="ctr">
                  <a:defRPr/>
                </a:pPr>
                <a:r>
                  <a:rPr lang="en-US" altLang="zh-CN" sz="1900" kern="0" dirty="0">
                    <a:solidFill>
                      <a:sysClr val="window" lastClr="FFFFFF"/>
                    </a:solidFill>
                    <a:latin typeface="Calibri" panose="020F0502020204030204"/>
                    <a:ea typeface="宋体" panose="02010600030101010101" pitchFamily="2" charset="-122"/>
                  </a:rPr>
                  <a:t>2</a:t>
                </a:r>
                <a:endParaRPr lang="zh-CN" altLang="en-US" sz="1900" kern="0" dirty="0">
                  <a:solidFill>
                    <a:sysClr val="window" lastClr="FFFFFF"/>
                  </a:solidFill>
                  <a:latin typeface="Calibri" panose="020F0502020204030204"/>
                  <a:ea typeface="宋体" panose="02010600030101010101" pitchFamily="2" charset="-122"/>
                </a:endParaRPr>
              </a:p>
            </p:txBody>
          </p:sp>
        </p:grpSp>
        <p:sp>
          <p:nvSpPr>
            <p:cNvPr id="16" name="TextBox 15"/>
            <p:cNvSpPr txBox="1"/>
            <p:nvPr/>
          </p:nvSpPr>
          <p:spPr>
            <a:xfrm>
              <a:off x="5596536" y="2830672"/>
              <a:ext cx="2180550" cy="288541"/>
            </a:xfrm>
            <a:prstGeom prst="rect">
              <a:avLst/>
            </a:prstGeom>
            <a:noFill/>
          </p:spPr>
          <p:txBody>
            <a:bodyPr wrap="square" rtlCol="0">
              <a:spAutoFit/>
            </a:bodyPr>
            <a:lstStyle/>
            <a:p>
              <a:pPr lvl="0">
                <a:defRPr/>
              </a:pPr>
              <a:r>
                <a:rPr lang="zh-CN" altLang="en-US" sz="1900" b="1" kern="0" dirty="0">
                  <a:solidFill>
                    <a:schemeClr val="accent1"/>
                  </a:solidFill>
                  <a:latin typeface="Arial" panose="020B0604020202020204" pitchFamily="34" charset="0"/>
                  <a:ea typeface="微软雅黑" panose="020B0503020204020204" pitchFamily="34" charset="-122"/>
                  <a:cs typeface="Arial" panose="020B0604020202020204" pitchFamily="34" charset="0"/>
                </a:rPr>
                <a:t>失误二</a:t>
              </a:r>
            </a:p>
          </p:txBody>
        </p:sp>
      </p:grpSp>
      <p:grpSp>
        <p:nvGrpSpPr>
          <p:cNvPr id="22" name="组合 21"/>
          <p:cNvGrpSpPr/>
          <p:nvPr/>
        </p:nvGrpSpPr>
        <p:grpSpPr>
          <a:xfrm>
            <a:off x="5268932" y="4177595"/>
            <a:ext cx="4177136" cy="1074952"/>
            <a:chOff x="4420400" y="3995652"/>
            <a:chExt cx="3133260" cy="806214"/>
          </a:xfrm>
        </p:grpSpPr>
        <p:cxnSp>
          <p:nvCxnSpPr>
            <p:cNvPr id="23" name="直接连接符 22"/>
            <p:cNvCxnSpPr/>
            <p:nvPr/>
          </p:nvCxnSpPr>
          <p:spPr>
            <a:xfrm>
              <a:off x="5231747" y="4388370"/>
              <a:ext cx="2321913" cy="5290"/>
            </a:xfrm>
            <a:prstGeom prst="line">
              <a:avLst/>
            </a:prstGeom>
            <a:noFill/>
            <a:ln w="12700" cap="flat" cmpd="sng" algn="ctr">
              <a:solidFill>
                <a:sysClr val="window" lastClr="FFFFFF">
                  <a:lumMod val="50000"/>
                </a:sysClr>
              </a:solidFill>
              <a:prstDash val="solid"/>
              <a:headEnd type="none" w="med" len="med"/>
              <a:tailEnd type="oval" w="med" len="med"/>
            </a:ln>
            <a:effectLst/>
          </p:spPr>
        </p:cxnSp>
        <p:grpSp>
          <p:nvGrpSpPr>
            <p:cNvPr id="24" name="组合 23"/>
            <p:cNvGrpSpPr/>
            <p:nvPr/>
          </p:nvGrpSpPr>
          <p:grpSpPr>
            <a:xfrm>
              <a:off x="4420400" y="3995652"/>
              <a:ext cx="904292" cy="806214"/>
              <a:chOff x="3835847" y="1395243"/>
              <a:chExt cx="1462116" cy="1303538"/>
            </a:xfrm>
          </p:grpSpPr>
          <p:sp>
            <p:nvSpPr>
              <p:cNvPr id="26" name="同心圆 25"/>
              <p:cNvSpPr/>
              <p:nvPr/>
            </p:nvSpPr>
            <p:spPr>
              <a:xfrm>
                <a:off x="3835847" y="1395243"/>
                <a:ext cx="1303538" cy="1303538"/>
              </a:xfrm>
              <a:prstGeom prst="donut">
                <a:avLst>
                  <a:gd name="adj" fmla="val 3142"/>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Text" lastClr="000000"/>
                  </a:solidFill>
                  <a:latin typeface="Calibri" panose="020F0502020204030204"/>
                  <a:ea typeface="宋体" panose="02010600030101010101" pitchFamily="2" charset="-122"/>
                </a:endParaRPr>
              </a:p>
            </p:txBody>
          </p:sp>
          <p:grpSp>
            <p:nvGrpSpPr>
              <p:cNvPr id="27" name="组合 26"/>
              <p:cNvGrpSpPr/>
              <p:nvPr/>
            </p:nvGrpSpPr>
            <p:grpSpPr>
              <a:xfrm>
                <a:off x="4939609" y="1857832"/>
                <a:ext cx="358354" cy="358354"/>
                <a:chOff x="5917211" y="1835961"/>
                <a:chExt cx="504056" cy="504056"/>
              </a:xfrm>
            </p:grpSpPr>
            <p:sp>
              <p:nvSpPr>
                <p:cNvPr id="29" name="同心圆 28"/>
                <p:cNvSpPr/>
                <p:nvPr/>
              </p:nvSpPr>
              <p:spPr>
                <a:xfrm>
                  <a:off x="5917211" y="1835961"/>
                  <a:ext cx="504056" cy="504056"/>
                </a:xfrm>
                <a:prstGeom prst="donut">
                  <a:avLst>
                    <a:gd name="adj" fmla="val 3142"/>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Text" lastClr="000000"/>
                    </a:solidFill>
                    <a:latin typeface="Calibri" panose="020F0502020204030204"/>
                    <a:ea typeface="宋体" panose="02010600030101010101" pitchFamily="2" charset="-122"/>
                  </a:endParaRPr>
                </a:p>
              </p:txBody>
            </p:sp>
            <p:sp>
              <p:nvSpPr>
                <p:cNvPr id="30" name="椭圆 29"/>
                <p:cNvSpPr/>
                <p:nvPr/>
              </p:nvSpPr>
              <p:spPr>
                <a:xfrm>
                  <a:off x="6039087" y="1981663"/>
                  <a:ext cx="222754" cy="222754"/>
                </a:xfrm>
                <a:prstGeom prst="ellipse">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 lastClr="FFFFFF"/>
                    </a:solidFill>
                    <a:latin typeface="Calibri" panose="020F0502020204030204"/>
                    <a:ea typeface="宋体" panose="02010600030101010101" pitchFamily="2" charset="-122"/>
                  </a:endParaRPr>
                </a:p>
              </p:txBody>
            </p:sp>
          </p:grpSp>
          <p:sp>
            <p:nvSpPr>
              <p:cNvPr id="28" name="椭圆 27"/>
              <p:cNvSpPr/>
              <p:nvPr/>
            </p:nvSpPr>
            <p:spPr>
              <a:xfrm>
                <a:off x="4151028" y="1732853"/>
                <a:ext cx="676101" cy="676101"/>
              </a:xfrm>
              <a:prstGeom prst="ellipse">
                <a:avLst/>
              </a:prstGeom>
              <a:solidFill>
                <a:schemeClr val="accent4"/>
              </a:solidFill>
              <a:ln w="25400" cap="flat" cmpd="sng" algn="ctr">
                <a:noFill/>
                <a:prstDash val="solid"/>
              </a:ln>
              <a:effectLst/>
            </p:spPr>
            <p:txBody>
              <a:bodyPr rtlCol="0" anchor="ctr"/>
              <a:lstStyle/>
              <a:p>
                <a:pPr algn="ctr">
                  <a:defRPr/>
                </a:pPr>
                <a:r>
                  <a:rPr lang="en-US" altLang="zh-CN" sz="1900" kern="0" dirty="0">
                    <a:solidFill>
                      <a:sysClr val="window" lastClr="FFFFFF"/>
                    </a:solidFill>
                    <a:latin typeface="Calibri" panose="020F0502020204030204"/>
                    <a:ea typeface="宋体" panose="02010600030101010101" pitchFamily="2" charset="-122"/>
                  </a:rPr>
                  <a:t>3</a:t>
                </a:r>
                <a:endParaRPr lang="zh-CN" altLang="en-US" sz="1900" kern="0" dirty="0">
                  <a:solidFill>
                    <a:sysClr val="window" lastClr="FFFFFF"/>
                  </a:solidFill>
                  <a:latin typeface="Calibri" panose="020F0502020204030204"/>
                  <a:ea typeface="宋体" panose="02010600030101010101" pitchFamily="2" charset="-122"/>
                </a:endParaRPr>
              </a:p>
            </p:txBody>
          </p:sp>
        </p:grpSp>
        <p:sp>
          <p:nvSpPr>
            <p:cNvPr id="25" name="TextBox 24"/>
            <p:cNvSpPr txBox="1"/>
            <p:nvPr/>
          </p:nvSpPr>
          <p:spPr>
            <a:xfrm>
              <a:off x="5303854" y="3999924"/>
              <a:ext cx="2180550" cy="398186"/>
            </a:xfrm>
            <a:prstGeom prst="rect">
              <a:avLst/>
            </a:prstGeom>
            <a:noFill/>
          </p:spPr>
          <p:txBody>
            <a:bodyPr wrap="square" rtlCol="0">
              <a:spAutoFit/>
            </a:bodyPr>
            <a:lstStyle/>
            <a:p>
              <a:pPr>
                <a:lnSpc>
                  <a:spcPct val="150000"/>
                </a:lnSpc>
                <a:defRPr/>
              </a:pPr>
              <a:r>
                <a:rPr lang="zh-CN" altLang="en-US" sz="1900" b="1" dirty="0">
                  <a:solidFill>
                    <a:schemeClr val="accent1"/>
                  </a:solidFill>
                  <a:latin typeface="微软雅黑" panose="020B0503020204020204" pitchFamily="34" charset="-122"/>
                  <a:ea typeface="微软雅黑" panose="020B0503020204020204" pitchFamily="34" charset="-122"/>
                </a:rPr>
                <a:t>失误三</a:t>
              </a:r>
            </a:p>
          </p:txBody>
        </p:sp>
      </p:grpSp>
      <p:grpSp>
        <p:nvGrpSpPr>
          <p:cNvPr id="31" name="组合 30"/>
          <p:cNvGrpSpPr/>
          <p:nvPr/>
        </p:nvGrpSpPr>
        <p:grpSpPr>
          <a:xfrm>
            <a:off x="3398690" y="5426389"/>
            <a:ext cx="4499636" cy="1074952"/>
            <a:chOff x="3017536" y="4932248"/>
            <a:chExt cx="3375166" cy="806214"/>
          </a:xfrm>
        </p:grpSpPr>
        <p:cxnSp>
          <p:nvCxnSpPr>
            <p:cNvPr id="32" name="直接连接符 31"/>
            <p:cNvCxnSpPr/>
            <p:nvPr/>
          </p:nvCxnSpPr>
          <p:spPr>
            <a:xfrm>
              <a:off x="3828882" y="5324966"/>
              <a:ext cx="2563820" cy="10389"/>
            </a:xfrm>
            <a:prstGeom prst="line">
              <a:avLst/>
            </a:prstGeom>
            <a:noFill/>
            <a:ln w="12700" cap="flat" cmpd="sng" algn="ctr">
              <a:solidFill>
                <a:sysClr val="window" lastClr="FFFFFF">
                  <a:lumMod val="50000"/>
                </a:sysClr>
              </a:solidFill>
              <a:prstDash val="solid"/>
              <a:headEnd type="none" w="med" len="med"/>
              <a:tailEnd type="oval" w="med" len="med"/>
            </a:ln>
            <a:effectLst/>
          </p:spPr>
        </p:cxnSp>
        <p:grpSp>
          <p:nvGrpSpPr>
            <p:cNvPr id="33" name="组合 32"/>
            <p:cNvGrpSpPr/>
            <p:nvPr/>
          </p:nvGrpSpPr>
          <p:grpSpPr>
            <a:xfrm>
              <a:off x="3017536" y="4932248"/>
              <a:ext cx="904292" cy="806214"/>
              <a:chOff x="3835847" y="1395243"/>
              <a:chExt cx="1462116" cy="1303538"/>
            </a:xfrm>
          </p:grpSpPr>
          <p:sp>
            <p:nvSpPr>
              <p:cNvPr id="35" name="同心圆 34"/>
              <p:cNvSpPr/>
              <p:nvPr/>
            </p:nvSpPr>
            <p:spPr>
              <a:xfrm>
                <a:off x="3835847" y="1395243"/>
                <a:ext cx="1303538" cy="1303538"/>
              </a:xfrm>
              <a:prstGeom prst="donut">
                <a:avLst>
                  <a:gd name="adj" fmla="val 3142"/>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Text" lastClr="000000"/>
                  </a:solidFill>
                  <a:latin typeface="Calibri" panose="020F0502020204030204"/>
                  <a:ea typeface="宋体" panose="02010600030101010101" pitchFamily="2" charset="-122"/>
                </a:endParaRPr>
              </a:p>
            </p:txBody>
          </p:sp>
          <p:grpSp>
            <p:nvGrpSpPr>
              <p:cNvPr id="36" name="组合 35"/>
              <p:cNvGrpSpPr/>
              <p:nvPr/>
            </p:nvGrpSpPr>
            <p:grpSpPr>
              <a:xfrm>
                <a:off x="4939609" y="1857832"/>
                <a:ext cx="358354" cy="358354"/>
                <a:chOff x="5917211" y="1835961"/>
                <a:chExt cx="504056" cy="504056"/>
              </a:xfrm>
            </p:grpSpPr>
            <p:sp>
              <p:nvSpPr>
                <p:cNvPr id="38" name="同心圆 37"/>
                <p:cNvSpPr/>
                <p:nvPr/>
              </p:nvSpPr>
              <p:spPr>
                <a:xfrm>
                  <a:off x="5917211" y="1835961"/>
                  <a:ext cx="504056" cy="504056"/>
                </a:xfrm>
                <a:prstGeom prst="donut">
                  <a:avLst>
                    <a:gd name="adj" fmla="val 3142"/>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Text" lastClr="000000"/>
                    </a:solidFill>
                    <a:latin typeface="Calibri" panose="020F0502020204030204"/>
                    <a:ea typeface="宋体" panose="02010600030101010101" pitchFamily="2" charset="-122"/>
                  </a:endParaRPr>
                </a:p>
              </p:txBody>
            </p:sp>
            <p:sp>
              <p:nvSpPr>
                <p:cNvPr id="39" name="椭圆 38"/>
                <p:cNvSpPr/>
                <p:nvPr/>
              </p:nvSpPr>
              <p:spPr>
                <a:xfrm>
                  <a:off x="6039087" y="1981663"/>
                  <a:ext cx="222754" cy="222754"/>
                </a:xfrm>
                <a:prstGeom prst="ellipse">
                  <a:avLst/>
                </a:prstGeom>
                <a:solidFill>
                  <a:sysClr val="window" lastClr="FFFFFF">
                    <a:lumMod val="65000"/>
                  </a:sysClr>
                </a:solidFill>
                <a:ln w="25400" cap="flat" cmpd="sng" algn="ctr">
                  <a:noFill/>
                  <a:prstDash val="solid"/>
                </a:ln>
                <a:effectLst/>
              </p:spPr>
              <p:txBody>
                <a:bodyPr rtlCol="0" anchor="ctr"/>
                <a:lstStyle/>
                <a:p>
                  <a:pPr algn="ctr">
                    <a:defRPr/>
                  </a:pPr>
                  <a:endParaRPr lang="zh-CN" altLang="en-US" sz="1500" kern="0">
                    <a:solidFill>
                      <a:sysClr val="window" lastClr="FFFFFF"/>
                    </a:solidFill>
                    <a:latin typeface="Calibri" panose="020F0502020204030204"/>
                    <a:ea typeface="宋体" panose="02010600030101010101" pitchFamily="2" charset="-122"/>
                  </a:endParaRPr>
                </a:p>
              </p:txBody>
            </p:sp>
          </p:grpSp>
          <p:sp>
            <p:nvSpPr>
              <p:cNvPr id="37" name="椭圆 36"/>
              <p:cNvSpPr/>
              <p:nvPr/>
            </p:nvSpPr>
            <p:spPr>
              <a:xfrm>
                <a:off x="4151028" y="1732853"/>
                <a:ext cx="676101" cy="676101"/>
              </a:xfrm>
              <a:prstGeom prst="ellipse">
                <a:avLst/>
              </a:prstGeom>
              <a:solidFill>
                <a:schemeClr val="tx2"/>
              </a:solidFill>
              <a:ln w="25400" cap="flat" cmpd="sng" algn="ctr">
                <a:noFill/>
                <a:prstDash val="solid"/>
              </a:ln>
              <a:effectLst/>
            </p:spPr>
            <p:txBody>
              <a:bodyPr rtlCol="0" anchor="ctr"/>
              <a:lstStyle/>
              <a:p>
                <a:pPr algn="ctr">
                  <a:defRPr/>
                </a:pPr>
                <a:r>
                  <a:rPr lang="en-US" altLang="zh-CN" sz="1900" kern="0" dirty="0">
                    <a:solidFill>
                      <a:sysClr val="window" lastClr="FFFFFF"/>
                    </a:solidFill>
                    <a:latin typeface="Calibri" panose="020F0502020204030204"/>
                    <a:ea typeface="宋体" panose="02010600030101010101" pitchFamily="2" charset="-122"/>
                  </a:rPr>
                  <a:t>4</a:t>
                </a:r>
                <a:endParaRPr lang="zh-CN" altLang="en-US" sz="1900" kern="0" dirty="0">
                  <a:solidFill>
                    <a:sysClr val="window" lastClr="FFFFFF"/>
                  </a:solidFill>
                  <a:latin typeface="Calibri" panose="020F0502020204030204"/>
                  <a:ea typeface="宋体" panose="02010600030101010101" pitchFamily="2" charset="-122"/>
                </a:endParaRPr>
              </a:p>
            </p:txBody>
          </p:sp>
        </p:grpSp>
        <p:sp>
          <p:nvSpPr>
            <p:cNvPr id="34" name="TextBox 33"/>
            <p:cNvSpPr txBox="1"/>
            <p:nvPr/>
          </p:nvSpPr>
          <p:spPr>
            <a:xfrm>
              <a:off x="4032670" y="4989623"/>
              <a:ext cx="2180550" cy="288541"/>
            </a:xfrm>
            <a:prstGeom prst="rect">
              <a:avLst/>
            </a:prstGeom>
            <a:noFill/>
          </p:spPr>
          <p:txBody>
            <a:bodyPr wrap="square" rtlCol="0">
              <a:spAutoFit/>
            </a:bodyPr>
            <a:lstStyle/>
            <a:p>
              <a:pPr lvl="0">
                <a:defRPr/>
              </a:pPr>
              <a:r>
                <a:rPr lang="zh-CN" altLang="en-US" sz="1900" b="1" kern="0" dirty="0">
                  <a:solidFill>
                    <a:schemeClr val="accent1"/>
                  </a:solidFill>
                  <a:latin typeface="Arial" panose="020B0604020202020204" pitchFamily="34" charset="0"/>
                  <a:ea typeface="微软雅黑" panose="020B0503020204020204" pitchFamily="34" charset="-122"/>
                  <a:cs typeface="Arial" panose="020B0604020202020204" pitchFamily="34" charset="0"/>
                </a:rPr>
                <a:t>失误四</a:t>
              </a:r>
            </a:p>
          </p:txBody>
        </p:sp>
      </p:grpSp>
      <p:grpSp>
        <p:nvGrpSpPr>
          <p:cNvPr id="40" name="组合 39"/>
          <p:cNvGrpSpPr/>
          <p:nvPr/>
        </p:nvGrpSpPr>
        <p:grpSpPr>
          <a:xfrm>
            <a:off x="2047705" y="1858481"/>
            <a:ext cx="3282975" cy="3283403"/>
            <a:chOff x="1535382" y="1258858"/>
            <a:chExt cx="2462552" cy="2462552"/>
          </a:xfrm>
        </p:grpSpPr>
        <p:sp>
          <p:nvSpPr>
            <p:cNvPr id="41" name="椭圆 4"/>
            <p:cNvSpPr/>
            <p:nvPr/>
          </p:nvSpPr>
          <p:spPr>
            <a:xfrm>
              <a:off x="1535382" y="1258858"/>
              <a:ext cx="2462552" cy="2462552"/>
            </a:xfrm>
            <a:custGeom>
              <a:avLst/>
              <a:gdLst/>
              <a:ahLst/>
              <a:cxnLst/>
              <a:rect l="l" t="t" r="r" b="b"/>
              <a:pathLst>
                <a:path w="2462552" h="2462552">
                  <a:moveTo>
                    <a:pt x="1227568" y="229220"/>
                  </a:moveTo>
                  <a:cubicBezTo>
                    <a:pt x="682374" y="229220"/>
                    <a:pt x="240407" y="671187"/>
                    <a:pt x="240407" y="1216381"/>
                  </a:cubicBezTo>
                  <a:cubicBezTo>
                    <a:pt x="240407" y="1761575"/>
                    <a:pt x="682374" y="2203542"/>
                    <a:pt x="1227568" y="2203542"/>
                  </a:cubicBezTo>
                  <a:cubicBezTo>
                    <a:pt x="1772762" y="2203542"/>
                    <a:pt x="2214729" y="1761575"/>
                    <a:pt x="2214729" y="1216381"/>
                  </a:cubicBezTo>
                  <a:cubicBezTo>
                    <a:pt x="2214729" y="671187"/>
                    <a:pt x="1772762" y="229220"/>
                    <a:pt x="1227568" y="229220"/>
                  </a:cubicBezTo>
                  <a:close/>
                  <a:moveTo>
                    <a:pt x="1231276" y="0"/>
                  </a:moveTo>
                  <a:cubicBezTo>
                    <a:pt x="1911291" y="0"/>
                    <a:pt x="2462552" y="551261"/>
                    <a:pt x="2462552" y="1231276"/>
                  </a:cubicBezTo>
                  <a:cubicBezTo>
                    <a:pt x="2462552" y="1911291"/>
                    <a:pt x="1911291" y="2462552"/>
                    <a:pt x="1231276" y="2462552"/>
                  </a:cubicBezTo>
                  <a:cubicBezTo>
                    <a:pt x="551261" y="2462552"/>
                    <a:pt x="0" y="1911291"/>
                    <a:pt x="0" y="1231276"/>
                  </a:cubicBezTo>
                  <a:cubicBezTo>
                    <a:pt x="0" y="551261"/>
                    <a:pt x="551261" y="0"/>
                    <a:pt x="1231276"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700"/>
            </a:p>
          </p:txBody>
        </p:sp>
        <p:sp>
          <p:nvSpPr>
            <p:cNvPr id="44" name="TextBox 43"/>
            <p:cNvSpPr txBox="1"/>
            <p:nvPr/>
          </p:nvSpPr>
          <p:spPr>
            <a:xfrm>
              <a:off x="1927692" y="2128404"/>
              <a:ext cx="1677934" cy="738664"/>
            </a:xfrm>
            <a:prstGeom prst="rect">
              <a:avLst/>
            </a:prstGeom>
            <a:noFill/>
          </p:spPr>
          <p:txBody>
            <a:bodyPr wrap="square" rtlCol="0">
              <a:spAutoFit/>
            </a:bodyPr>
            <a:lstStyle/>
            <a:p>
              <a:pPr algn="ctr"/>
              <a:r>
                <a:rPr lang="zh-CN" altLang="en-US" sz="1900" dirty="0">
                  <a:solidFill>
                    <a:schemeClr val="bg1">
                      <a:lumMod val="65000"/>
                    </a:schemeClr>
                  </a:solidFill>
                </a:rPr>
                <a:t>竞争对手主要犯了四个错误，给我们留下了机会</a:t>
              </a:r>
            </a:p>
          </p:txBody>
        </p:sp>
      </p:grpSp>
      <p:sp>
        <p:nvSpPr>
          <p:cNvPr id="45" name="矩形 44"/>
          <p:cNvSpPr/>
          <p:nvPr/>
        </p:nvSpPr>
        <p:spPr>
          <a:xfrm>
            <a:off x="6128794" y="1669905"/>
            <a:ext cx="4767117" cy="369332"/>
          </a:xfrm>
          <a:prstGeom prst="rect">
            <a:avLst/>
          </a:prstGeom>
        </p:spPr>
        <p:txBody>
          <a:bodyPr wrap="square" lIns="121908" tIns="60954" rIns="121908" bIns="60954">
            <a:spAutoFit/>
          </a:bodyPr>
          <a:lstStyle/>
          <a:p>
            <a:r>
              <a:rPr lang="zh-CN" altLang="en-US" sz="1600" dirty="0">
                <a:solidFill>
                  <a:schemeClr val="bg1">
                    <a:lumMod val="65000"/>
                  </a:schemeClr>
                </a:solidFill>
              </a:rPr>
              <a:t>单击此处添加段落文本，单击此处添加段落文本</a:t>
            </a:r>
          </a:p>
        </p:txBody>
      </p:sp>
      <p:sp>
        <p:nvSpPr>
          <p:cNvPr id="46" name="矩形 45"/>
          <p:cNvSpPr/>
          <p:nvPr/>
        </p:nvSpPr>
        <p:spPr>
          <a:xfrm>
            <a:off x="6836911" y="3108162"/>
            <a:ext cx="4767117" cy="369332"/>
          </a:xfrm>
          <a:prstGeom prst="rect">
            <a:avLst/>
          </a:prstGeom>
        </p:spPr>
        <p:txBody>
          <a:bodyPr wrap="square" lIns="121908" tIns="60954" rIns="121908" bIns="60954">
            <a:spAutoFit/>
          </a:bodyPr>
          <a:lstStyle/>
          <a:p>
            <a:r>
              <a:rPr lang="zh-CN" altLang="en-US" sz="1600" dirty="0">
                <a:solidFill>
                  <a:schemeClr val="bg1">
                    <a:lumMod val="65000"/>
                  </a:schemeClr>
                </a:solidFill>
              </a:rPr>
              <a:t>单击此处添加段落文本，单击此处添加段落文本</a:t>
            </a:r>
          </a:p>
        </p:txBody>
      </p:sp>
      <p:sp>
        <p:nvSpPr>
          <p:cNvPr id="47" name="矩形 46"/>
          <p:cNvSpPr/>
          <p:nvPr/>
        </p:nvSpPr>
        <p:spPr>
          <a:xfrm>
            <a:off x="6533857" y="4736451"/>
            <a:ext cx="4767117" cy="369332"/>
          </a:xfrm>
          <a:prstGeom prst="rect">
            <a:avLst/>
          </a:prstGeom>
        </p:spPr>
        <p:txBody>
          <a:bodyPr wrap="square" lIns="121908" tIns="60954" rIns="121908" bIns="60954">
            <a:spAutoFit/>
          </a:bodyPr>
          <a:lstStyle/>
          <a:p>
            <a:r>
              <a:rPr lang="zh-CN" altLang="en-US" sz="1600" dirty="0">
                <a:solidFill>
                  <a:schemeClr val="bg1">
                    <a:lumMod val="65000"/>
                  </a:schemeClr>
                </a:solidFill>
              </a:rPr>
              <a:t>单击此处添加段落文本，单击此处添加段落文本</a:t>
            </a:r>
          </a:p>
        </p:txBody>
      </p:sp>
      <p:sp>
        <p:nvSpPr>
          <p:cNvPr id="48" name="矩形 47"/>
          <p:cNvSpPr/>
          <p:nvPr/>
        </p:nvSpPr>
        <p:spPr>
          <a:xfrm>
            <a:off x="4678953" y="5983569"/>
            <a:ext cx="4767117" cy="369332"/>
          </a:xfrm>
          <a:prstGeom prst="rect">
            <a:avLst/>
          </a:prstGeom>
        </p:spPr>
        <p:txBody>
          <a:bodyPr wrap="square" lIns="121908" tIns="60954" rIns="121908" bIns="60954">
            <a:spAutoFit/>
          </a:bodyPr>
          <a:lstStyle/>
          <a:p>
            <a:r>
              <a:rPr lang="zh-CN" altLang="en-US" sz="1600" dirty="0">
                <a:solidFill>
                  <a:schemeClr val="bg1">
                    <a:lumMod val="65000"/>
                  </a:schemeClr>
                </a:solidFill>
              </a:rPr>
              <a:t>单击此处添加段落文本，单击此处添加段落文本</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par>
                                <p:cTn id="9" presetID="53" presetClass="entr" presetSubtype="16" fill="hold" nodeType="withEffect">
                                  <p:stCondLst>
                                    <p:cond delay="300"/>
                                  </p:stCondLst>
                                  <p:childTnLst>
                                    <p:set>
                                      <p:cBhvr>
                                        <p:cTn id="10" dur="1" fill="hold">
                                          <p:stCondLst>
                                            <p:cond delay="0"/>
                                          </p:stCondLst>
                                        </p:cTn>
                                        <p:tgtEl>
                                          <p:spTgt spid="40"/>
                                        </p:tgtEl>
                                        <p:attrNameLst>
                                          <p:attrName>style.visibility</p:attrName>
                                        </p:attrNameLst>
                                      </p:cBhvr>
                                      <p:to>
                                        <p:strVal val="visible"/>
                                      </p:to>
                                    </p:set>
                                    <p:anim calcmode="lin" valueType="num">
                                      <p:cBhvr>
                                        <p:cTn id="11" dur="500" fill="hold"/>
                                        <p:tgtEl>
                                          <p:spTgt spid="40"/>
                                        </p:tgtEl>
                                        <p:attrNameLst>
                                          <p:attrName>ppt_w</p:attrName>
                                        </p:attrNameLst>
                                      </p:cBhvr>
                                      <p:tavLst>
                                        <p:tav tm="0">
                                          <p:val>
                                            <p:fltVal val="0"/>
                                          </p:val>
                                        </p:tav>
                                        <p:tav tm="100000">
                                          <p:val>
                                            <p:strVal val="#ppt_w"/>
                                          </p:val>
                                        </p:tav>
                                      </p:tavLst>
                                    </p:anim>
                                    <p:anim calcmode="lin" valueType="num">
                                      <p:cBhvr>
                                        <p:cTn id="12" dur="500" fill="hold"/>
                                        <p:tgtEl>
                                          <p:spTgt spid="40"/>
                                        </p:tgtEl>
                                        <p:attrNameLst>
                                          <p:attrName>ppt_h</p:attrName>
                                        </p:attrNameLst>
                                      </p:cBhvr>
                                      <p:tavLst>
                                        <p:tav tm="0">
                                          <p:val>
                                            <p:fltVal val="0"/>
                                          </p:val>
                                        </p:tav>
                                        <p:tav tm="100000">
                                          <p:val>
                                            <p:strVal val="#ppt_h"/>
                                          </p:val>
                                        </p:tav>
                                      </p:tavLst>
                                    </p:anim>
                                    <p:animEffect transition="in" filter="fade">
                                      <p:cBhvr>
                                        <p:cTn id="13" dur="500"/>
                                        <p:tgtEl>
                                          <p:spTgt spid="40"/>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left)">
                                      <p:cBhvr>
                                        <p:cTn id="17" dur="500"/>
                                        <p:tgtEl>
                                          <p:spTgt spid="4"/>
                                        </p:tgtEl>
                                      </p:cBhvr>
                                    </p:animEffect>
                                  </p:childTnLst>
                                </p:cTn>
                              </p:par>
                              <p:par>
                                <p:cTn id="18" presetID="22" presetClass="entr" presetSubtype="8" fill="hold" grpId="0" nodeType="withEffect">
                                  <p:stCondLst>
                                    <p:cond delay="400"/>
                                  </p:stCondLst>
                                  <p:childTnLst>
                                    <p:set>
                                      <p:cBhvr>
                                        <p:cTn id="19" dur="1" fill="hold">
                                          <p:stCondLst>
                                            <p:cond delay="0"/>
                                          </p:stCondLst>
                                        </p:cTn>
                                        <p:tgtEl>
                                          <p:spTgt spid="45"/>
                                        </p:tgtEl>
                                        <p:attrNameLst>
                                          <p:attrName>style.visibility</p:attrName>
                                        </p:attrNameLst>
                                      </p:cBhvr>
                                      <p:to>
                                        <p:strVal val="visible"/>
                                      </p:to>
                                    </p:set>
                                    <p:animEffect transition="in" filter="wipe(left)">
                                      <p:cBhvr>
                                        <p:cTn id="20" dur="500"/>
                                        <p:tgtEl>
                                          <p:spTgt spid="45"/>
                                        </p:tgtEl>
                                      </p:cBhvr>
                                    </p:animEffect>
                                  </p:childTnLst>
                                </p:cTn>
                              </p:par>
                              <p:par>
                                <p:cTn id="21" presetID="22" presetClass="entr" presetSubtype="8" fill="hold" nodeType="withEffect">
                                  <p:stCondLst>
                                    <p:cond delay="300"/>
                                  </p:stCondLst>
                                  <p:childTnLst>
                                    <p:set>
                                      <p:cBhvr>
                                        <p:cTn id="22" dur="1" fill="hold">
                                          <p:stCondLst>
                                            <p:cond delay="0"/>
                                          </p:stCondLst>
                                        </p:cTn>
                                        <p:tgtEl>
                                          <p:spTgt spid="13"/>
                                        </p:tgtEl>
                                        <p:attrNameLst>
                                          <p:attrName>style.visibility</p:attrName>
                                        </p:attrNameLst>
                                      </p:cBhvr>
                                      <p:to>
                                        <p:strVal val="visible"/>
                                      </p:to>
                                    </p:set>
                                    <p:animEffect transition="in" filter="wipe(left)">
                                      <p:cBhvr>
                                        <p:cTn id="23" dur="500"/>
                                        <p:tgtEl>
                                          <p:spTgt spid="13"/>
                                        </p:tgtEl>
                                      </p:cBhvr>
                                    </p:animEffect>
                                  </p:childTnLst>
                                </p:cTn>
                              </p:par>
                              <p:par>
                                <p:cTn id="24" presetID="22" presetClass="entr" presetSubtype="8" fill="hold" grpId="0" nodeType="withEffect">
                                  <p:stCondLst>
                                    <p:cond delay="800"/>
                                  </p:stCondLst>
                                  <p:childTnLst>
                                    <p:set>
                                      <p:cBhvr>
                                        <p:cTn id="25" dur="1" fill="hold">
                                          <p:stCondLst>
                                            <p:cond delay="0"/>
                                          </p:stCondLst>
                                        </p:cTn>
                                        <p:tgtEl>
                                          <p:spTgt spid="46"/>
                                        </p:tgtEl>
                                        <p:attrNameLst>
                                          <p:attrName>style.visibility</p:attrName>
                                        </p:attrNameLst>
                                      </p:cBhvr>
                                      <p:to>
                                        <p:strVal val="visible"/>
                                      </p:to>
                                    </p:set>
                                    <p:animEffect transition="in" filter="wipe(left)">
                                      <p:cBhvr>
                                        <p:cTn id="26" dur="500"/>
                                        <p:tgtEl>
                                          <p:spTgt spid="46"/>
                                        </p:tgtEl>
                                      </p:cBhvr>
                                    </p:animEffect>
                                  </p:childTnLst>
                                </p:cTn>
                              </p:par>
                              <p:par>
                                <p:cTn id="27" presetID="22" presetClass="entr" presetSubtype="8" fill="hold" nodeType="withEffect">
                                  <p:stCondLst>
                                    <p:cond delay="500"/>
                                  </p:stCondLst>
                                  <p:childTnLst>
                                    <p:set>
                                      <p:cBhvr>
                                        <p:cTn id="28" dur="1" fill="hold">
                                          <p:stCondLst>
                                            <p:cond delay="0"/>
                                          </p:stCondLst>
                                        </p:cTn>
                                        <p:tgtEl>
                                          <p:spTgt spid="22"/>
                                        </p:tgtEl>
                                        <p:attrNameLst>
                                          <p:attrName>style.visibility</p:attrName>
                                        </p:attrNameLst>
                                      </p:cBhvr>
                                      <p:to>
                                        <p:strVal val="visible"/>
                                      </p:to>
                                    </p:set>
                                    <p:animEffect transition="in" filter="wipe(left)">
                                      <p:cBhvr>
                                        <p:cTn id="29" dur="500"/>
                                        <p:tgtEl>
                                          <p:spTgt spid="22"/>
                                        </p:tgtEl>
                                      </p:cBhvr>
                                    </p:animEffect>
                                  </p:childTnLst>
                                </p:cTn>
                              </p:par>
                              <p:par>
                                <p:cTn id="30" presetID="22" presetClass="entr" presetSubtype="8" fill="hold" grpId="0" nodeType="withEffect">
                                  <p:stCondLst>
                                    <p:cond delay="1000"/>
                                  </p:stCondLst>
                                  <p:childTnLst>
                                    <p:set>
                                      <p:cBhvr>
                                        <p:cTn id="31" dur="1" fill="hold">
                                          <p:stCondLst>
                                            <p:cond delay="0"/>
                                          </p:stCondLst>
                                        </p:cTn>
                                        <p:tgtEl>
                                          <p:spTgt spid="47"/>
                                        </p:tgtEl>
                                        <p:attrNameLst>
                                          <p:attrName>style.visibility</p:attrName>
                                        </p:attrNameLst>
                                      </p:cBhvr>
                                      <p:to>
                                        <p:strVal val="visible"/>
                                      </p:to>
                                    </p:set>
                                    <p:animEffect transition="in" filter="wipe(left)">
                                      <p:cBhvr>
                                        <p:cTn id="32" dur="500"/>
                                        <p:tgtEl>
                                          <p:spTgt spid="47"/>
                                        </p:tgtEl>
                                      </p:cBhvr>
                                    </p:animEffect>
                                  </p:childTnLst>
                                </p:cTn>
                              </p:par>
                              <p:par>
                                <p:cTn id="33" presetID="22" presetClass="entr" presetSubtype="8" fill="hold" nodeType="withEffect">
                                  <p:stCondLst>
                                    <p:cond delay="700"/>
                                  </p:stCondLst>
                                  <p:childTnLst>
                                    <p:set>
                                      <p:cBhvr>
                                        <p:cTn id="34" dur="1" fill="hold">
                                          <p:stCondLst>
                                            <p:cond delay="0"/>
                                          </p:stCondLst>
                                        </p:cTn>
                                        <p:tgtEl>
                                          <p:spTgt spid="31"/>
                                        </p:tgtEl>
                                        <p:attrNameLst>
                                          <p:attrName>style.visibility</p:attrName>
                                        </p:attrNameLst>
                                      </p:cBhvr>
                                      <p:to>
                                        <p:strVal val="visible"/>
                                      </p:to>
                                    </p:set>
                                    <p:animEffect transition="in" filter="wipe(left)">
                                      <p:cBhvr>
                                        <p:cTn id="35" dur="500"/>
                                        <p:tgtEl>
                                          <p:spTgt spid="31"/>
                                        </p:tgtEl>
                                      </p:cBhvr>
                                    </p:animEffect>
                                  </p:childTnLst>
                                </p:cTn>
                              </p:par>
                              <p:par>
                                <p:cTn id="36" presetID="22" presetClass="entr" presetSubtype="8" fill="hold" grpId="0" nodeType="withEffect">
                                  <p:stCondLst>
                                    <p:cond delay="1200"/>
                                  </p:stCondLst>
                                  <p:childTnLst>
                                    <p:set>
                                      <p:cBhvr>
                                        <p:cTn id="37" dur="1" fill="hold">
                                          <p:stCondLst>
                                            <p:cond delay="0"/>
                                          </p:stCondLst>
                                        </p:cTn>
                                        <p:tgtEl>
                                          <p:spTgt spid="48"/>
                                        </p:tgtEl>
                                        <p:attrNameLst>
                                          <p:attrName>style.visibility</p:attrName>
                                        </p:attrNameLst>
                                      </p:cBhvr>
                                      <p:to>
                                        <p:strVal val="visible"/>
                                      </p:to>
                                    </p:set>
                                    <p:animEffect transition="in" filter="wipe(left)">
                                      <p:cBhvr>
                                        <p:cTn id="38"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5" grpId="0"/>
      <p:bldP spid="46" grpId="0"/>
      <p:bldP spid="47" grpId="0"/>
      <p:bldP spid="4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909124" y="1964255"/>
            <a:ext cx="4113187" cy="3175543"/>
            <a:chOff x="681335" y="1473190"/>
            <a:chExt cx="3085292" cy="2381657"/>
          </a:xfrm>
        </p:grpSpPr>
        <p:sp>
          <p:nvSpPr>
            <p:cNvPr id="3" name="任意多边形 6"/>
            <p:cNvSpPr>
              <a:spLocks noChangeArrowheads="1"/>
            </p:cNvSpPr>
            <p:nvPr/>
          </p:nvSpPr>
          <p:spPr bwMode="auto">
            <a:xfrm>
              <a:off x="681335" y="3324622"/>
              <a:ext cx="2306489" cy="530225"/>
            </a:xfrm>
            <a:custGeom>
              <a:avLst/>
              <a:gdLst>
                <a:gd name="T0" fmla="*/ 131542 w 1840567"/>
                <a:gd name="T1" fmla="*/ 0 h 660400"/>
                <a:gd name="T2" fmla="*/ 1474787 w 1840567"/>
                <a:gd name="T3" fmla="*/ 0 h 660400"/>
                <a:gd name="T4" fmla="*/ 1343245 w 1840567"/>
                <a:gd name="T5" fmla="*/ 530225 h 660400"/>
                <a:gd name="T6" fmla="*/ 0 w 1840567"/>
                <a:gd name="T7" fmla="*/ 530225 h 660400"/>
                <a:gd name="T8" fmla="*/ 0 60000 65536"/>
                <a:gd name="T9" fmla="*/ 0 60000 65536"/>
                <a:gd name="T10" fmla="*/ 0 60000 65536"/>
                <a:gd name="T11" fmla="*/ 0 60000 65536"/>
                <a:gd name="T12" fmla="*/ 0 w 1840567"/>
                <a:gd name="T13" fmla="*/ 0 h 660400"/>
                <a:gd name="T14" fmla="*/ 1840567 w 1840567"/>
                <a:gd name="T15" fmla="*/ 660400 h 660400"/>
              </a:gdLst>
              <a:ahLst/>
              <a:cxnLst>
                <a:cxn ang="T8">
                  <a:pos x="T0" y="T1"/>
                </a:cxn>
                <a:cxn ang="T9">
                  <a:pos x="T2" y="T3"/>
                </a:cxn>
                <a:cxn ang="T10">
                  <a:pos x="T4" y="T5"/>
                </a:cxn>
                <a:cxn ang="T11">
                  <a:pos x="T6" y="T7"/>
                </a:cxn>
              </a:cxnLst>
              <a:rect l="T12" t="T13" r="T14" b="T15"/>
              <a:pathLst>
                <a:path w="1840567" h="660400">
                  <a:moveTo>
                    <a:pt x="164167" y="0"/>
                  </a:moveTo>
                  <a:lnTo>
                    <a:pt x="1840567" y="0"/>
                  </a:lnTo>
                  <a:lnTo>
                    <a:pt x="1676400" y="660400"/>
                  </a:lnTo>
                  <a:lnTo>
                    <a:pt x="0" y="660400"/>
                  </a:lnTo>
                  <a:lnTo>
                    <a:pt x="164167" y="0"/>
                  </a:lnTo>
                  <a:close/>
                </a:path>
              </a:pathLst>
            </a:custGeom>
            <a:solidFill>
              <a:schemeClr val="tx2"/>
            </a:solidFill>
            <a:ln>
              <a:noFill/>
            </a:ln>
          </p:spPr>
          <p:txBody>
            <a:bodyPr anchor="ctr"/>
            <a:lstStyle/>
            <a:p>
              <a:pPr algn="ctr"/>
              <a:r>
                <a:rPr lang="zh-CN" altLang="en-US" b="1" dirty="0">
                  <a:solidFill>
                    <a:srgbClr val="FFFFFF"/>
                  </a:solidFill>
                  <a:latin typeface="+mn-ea"/>
                </a:rPr>
                <a:t>思想步调一致</a:t>
              </a:r>
            </a:p>
          </p:txBody>
        </p:sp>
        <p:sp>
          <p:nvSpPr>
            <p:cNvPr id="7" name="平行四边形 2"/>
            <p:cNvSpPr>
              <a:spLocks noChangeArrowheads="1"/>
            </p:cNvSpPr>
            <p:nvPr/>
          </p:nvSpPr>
          <p:spPr bwMode="auto">
            <a:xfrm>
              <a:off x="910929" y="1473190"/>
              <a:ext cx="2855698" cy="1803400"/>
            </a:xfrm>
            <a:prstGeom prst="parallelogram">
              <a:avLst>
                <a:gd name="adj" fmla="val 42747"/>
              </a:avLst>
            </a:prstGeom>
            <a:solidFill>
              <a:schemeClr val="bg1">
                <a:lumMod val="65000"/>
                <a:alpha val="20000"/>
              </a:schemeClr>
            </a:solidFill>
            <a:ln>
              <a:noFill/>
            </a:ln>
          </p:spPr>
          <p:txBody>
            <a:bodyPr lIns="0" tIns="0" rIns="0" bIns="0" anchor="ctr"/>
            <a:lstStyle/>
            <a:p>
              <a:pPr algn="ctr" eaLnBrk="1" hangingPunct="1">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endParaRPr lang="en-US" sz="1300" dirty="0">
                <a:solidFill>
                  <a:srgbClr val="7F7F7F"/>
                </a:solidFill>
                <a:latin typeface="微软雅黑" panose="020B0503020204020204" pitchFamily="34" charset="-122"/>
                <a:ea typeface="微软雅黑" panose="020B0503020204020204" pitchFamily="34" charset="-122"/>
              </a:endParaRPr>
            </a:p>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p>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endParaRPr lang="en-US" altLang="zh-CN" sz="1300" dirty="0">
                <a:solidFill>
                  <a:srgbClr val="7F7F7F"/>
                </a:solidFill>
                <a:latin typeface="微软雅黑" panose="020B0503020204020204" pitchFamily="34" charset="-122"/>
                <a:ea typeface="微软雅黑" panose="020B0503020204020204" pitchFamily="34" charset="-122"/>
              </a:endParaRPr>
            </a:p>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p>
          </p:txBody>
        </p:sp>
      </p:grpSp>
      <p:grpSp>
        <p:nvGrpSpPr>
          <p:cNvPr id="11" name="组合 10"/>
          <p:cNvGrpSpPr/>
          <p:nvPr/>
        </p:nvGrpSpPr>
        <p:grpSpPr>
          <a:xfrm>
            <a:off x="3965702" y="1974414"/>
            <a:ext cx="4137405" cy="3183083"/>
            <a:chOff x="910929" y="889278"/>
            <a:chExt cx="3103458" cy="2387312"/>
          </a:xfrm>
        </p:grpSpPr>
        <p:sp>
          <p:nvSpPr>
            <p:cNvPr id="12" name="任意多边形 6"/>
            <p:cNvSpPr>
              <a:spLocks noChangeArrowheads="1"/>
            </p:cNvSpPr>
            <p:nvPr/>
          </p:nvSpPr>
          <p:spPr bwMode="auto">
            <a:xfrm>
              <a:off x="1707898" y="889278"/>
              <a:ext cx="2306489" cy="530225"/>
            </a:xfrm>
            <a:custGeom>
              <a:avLst/>
              <a:gdLst>
                <a:gd name="T0" fmla="*/ 131542 w 1840567"/>
                <a:gd name="T1" fmla="*/ 0 h 660400"/>
                <a:gd name="T2" fmla="*/ 1474787 w 1840567"/>
                <a:gd name="T3" fmla="*/ 0 h 660400"/>
                <a:gd name="T4" fmla="*/ 1343245 w 1840567"/>
                <a:gd name="T5" fmla="*/ 530225 h 660400"/>
                <a:gd name="T6" fmla="*/ 0 w 1840567"/>
                <a:gd name="T7" fmla="*/ 530225 h 660400"/>
                <a:gd name="T8" fmla="*/ 0 60000 65536"/>
                <a:gd name="T9" fmla="*/ 0 60000 65536"/>
                <a:gd name="T10" fmla="*/ 0 60000 65536"/>
                <a:gd name="T11" fmla="*/ 0 60000 65536"/>
                <a:gd name="T12" fmla="*/ 0 w 1840567"/>
                <a:gd name="T13" fmla="*/ 0 h 660400"/>
                <a:gd name="T14" fmla="*/ 1840567 w 1840567"/>
                <a:gd name="T15" fmla="*/ 660400 h 660400"/>
              </a:gdLst>
              <a:ahLst/>
              <a:cxnLst>
                <a:cxn ang="T8">
                  <a:pos x="T0" y="T1"/>
                </a:cxn>
                <a:cxn ang="T9">
                  <a:pos x="T2" y="T3"/>
                </a:cxn>
                <a:cxn ang="T10">
                  <a:pos x="T4" y="T5"/>
                </a:cxn>
                <a:cxn ang="T11">
                  <a:pos x="T6" y="T7"/>
                </a:cxn>
              </a:cxnLst>
              <a:rect l="T12" t="T13" r="T14" b="T15"/>
              <a:pathLst>
                <a:path w="1840567" h="660400">
                  <a:moveTo>
                    <a:pt x="164167" y="0"/>
                  </a:moveTo>
                  <a:lnTo>
                    <a:pt x="1840567" y="0"/>
                  </a:lnTo>
                  <a:lnTo>
                    <a:pt x="1676400" y="660400"/>
                  </a:lnTo>
                  <a:lnTo>
                    <a:pt x="0" y="660400"/>
                  </a:lnTo>
                  <a:lnTo>
                    <a:pt x="164167" y="0"/>
                  </a:lnTo>
                  <a:close/>
                </a:path>
              </a:pathLst>
            </a:custGeom>
            <a:solidFill>
              <a:schemeClr val="accent1"/>
            </a:solidFill>
            <a:ln>
              <a:noFill/>
            </a:ln>
          </p:spPr>
          <p:txBody>
            <a:bodyPr anchor="ctr"/>
            <a:lstStyle/>
            <a:p>
              <a:pPr algn="ctr"/>
              <a:r>
                <a:rPr lang="zh-CN" altLang="en-US" b="1" dirty="0">
                  <a:solidFill>
                    <a:srgbClr val="FFFFFF"/>
                  </a:solidFill>
                  <a:latin typeface="+mn-ea"/>
                </a:rPr>
                <a:t>计划周密合理</a:t>
              </a:r>
            </a:p>
          </p:txBody>
        </p:sp>
        <p:sp>
          <p:nvSpPr>
            <p:cNvPr id="13" name="平行四边形 2"/>
            <p:cNvSpPr>
              <a:spLocks noChangeArrowheads="1"/>
            </p:cNvSpPr>
            <p:nvPr/>
          </p:nvSpPr>
          <p:spPr bwMode="auto">
            <a:xfrm>
              <a:off x="910929" y="1473190"/>
              <a:ext cx="2855698" cy="1803400"/>
            </a:xfrm>
            <a:prstGeom prst="parallelogram">
              <a:avLst>
                <a:gd name="adj" fmla="val 42747"/>
              </a:avLst>
            </a:prstGeom>
            <a:solidFill>
              <a:schemeClr val="bg1">
                <a:lumMod val="65000"/>
                <a:alpha val="20000"/>
              </a:schemeClr>
            </a:solidFill>
            <a:ln>
              <a:noFill/>
            </a:ln>
          </p:spPr>
          <p:txBody>
            <a:bodyPr lIns="0" tIns="0" rIns="0" bIns="0" anchor="ctr"/>
            <a:lstStyle/>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endParaRPr lang="en-US" sz="1300" dirty="0">
                <a:solidFill>
                  <a:srgbClr val="7F7F7F"/>
                </a:solidFill>
                <a:latin typeface="微软雅黑" panose="020B0503020204020204" pitchFamily="34" charset="-122"/>
                <a:ea typeface="微软雅黑" panose="020B0503020204020204" pitchFamily="34" charset="-122"/>
              </a:endParaRPr>
            </a:p>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p>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endParaRPr lang="en-US" altLang="zh-CN" sz="1300" dirty="0">
                <a:solidFill>
                  <a:srgbClr val="7F7F7F"/>
                </a:solidFill>
                <a:latin typeface="微软雅黑" panose="020B0503020204020204" pitchFamily="34" charset="-122"/>
                <a:ea typeface="微软雅黑" panose="020B0503020204020204" pitchFamily="34" charset="-122"/>
              </a:endParaRPr>
            </a:p>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p>
          </p:txBody>
        </p:sp>
      </p:grpSp>
      <p:grpSp>
        <p:nvGrpSpPr>
          <p:cNvPr id="14" name="组合 13"/>
          <p:cNvGrpSpPr/>
          <p:nvPr/>
        </p:nvGrpSpPr>
        <p:grpSpPr>
          <a:xfrm>
            <a:off x="7070717" y="2011655"/>
            <a:ext cx="4113187" cy="3175543"/>
            <a:chOff x="681335" y="1473190"/>
            <a:chExt cx="3085292" cy="2381657"/>
          </a:xfrm>
        </p:grpSpPr>
        <p:sp>
          <p:nvSpPr>
            <p:cNvPr id="15" name="任意多边形 6"/>
            <p:cNvSpPr>
              <a:spLocks noChangeArrowheads="1"/>
            </p:cNvSpPr>
            <p:nvPr/>
          </p:nvSpPr>
          <p:spPr bwMode="auto">
            <a:xfrm>
              <a:off x="681335" y="3324622"/>
              <a:ext cx="2306489" cy="530225"/>
            </a:xfrm>
            <a:custGeom>
              <a:avLst/>
              <a:gdLst>
                <a:gd name="T0" fmla="*/ 131542 w 1840567"/>
                <a:gd name="T1" fmla="*/ 0 h 660400"/>
                <a:gd name="T2" fmla="*/ 1474787 w 1840567"/>
                <a:gd name="T3" fmla="*/ 0 h 660400"/>
                <a:gd name="T4" fmla="*/ 1343245 w 1840567"/>
                <a:gd name="T5" fmla="*/ 530225 h 660400"/>
                <a:gd name="T6" fmla="*/ 0 w 1840567"/>
                <a:gd name="T7" fmla="*/ 530225 h 660400"/>
                <a:gd name="T8" fmla="*/ 0 60000 65536"/>
                <a:gd name="T9" fmla="*/ 0 60000 65536"/>
                <a:gd name="T10" fmla="*/ 0 60000 65536"/>
                <a:gd name="T11" fmla="*/ 0 60000 65536"/>
                <a:gd name="T12" fmla="*/ 0 w 1840567"/>
                <a:gd name="T13" fmla="*/ 0 h 660400"/>
                <a:gd name="T14" fmla="*/ 1840567 w 1840567"/>
                <a:gd name="T15" fmla="*/ 660400 h 660400"/>
              </a:gdLst>
              <a:ahLst/>
              <a:cxnLst>
                <a:cxn ang="T8">
                  <a:pos x="T0" y="T1"/>
                </a:cxn>
                <a:cxn ang="T9">
                  <a:pos x="T2" y="T3"/>
                </a:cxn>
                <a:cxn ang="T10">
                  <a:pos x="T4" y="T5"/>
                </a:cxn>
                <a:cxn ang="T11">
                  <a:pos x="T6" y="T7"/>
                </a:cxn>
              </a:cxnLst>
              <a:rect l="T12" t="T13" r="T14" b="T15"/>
              <a:pathLst>
                <a:path w="1840567" h="660400">
                  <a:moveTo>
                    <a:pt x="164167" y="0"/>
                  </a:moveTo>
                  <a:lnTo>
                    <a:pt x="1840567" y="0"/>
                  </a:lnTo>
                  <a:lnTo>
                    <a:pt x="1676400" y="660400"/>
                  </a:lnTo>
                  <a:lnTo>
                    <a:pt x="0" y="660400"/>
                  </a:lnTo>
                  <a:lnTo>
                    <a:pt x="164167" y="0"/>
                  </a:lnTo>
                  <a:close/>
                </a:path>
              </a:pathLst>
            </a:custGeom>
            <a:solidFill>
              <a:schemeClr val="accent2"/>
            </a:solidFill>
            <a:ln>
              <a:noFill/>
            </a:ln>
          </p:spPr>
          <p:txBody>
            <a:bodyPr anchor="ctr"/>
            <a:lstStyle/>
            <a:p>
              <a:pPr algn="ctr"/>
              <a:r>
                <a:rPr lang="zh-CN" altLang="en-US" b="1" dirty="0">
                  <a:solidFill>
                    <a:srgbClr val="FFFFFF"/>
                  </a:solidFill>
                  <a:latin typeface="+mn-ea"/>
                </a:rPr>
                <a:t>行动快捷有效</a:t>
              </a:r>
            </a:p>
          </p:txBody>
        </p:sp>
        <p:sp>
          <p:nvSpPr>
            <p:cNvPr id="16" name="平行四边形 2"/>
            <p:cNvSpPr>
              <a:spLocks noChangeArrowheads="1"/>
            </p:cNvSpPr>
            <p:nvPr/>
          </p:nvSpPr>
          <p:spPr bwMode="auto">
            <a:xfrm>
              <a:off x="910929" y="1473190"/>
              <a:ext cx="2855698" cy="1803400"/>
            </a:xfrm>
            <a:prstGeom prst="parallelogram">
              <a:avLst>
                <a:gd name="adj" fmla="val 42747"/>
              </a:avLst>
            </a:prstGeom>
            <a:solidFill>
              <a:schemeClr val="bg1">
                <a:lumMod val="65000"/>
                <a:alpha val="20000"/>
              </a:schemeClr>
            </a:solidFill>
            <a:ln>
              <a:noFill/>
            </a:ln>
          </p:spPr>
          <p:txBody>
            <a:bodyPr lIns="0" tIns="0" rIns="0" bIns="0" anchor="ctr"/>
            <a:lstStyle/>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endParaRPr lang="en-US" sz="1300" dirty="0">
                <a:solidFill>
                  <a:srgbClr val="7F7F7F"/>
                </a:solidFill>
                <a:latin typeface="微软雅黑" panose="020B0503020204020204" pitchFamily="34" charset="-122"/>
                <a:ea typeface="微软雅黑" panose="020B0503020204020204" pitchFamily="34" charset="-122"/>
              </a:endParaRPr>
            </a:p>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p>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endParaRPr lang="en-US" altLang="zh-CN" sz="1300" dirty="0">
                <a:solidFill>
                  <a:srgbClr val="7F7F7F"/>
                </a:solidFill>
                <a:latin typeface="微软雅黑" panose="020B0503020204020204" pitchFamily="34" charset="-122"/>
                <a:ea typeface="微软雅黑" panose="020B0503020204020204" pitchFamily="34" charset="-122"/>
              </a:endParaRPr>
            </a:p>
            <a:p>
              <a:pPr algn="ctr">
                <a:lnSpc>
                  <a:spcPct val="130000"/>
                </a:lnSpc>
              </a:pPr>
              <a:r>
                <a:rPr lang="zh-CN" altLang="en-US" sz="1300" dirty="0">
                  <a:solidFill>
                    <a:srgbClr val="7F7F7F"/>
                  </a:solidFill>
                  <a:latin typeface="微软雅黑" panose="020B0503020204020204" pitchFamily="34" charset="-122"/>
                  <a:ea typeface="微软雅黑" panose="020B0503020204020204" pitchFamily="34" charset="-122"/>
                </a:rPr>
                <a:t>单击此处添加段落文本</a:t>
              </a:r>
            </a:p>
          </p:txBody>
        </p:sp>
      </p:gr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up)">
                                      <p:cBhvr>
                                        <p:cTn id="11" dur="500"/>
                                        <p:tgtEl>
                                          <p:spTgt spid="11"/>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矩形 53"/>
          <p:cNvSpPr/>
          <p:nvPr/>
        </p:nvSpPr>
        <p:spPr>
          <a:xfrm>
            <a:off x="795" y="1797235"/>
            <a:ext cx="12190413" cy="3525751"/>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55" name="TextBox 11"/>
          <p:cNvSpPr txBox="1"/>
          <p:nvPr/>
        </p:nvSpPr>
        <p:spPr>
          <a:xfrm>
            <a:off x="5505947" y="2273830"/>
            <a:ext cx="4721265" cy="1272437"/>
          </a:xfrm>
          <a:prstGeom prst="rect">
            <a:avLst/>
          </a:prstGeom>
          <a:noFill/>
        </p:spPr>
        <p:txBody>
          <a:bodyPr wrap="square" lIns="121917" tIns="60958" rIns="121917" bIns="60958" rtlCol="0">
            <a:spAutoFit/>
          </a:bodyPr>
          <a:lstStyle/>
          <a:p>
            <a:pPr marL="0" lvl="1"/>
            <a:r>
              <a:rPr lang="zh-CN" altLang="en-US" sz="1900" b="1" dirty="0">
                <a:solidFill>
                  <a:schemeClr val="bg1"/>
                </a:solidFill>
                <a:latin typeface="方正正大黑简体" panose="02000000000000000000" pitchFamily="2" charset="-122"/>
                <a:ea typeface="方正正大黑简体" panose="02000000000000000000" pitchFamily="2" charset="-122"/>
              </a:rPr>
              <a:t> </a:t>
            </a:r>
            <a:r>
              <a:rPr lang="zh-CN" altLang="en-US" sz="2700" dirty="0">
                <a:solidFill>
                  <a:schemeClr val="bg1"/>
                </a:solidFill>
                <a:latin typeface="方正正大黑简体" panose="02000000000000000000" pitchFamily="2" charset="-122"/>
                <a:ea typeface="方正正大黑简体" panose="02000000000000000000" pitchFamily="2" charset="-122"/>
              </a:rPr>
              <a:t>第一部分</a:t>
            </a:r>
            <a:endParaRPr lang="en-US" altLang="zh-CN" sz="2700" dirty="0">
              <a:solidFill>
                <a:schemeClr val="bg1"/>
              </a:solidFill>
              <a:latin typeface="方正正大黑简体" panose="02000000000000000000" pitchFamily="2" charset="-122"/>
              <a:ea typeface="方正正大黑简体" panose="02000000000000000000" pitchFamily="2" charset="-122"/>
            </a:endParaRPr>
          </a:p>
          <a:p>
            <a:pPr marL="0" lvl="1"/>
            <a:r>
              <a:rPr lang="zh-CN" altLang="en-US" sz="4800" b="1" spc="400" dirty="0" smtClean="0">
                <a:solidFill>
                  <a:schemeClr val="bg1"/>
                </a:solidFill>
                <a:latin typeface="微软雅黑" panose="020B0503020204020204" pitchFamily="34" charset="-122"/>
                <a:ea typeface="微软雅黑" panose="020B0503020204020204" pitchFamily="34" charset="-122"/>
              </a:rPr>
              <a:t>年度概述</a:t>
            </a:r>
            <a:endParaRPr lang="zh-CN" altLang="en-US" sz="4800" b="1" spc="400" dirty="0">
              <a:solidFill>
                <a:schemeClr val="bg1"/>
              </a:solidFill>
              <a:latin typeface="微软雅黑" panose="020B0503020204020204" pitchFamily="34" charset="-122"/>
              <a:ea typeface="微软雅黑" panose="020B0503020204020204" pitchFamily="34" charset="-122"/>
            </a:endParaRPr>
          </a:p>
        </p:txBody>
      </p:sp>
      <p:cxnSp>
        <p:nvCxnSpPr>
          <p:cNvPr id="56" name="直接连接符 55"/>
          <p:cNvCxnSpPr/>
          <p:nvPr/>
        </p:nvCxnSpPr>
        <p:spPr>
          <a:xfrm flipV="1">
            <a:off x="5241572" y="2276863"/>
            <a:ext cx="0" cy="2566493"/>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7" name="TextBox 13"/>
          <p:cNvSpPr txBox="1"/>
          <p:nvPr/>
        </p:nvSpPr>
        <p:spPr>
          <a:xfrm>
            <a:off x="3584676" y="4307305"/>
            <a:ext cx="1203638" cy="328371"/>
          </a:xfrm>
          <a:prstGeom prst="rect">
            <a:avLst/>
          </a:prstGeom>
          <a:noFill/>
        </p:spPr>
        <p:txBody>
          <a:bodyPr wrap="square" lIns="0" tIns="0" rIns="0" bIns="0" rtlCol="0">
            <a:spAutoFit/>
          </a:bodyPr>
          <a:lstStyle/>
          <a:p>
            <a:pPr algn="ctr"/>
            <a:r>
              <a:rPr lang="en-US" altLang="zh-CN" sz="2100" dirty="0">
                <a:solidFill>
                  <a:schemeClr val="bg1"/>
                </a:solidFill>
                <a:latin typeface="微软雅黑" panose="020B0503020204020204" pitchFamily="34" charset="-122"/>
                <a:ea typeface="微软雅黑" panose="020B0503020204020204" pitchFamily="34" charset="-122"/>
              </a:rPr>
              <a:t>PART 01</a:t>
            </a:r>
            <a:endParaRPr lang="zh-CN" altLang="en-US" sz="2100" dirty="0">
              <a:solidFill>
                <a:schemeClr val="bg1"/>
              </a:solidFill>
              <a:latin typeface="微软雅黑" panose="020B0503020204020204" pitchFamily="34" charset="-122"/>
              <a:ea typeface="微软雅黑" panose="020B0503020204020204" pitchFamily="34" charset="-122"/>
            </a:endParaRPr>
          </a:p>
        </p:txBody>
      </p:sp>
      <p:grpSp>
        <p:nvGrpSpPr>
          <p:cNvPr id="58" name="组合 57"/>
          <p:cNvGrpSpPr/>
          <p:nvPr/>
        </p:nvGrpSpPr>
        <p:grpSpPr>
          <a:xfrm>
            <a:off x="3489725" y="2757564"/>
            <a:ext cx="1393540" cy="1394044"/>
            <a:chOff x="3688998" y="918307"/>
            <a:chExt cx="1146646" cy="1146646"/>
          </a:xfrm>
        </p:grpSpPr>
        <p:grpSp>
          <p:nvGrpSpPr>
            <p:cNvPr id="59" name="组合 3"/>
            <p:cNvGrpSpPr/>
            <p:nvPr/>
          </p:nvGrpSpPr>
          <p:grpSpPr bwMode="auto">
            <a:xfrm>
              <a:off x="3688998" y="918307"/>
              <a:ext cx="1146646" cy="1146646"/>
              <a:chOff x="13242434" y="4083685"/>
              <a:chExt cx="2642282" cy="2642282"/>
            </a:xfrm>
          </p:grpSpPr>
          <p:sp>
            <p:nvSpPr>
              <p:cNvPr id="61" name="椭圆 60"/>
              <p:cNvSpPr/>
              <p:nvPr/>
            </p:nvSpPr>
            <p:spPr>
              <a:xfrm>
                <a:off x="13242434" y="4083685"/>
                <a:ext cx="2642282" cy="2642282"/>
              </a:xfrm>
              <a:prstGeom prst="ellipse">
                <a:avLst/>
              </a:prstGeom>
              <a:gradFill flip="none" rotWithShape="1">
                <a:gsLst>
                  <a:gs pos="100000">
                    <a:srgbClr val="FFFFFF"/>
                  </a:gs>
                  <a:gs pos="0">
                    <a:srgbClr val="B8BBBC"/>
                  </a:gs>
                </a:gsLst>
                <a:lin ang="18900000" scaled="1"/>
                <a:tileRect/>
              </a:gradFill>
              <a:ln>
                <a:noFill/>
              </a:ln>
              <a:effectLst>
                <a:outerShdw blurRad="1524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2"/>
                  </a:solidFill>
                </a:endParaRPr>
              </a:p>
            </p:txBody>
          </p:sp>
          <p:sp>
            <p:nvSpPr>
              <p:cNvPr id="62" name="椭圆 69"/>
              <p:cNvSpPr>
                <a:spLocks noChangeArrowheads="1"/>
              </p:cNvSpPr>
              <p:nvPr/>
            </p:nvSpPr>
            <p:spPr bwMode="auto">
              <a:xfrm>
                <a:off x="13399325" y="4240576"/>
                <a:ext cx="2328502" cy="2328502"/>
              </a:xfrm>
              <a:prstGeom prst="ellipse">
                <a:avLst/>
              </a:prstGeom>
              <a:solidFill>
                <a:schemeClr val="tx2"/>
              </a:solidFill>
              <a:ln>
                <a:noFill/>
              </a:ln>
              <a:extLst>
                <a:ext uri="{91240B29-F687-4F45-9708-019B960494DF}">
                  <a14:hiddenLine xmlns:a14="http://schemas.microsoft.com/office/drawing/2010/main" xmlns="" w="2857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a:endParaRPr lang="zh-CN" altLang="en-US">
                  <a:solidFill>
                    <a:schemeClr val="tx2"/>
                  </a:solidFill>
                </a:endParaRPr>
              </a:p>
            </p:txBody>
          </p:sp>
          <p:sp>
            <p:nvSpPr>
              <p:cNvPr id="63" name="椭圆 62"/>
              <p:cNvSpPr/>
              <p:nvPr/>
            </p:nvSpPr>
            <p:spPr>
              <a:xfrm>
                <a:off x="13475990" y="4317243"/>
                <a:ext cx="2175164" cy="2175163"/>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2"/>
                  </a:solidFill>
                </a:endParaRPr>
              </a:p>
            </p:txBody>
          </p:sp>
        </p:grpSp>
        <p:sp>
          <p:nvSpPr>
            <p:cNvPr id="60" name="TextBox 76"/>
            <p:cNvSpPr txBox="1"/>
            <p:nvPr/>
          </p:nvSpPr>
          <p:spPr>
            <a:xfrm>
              <a:off x="3790353" y="1165389"/>
              <a:ext cx="943935" cy="709001"/>
            </a:xfrm>
            <a:prstGeom prst="rect">
              <a:avLst/>
            </a:prstGeom>
            <a:noFill/>
          </p:spPr>
          <p:txBody>
            <a:bodyPr wrap="square" rtlCol="0">
              <a:spAutoFit/>
            </a:bodyPr>
            <a:lstStyle/>
            <a:p>
              <a:pPr algn="ctr"/>
              <a:r>
                <a:rPr lang="en-US" altLang="zh-CN" sz="4800" dirty="0">
                  <a:solidFill>
                    <a:schemeClr val="tx2"/>
                  </a:solidFill>
                  <a:latin typeface="方正正大黑简体" panose="02000000000000000000" pitchFamily="2" charset="-122"/>
                  <a:ea typeface="方正正大黑简体" panose="02000000000000000000" pitchFamily="2" charset="-122"/>
                </a:rPr>
                <a:t>1</a:t>
              </a:r>
              <a:endParaRPr lang="zh-CN" altLang="en-US" sz="4800" dirty="0">
                <a:solidFill>
                  <a:schemeClr val="tx2"/>
                </a:solidFill>
                <a:latin typeface="方正正大黑简体" panose="02000000000000000000" pitchFamily="2" charset="-122"/>
                <a:ea typeface="方正正大黑简体" panose="02000000000000000000" pitchFamily="2" charset="-122"/>
              </a:endParaRPr>
            </a:p>
          </p:txBody>
        </p:sp>
      </p:grpSp>
      <p:sp>
        <p:nvSpPr>
          <p:cNvPr id="64" name="文本框 9"/>
          <p:cNvSpPr txBox="1"/>
          <p:nvPr/>
        </p:nvSpPr>
        <p:spPr>
          <a:xfrm>
            <a:off x="5657325" y="3618288"/>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5" name="文本框 9"/>
          <p:cNvSpPr txBox="1"/>
          <p:nvPr/>
        </p:nvSpPr>
        <p:spPr>
          <a:xfrm>
            <a:off x="5657323" y="405230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6" name="文本框 9"/>
          <p:cNvSpPr txBox="1"/>
          <p:nvPr/>
        </p:nvSpPr>
        <p:spPr>
          <a:xfrm>
            <a:off x="5657325" y="448692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7" name="文本框 9"/>
          <p:cNvSpPr txBox="1"/>
          <p:nvPr/>
        </p:nvSpPr>
        <p:spPr>
          <a:xfrm>
            <a:off x="7436465" y="3622633"/>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8" name="文本框 9"/>
          <p:cNvSpPr txBox="1"/>
          <p:nvPr/>
        </p:nvSpPr>
        <p:spPr>
          <a:xfrm>
            <a:off x="7436466" y="4057254"/>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9" name="文本框 9"/>
          <p:cNvSpPr txBox="1"/>
          <p:nvPr/>
        </p:nvSpPr>
        <p:spPr>
          <a:xfrm>
            <a:off x="7436465" y="448585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barn(outHorizontal)">
                                      <p:cBhvr>
                                        <p:cTn id="7" dur="500"/>
                                        <p:tgtEl>
                                          <p:spTgt spid="5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wipe(down)">
                                      <p:cBhvr>
                                        <p:cTn id="11" dur="500"/>
                                        <p:tgtEl>
                                          <p:spTgt spid="5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47"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anim calcmode="lin" valueType="num">
                                      <p:cBhvr>
                                        <p:cTn id="19" dur="500" fill="hold"/>
                                        <p:tgtEl>
                                          <p:spTgt spid="57"/>
                                        </p:tgtEl>
                                        <p:attrNameLst>
                                          <p:attrName>ppt_x</p:attrName>
                                        </p:attrNameLst>
                                      </p:cBhvr>
                                      <p:tavLst>
                                        <p:tav tm="0">
                                          <p:val>
                                            <p:strVal val="#ppt_x"/>
                                          </p:val>
                                        </p:tav>
                                        <p:tav tm="100000">
                                          <p:val>
                                            <p:strVal val="#ppt_x"/>
                                          </p:val>
                                        </p:tav>
                                      </p:tavLst>
                                    </p:anim>
                                    <p:anim calcmode="lin" valueType="num">
                                      <p:cBhvr>
                                        <p:cTn id="20" dur="500" fill="hold"/>
                                        <p:tgtEl>
                                          <p:spTgt spid="57"/>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12" presetClass="entr" presetSubtype="8" fill="hold" grpId="0" nodeType="afterEffect">
                                  <p:stCondLst>
                                    <p:cond delay="0"/>
                                  </p:stCondLst>
                                  <p:childTnLst>
                                    <p:set>
                                      <p:cBhvr>
                                        <p:cTn id="23" dur="1" fill="hold">
                                          <p:stCondLst>
                                            <p:cond delay="0"/>
                                          </p:stCondLst>
                                        </p:cTn>
                                        <p:tgtEl>
                                          <p:spTgt spid="55"/>
                                        </p:tgtEl>
                                        <p:attrNameLst>
                                          <p:attrName>style.visibility</p:attrName>
                                        </p:attrNameLst>
                                      </p:cBhvr>
                                      <p:to>
                                        <p:strVal val="visible"/>
                                      </p:to>
                                    </p:set>
                                    <p:anim calcmode="lin" valueType="num">
                                      <p:cBhvr additive="base">
                                        <p:cTn id="24" dur="500"/>
                                        <p:tgtEl>
                                          <p:spTgt spid="55"/>
                                        </p:tgtEl>
                                        <p:attrNameLst>
                                          <p:attrName>ppt_x</p:attrName>
                                        </p:attrNameLst>
                                      </p:cBhvr>
                                      <p:tavLst>
                                        <p:tav tm="0">
                                          <p:val>
                                            <p:strVal val="#ppt_x-#ppt_w*1.125000"/>
                                          </p:val>
                                        </p:tav>
                                        <p:tav tm="100000">
                                          <p:val>
                                            <p:strVal val="#ppt_x"/>
                                          </p:val>
                                        </p:tav>
                                      </p:tavLst>
                                    </p:anim>
                                    <p:animEffect transition="in" filter="wipe(right)">
                                      <p:cBhvr>
                                        <p:cTn id="25" dur="500"/>
                                        <p:tgtEl>
                                          <p:spTgt spid="55"/>
                                        </p:tgtEl>
                                      </p:cBhvr>
                                    </p:animEffect>
                                  </p:childTnLst>
                                </p:cTn>
                              </p:par>
                            </p:childTnLst>
                          </p:cTn>
                        </p:par>
                        <p:par>
                          <p:cTn id="26" fill="hold">
                            <p:stCondLst>
                              <p:cond delay="2000"/>
                            </p:stCondLst>
                            <p:childTnLst>
                              <p:par>
                                <p:cTn id="27" presetID="2" presetClass="entr" presetSubtype="4" fill="hold" grpId="0" nodeType="afterEffect">
                                  <p:stCondLst>
                                    <p:cond delay="0"/>
                                  </p:stCondLst>
                                  <p:childTnLst>
                                    <p:set>
                                      <p:cBhvr>
                                        <p:cTn id="28" dur="1" fill="hold">
                                          <p:stCondLst>
                                            <p:cond delay="0"/>
                                          </p:stCondLst>
                                        </p:cTn>
                                        <p:tgtEl>
                                          <p:spTgt spid="64"/>
                                        </p:tgtEl>
                                        <p:attrNameLst>
                                          <p:attrName>style.visibility</p:attrName>
                                        </p:attrNameLst>
                                      </p:cBhvr>
                                      <p:to>
                                        <p:strVal val="visible"/>
                                      </p:to>
                                    </p:set>
                                    <p:anim calcmode="lin" valueType="num">
                                      <p:cBhvr additive="base">
                                        <p:cTn id="29" dur="500" fill="hold"/>
                                        <p:tgtEl>
                                          <p:spTgt spid="64"/>
                                        </p:tgtEl>
                                        <p:attrNameLst>
                                          <p:attrName>ppt_x</p:attrName>
                                        </p:attrNameLst>
                                      </p:cBhvr>
                                      <p:tavLst>
                                        <p:tav tm="0">
                                          <p:val>
                                            <p:strVal val="#ppt_x"/>
                                          </p:val>
                                        </p:tav>
                                        <p:tav tm="100000">
                                          <p:val>
                                            <p:strVal val="#ppt_x"/>
                                          </p:val>
                                        </p:tav>
                                      </p:tavLst>
                                    </p:anim>
                                    <p:anim calcmode="lin" valueType="num">
                                      <p:cBhvr additive="base">
                                        <p:cTn id="30" dur="500" fill="hold"/>
                                        <p:tgtEl>
                                          <p:spTgt spid="64"/>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200"/>
                                  </p:stCondLst>
                                  <p:childTnLst>
                                    <p:set>
                                      <p:cBhvr>
                                        <p:cTn id="32" dur="1" fill="hold">
                                          <p:stCondLst>
                                            <p:cond delay="0"/>
                                          </p:stCondLst>
                                        </p:cTn>
                                        <p:tgtEl>
                                          <p:spTgt spid="65"/>
                                        </p:tgtEl>
                                        <p:attrNameLst>
                                          <p:attrName>style.visibility</p:attrName>
                                        </p:attrNameLst>
                                      </p:cBhvr>
                                      <p:to>
                                        <p:strVal val="visible"/>
                                      </p:to>
                                    </p:set>
                                    <p:anim calcmode="lin" valueType="num">
                                      <p:cBhvr additive="base">
                                        <p:cTn id="33" dur="500" fill="hold"/>
                                        <p:tgtEl>
                                          <p:spTgt spid="65"/>
                                        </p:tgtEl>
                                        <p:attrNameLst>
                                          <p:attrName>ppt_x</p:attrName>
                                        </p:attrNameLst>
                                      </p:cBhvr>
                                      <p:tavLst>
                                        <p:tav tm="0">
                                          <p:val>
                                            <p:strVal val="#ppt_x"/>
                                          </p:val>
                                        </p:tav>
                                        <p:tav tm="100000">
                                          <p:val>
                                            <p:strVal val="#ppt_x"/>
                                          </p:val>
                                        </p:tav>
                                      </p:tavLst>
                                    </p:anim>
                                    <p:anim calcmode="lin" valueType="num">
                                      <p:cBhvr additive="base">
                                        <p:cTn id="34" dur="500" fill="hold"/>
                                        <p:tgtEl>
                                          <p:spTgt spid="6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400"/>
                                  </p:stCondLst>
                                  <p:childTnLst>
                                    <p:set>
                                      <p:cBhvr>
                                        <p:cTn id="36" dur="1" fill="hold">
                                          <p:stCondLst>
                                            <p:cond delay="0"/>
                                          </p:stCondLst>
                                        </p:cTn>
                                        <p:tgtEl>
                                          <p:spTgt spid="66"/>
                                        </p:tgtEl>
                                        <p:attrNameLst>
                                          <p:attrName>style.visibility</p:attrName>
                                        </p:attrNameLst>
                                      </p:cBhvr>
                                      <p:to>
                                        <p:strVal val="visible"/>
                                      </p:to>
                                    </p:set>
                                    <p:anim calcmode="lin" valueType="num">
                                      <p:cBhvr additive="base">
                                        <p:cTn id="37" dur="500" fill="hold"/>
                                        <p:tgtEl>
                                          <p:spTgt spid="66"/>
                                        </p:tgtEl>
                                        <p:attrNameLst>
                                          <p:attrName>ppt_x</p:attrName>
                                        </p:attrNameLst>
                                      </p:cBhvr>
                                      <p:tavLst>
                                        <p:tav tm="0">
                                          <p:val>
                                            <p:strVal val="#ppt_x"/>
                                          </p:val>
                                        </p:tav>
                                        <p:tav tm="100000">
                                          <p:val>
                                            <p:strVal val="#ppt_x"/>
                                          </p:val>
                                        </p:tav>
                                      </p:tavLst>
                                    </p:anim>
                                    <p:anim calcmode="lin" valueType="num">
                                      <p:cBhvr additive="base">
                                        <p:cTn id="38" dur="500" fill="hold"/>
                                        <p:tgtEl>
                                          <p:spTgt spid="66"/>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200"/>
                                  </p:stCondLst>
                                  <p:childTnLst>
                                    <p:set>
                                      <p:cBhvr>
                                        <p:cTn id="40" dur="1" fill="hold">
                                          <p:stCondLst>
                                            <p:cond delay="0"/>
                                          </p:stCondLst>
                                        </p:cTn>
                                        <p:tgtEl>
                                          <p:spTgt spid="67"/>
                                        </p:tgtEl>
                                        <p:attrNameLst>
                                          <p:attrName>style.visibility</p:attrName>
                                        </p:attrNameLst>
                                      </p:cBhvr>
                                      <p:to>
                                        <p:strVal val="visible"/>
                                      </p:to>
                                    </p:set>
                                    <p:anim calcmode="lin" valueType="num">
                                      <p:cBhvr additive="base">
                                        <p:cTn id="41" dur="500" fill="hold"/>
                                        <p:tgtEl>
                                          <p:spTgt spid="67"/>
                                        </p:tgtEl>
                                        <p:attrNameLst>
                                          <p:attrName>ppt_x</p:attrName>
                                        </p:attrNameLst>
                                      </p:cBhvr>
                                      <p:tavLst>
                                        <p:tav tm="0">
                                          <p:val>
                                            <p:strVal val="#ppt_x"/>
                                          </p:val>
                                        </p:tav>
                                        <p:tav tm="100000">
                                          <p:val>
                                            <p:strVal val="#ppt_x"/>
                                          </p:val>
                                        </p:tav>
                                      </p:tavLst>
                                    </p:anim>
                                    <p:anim calcmode="lin" valueType="num">
                                      <p:cBhvr additive="base">
                                        <p:cTn id="42" dur="500" fill="hold"/>
                                        <p:tgtEl>
                                          <p:spTgt spid="67"/>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400"/>
                                  </p:stCondLst>
                                  <p:childTnLst>
                                    <p:set>
                                      <p:cBhvr>
                                        <p:cTn id="44" dur="1" fill="hold">
                                          <p:stCondLst>
                                            <p:cond delay="0"/>
                                          </p:stCondLst>
                                        </p:cTn>
                                        <p:tgtEl>
                                          <p:spTgt spid="68"/>
                                        </p:tgtEl>
                                        <p:attrNameLst>
                                          <p:attrName>style.visibility</p:attrName>
                                        </p:attrNameLst>
                                      </p:cBhvr>
                                      <p:to>
                                        <p:strVal val="visible"/>
                                      </p:to>
                                    </p:set>
                                    <p:anim calcmode="lin" valueType="num">
                                      <p:cBhvr additive="base">
                                        <p:cTn id="45" dur="500" fill="hold"/>
                                        <p:tgtEl>
                                          <p:spTgt spid="68"/>
                                        </p:tgtEl>
                                        <p:attrNameLst>
                                          <p:attrName>ppt_x</p:attrName>
                                        </p:attrNameLst>
                                      </p:cBhvr>
                                      <p:tavLst>
                                        <p:tav tm="0">
                                          <p:val>
                                            <p:strVal val="#ppt_x"/>
                                          </p:val>
                                        </p:tav>
                                        <p:tav tm="100000">
                                          <p:val>
                                            <p:strVal val="#ppt_x"/>
                                          </p:val>
                                        </p:tav>
                                      </p:tavLst>
                                    </p:anim>
                                    <p:anim calcmode="lin" valueType="num">
                                      <p:cBhvr additive="base">
                                        <p:cTn id="46" dur="500" fill="hold"/>
                                        <p:tgtEl>
                                          <p:spTgt spid="6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600"/>
                                  </p:stCondLst>
                                  <p:childTnLst>
                                    <p:set>
                                      <p:cBhvr>
                                        <p:cTn id="48" dur="1" fill="hold">
                                          <p:stCondLst>
                                            <p:cond delay="0"/>
                                          </p:stCondLst>
                                        </p:cTn>
                                        <p:tgtEl>
                                          <p:spTgt spid="69"/>
                                        </p:tgtEl>
                                        <p:attrNameLst>
                                          <p:attrName>style.visibility</p:attrName>
                                        </p:attrNameLst>
                                      </p:cBhvr>
                                      <p:to>
                                        <p:strVal val="visible"/>
                                      </p:to>
                                    </p:set>
                                    <p:anim calcmode="lin" valueType="num">
                                      <p:cBhvr additive="base">
                                        <p:cTn id="49" dur="500" fill="hold"/>
                                        <p:tgtEl>
                                          <p:spTgt spid="69"/>
                                        </p:tgtEl>
                                        <p:attrNameLst>
                                          <p:attrName>ppt_x</p:attrName>
                                        </p:attrNameLst>
                                      </p:cBhvr>
                                      <p:tavLst>
                                        <p:tav tm="0">
                                          <p:val>
                                            <p:strVal val="#ppt_x"/>
                                          </p:val>
                                        </p:tav>
                                        <p:tav tm="100000">
                                          <p:val>
                                            <p:strVal val="#ppt_x"/>
                                          </p:val>
                                        </p:tav>
                                      </p:tavLst>
                                    </p:anim>
                                    <p:anim calcmode="lin" valueType="num">
                                      <p:cBhvr additive="base">
                                        <p:cTn id="5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p:bldP spid="57" grpId="0"/>
      <p:bldP spid="64" grpId="0"/>
      <p:bldP spid="65" grpId="0"/>
      <p:bldP spid="66" grpId="0"/>
      <p:bldP spid="67" grpId="0"/>
      <p:bldP spid="68" grpId="0"/>
      <p:bldP spid="6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矩形 53"/>
          <p:cNvSpPr/>
          <p:nvPr/>
        </p:nvSpPr>
        <p:spPr>
          <a:xfrm>
            <a:off x="795" y="1797235"/>
            <a:ext cx="12190413" cy="3525751"/>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55" name="TextBox 11"/>
          <p:cNvSpPr txBox="1"/>
          <p:nvPr/>
        </p:nvSpPr>
        <p:spPr>
          <a:xfrm>
            <a:off x="5505947" y="2273830"/>
            <a:ext cx="4721265" cy="1272437"/>
          </a:xfrm>
          <a:prstGeom prst="rect">
            <a:avLst/>
          </a:prstGeom>
          <a:noFill/>
        </p:spPr>
        <p:txBody>
          <a:bodyPr wrap="square" lIns="121917" tIns="60958" rIns="121917" bIns="60958" rtlCol="0">
            <a:spAutoFit/>
          </a:bodyPr>
          <a:lstStyle/>
          <a:p>
            <a:pPr marL="0" lvl="1"/>
            <a:r>
              <a:rPr lang="zh-CN" altLang="en-US" sz="1900" b="1" dirty="0">
                <a:solidFill>
                  <a:schemeClr val="bg1"/>
                </a:solidFill>
                <a:latin typeface="方正正大黑简体" panose="02000000000000000000" pitchFamily="2" charset="-122"/>
                <a:ea typeface="方正正大黑简体" panose="02000000000000000000" pitchFamily="2" charset="-122"/>
              </a:rPr>
              <a:t> </a:t>
            </a:r>
            <a:r>
              <a:rPr lang="zh-CN" altLang="en-US" sz="2700" dirty="0" smtClean="0">
                <a:solidFill>
                  <a:schemeClr val="bg1"/>
                </a:solidFill>
                <a:latin typeface="方正正大黑简体" panose="02000000000000000000" pitchFamily="2" charset="-122"/>
                <a:ea typeface="方正正大黑简体" panose="02000000000000000000" pitchFamily="2" charset="-122"/>
              </a:rPr>
              <a:t>第四部分</a:t>
            </a:r>
            <a:endParaRPr lang="en-US" altLang="zh-CN" sz="2700" dirty="0">
              <a:solidFill>
                <a:schemeClr val="bg1"/>
              </a:solidFill>
              <a:latin typeface="方正正大黑简体" panose="02000000000000000000" pitchFamily="2" charset="-122"/>
              <a:ea typeface="方正正大黑简体" panose="02000000000000000000" pitchFamily="2" charset="-122"/>
            </a:endParaRPr>
          </a:p>
          <a:p>
            <a:pPr marL="0" lvl="1"/>
            <a:r>
              <a:rPr lang="zh-CN" altLang="en-US" sz="4800" b="1" spc="400" dirty="0" smtClean="0">
                <a:solidFill>
                  <a:schemeClr val="bg1"/>
                </a:solidFill>
                <a:latin typeface="微软雅黑" panose="020B0503020204020204" pitchFamily="34" charset="-122"/>
                <a:ea typeface="微软雅黑" panose="020B0503020204020204" pitchFamily="34" charset="-122"/>
              </a:rPr>
              <a:t>明年计划</a:t>
            </a:r>
            <a:endParaRPr lang="zh-CN" altLang="en-US" sz="4800" b="1" spc="400" dirty="0">
              <a:solidFill>
                <a:schemeClr val="bg1"/>
              </a:solidFill>
              <a:latin typeface="微软雅黑" panose="020B0503020204020204" pitchFamily="34" charset="-122"/>
              <a:ea typeface="微软雅黑" panose="020B0503020204020204" pitchFamily="34" charset="-122"/>
            </a:endParaRPr>
          </a:p>
        </p:txBody>
      </p:sp>
      <p:cxnSp>
        <p:nvCxnSpPr>
          <p:cNvPr id="56" name="直接连接符 55"/>
          <p:cNvCxnSpPr/>
          <p:nvPr/>
        </p:nvCxnSpPr>
        <p:spPr>
          <a:xfrm flipV="1">
            <a:off x="5241572" y="2276863"/>
            <a:ext cx="0" cy="2566493"/>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7" name="TextBox 13"/>
          <p:cNvSpPr txBox="1"/>
          <p:nvPr/>
        </p:nvSpPr>
        <p:spPr>
          <a:xfrm>
            <a:off x="3584676" y="4307305"/>
            <a:ext cx="1203638" cy="328371"/>
          </a:xfrm>
          <a:prstGeom prst="rect">
            <a:avLst/>
          </a:prstGeom>
          <a:noFill/>
        </p:spPr>
        <p:txBody>
          <a:bodyPr wrap="square" lIns="0" tIns="0" rIns="0" bIns="0" rtlCol="0">
            <a:spAutoFit/>
          </a:bodyPr>
          <a:lstStyle/>
          <a:p>
            <a:pPr algn="ctr"/>
            <a:r>
              <a:rPr lang="en-US" altLang="zh-CN" sz="2100" dirty="0">
                <a:solidFill>
                  <a:schemeClr val="bg1"/>
                </a:solidFill>
                <a:latin typeface="微软雅黑" panose="020B0503020204020204" pitchFamily="34" charset="-122"/>
                <a:ea typeface="微软雅黑" panose="020B0503020204020204" pitchFamily="34" charset="-122"/>
              </a:rPr>
              <a:t>PART </a:t>
            </a:r>
            <a:r>
              <a:rPr lang="en-US" altLang="zh-CN" sz="2100" dirty="0" smtClean="0">
                <a:solidFill>
                  <a:schemeClr val="bg1"/>
                </a:solidFill>
                <a:latin typeface="微软雅黑" panose="020B0503020204020204" pitchFamily="34" charset="-122"/>
                <a:ea typeface="微软雅黑" panose="020B0503020204020204" pitchFamily="34" charset="-122"/>
              </a:rPr>
              <a:t>04</a:t>
            </a:r>
            <a:endParaRPr lang="zh-CN" altLang="en-US" sz="2100" dirty="0">
              <a:solidFill>
                <a:schemeClr val="bg1"/>
              </a:solidFill>
              <a:latin typeface="微软雅黑" panose="020B0503020204020204" pitchFamily="34" charset="-122"/>
              <a:ea typeface="微软雅黑" panose="020B0503020204020204" pitchFamily="34" charset="-122"/>
            </a:endParaRPr>
          </a:p>
        </p:txBody>
      </p:sp>
      <p:grpSp>
        <p:nvGrpSpPr>
          <p:cNvPr id="58" name="组合 57"/>
          <p:cNvGrpSpPr/>
          <p:nvPr/>
        </p:nvGrpSpPr>
        <p:grpSpPr>
          <a:xfrm>
            <a:off x="3489725" y="2757564"/>
            <a:ext cx="1393540" cy="1394044"/>
            <a:chOff x="3688998" y="918307"/>
            <a:chExt cx="1146646" cy="1146646"/>
          </a:xfrm>
        </p:grpSpPr>
        <p:grpSp>
          <p:nvGrpSpPr>
            <p:cNvPr id="59" name="组合 3"/>
            <p:cNvGrpSpPr/>
            <p:nvPr/>
          </p:nvGrpSpPr>
          <p:grpSpPr bwMode="auto">
            <a:xfrm>
              <a:off x="3688998" y="918307"/>
              <a:ext cx="1146646" cy="1146646"/>
              <a:chOff x="13242434" y="4083685"/>
              <a:chExt cx="2642282" cy="2642282"/>
            </a:xfrm>
          </p:grpSpPr>
          <p:sp>
            <p:nvSpPr>
              <p:cNvPr id="61" name="椭圆 60"/>
              <p:cNvSpPr/>
              <p:nvPr/>
            </p:nvSpPr>
            <p:spPr>
              <a:xfrm>
                <a:off x="13242434" y="4083685"/>
                <a:ext cx="2642282" cy="2642282"/>
              </a:xfrm>
              <a:prstGeom prst="ellipse">
                <a:avLst/>
              </a:prstGeom>
              <a:gradFill flip="none" rotWithShape="1">
                <a:gsLst>
                  <a:gs pos="100000">
                    <a:srgbClr val="FFFFFF"/>
                  </a:gs>
                  <a:gs pos="0">
                    <a:srgbClr val="B8BBBC"/>
                  </a:gs>
                </a:gsLst>
                <a:lin ang="18900000" scaled="1"/>
                <a:tileRect/>
              </a:gradFill>
              <a:ln>
                <a:noFill/>
              </a:ln>
              <a:effectLst>
                <a:outerShdw blurRad="1524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2"/>
                  </a:solidFill>
                </a:endParaRPr>
              </a:p>
            </p:txBody>
          </p:sp>
          <p:sp>
            <p:nvSpPr>
              <p:cNvPr id="62" name="椭圆 69"/>
              <p:cNvSpPr>
                <a:spLocks noChangeArrowheads="1"/>
              </p:cNvSpPr>
              <p:nvPr/>
            </p:nvSpPr>
            <p:spPr bwMode="auto">
              <a:xfrm>
                <a:off x="13399325" y="4240576"/>
                <a:ext cx="2328502" cy="2328502"/>
              </a:xfrm>
              <a:prstGeom prst="ellipse">
                <a:avLst/>
              </a:prstGeom>
              <a:solidFill>
                <a:schemeClr val="tx2"/>
              </a:solidFill>
              <a:ln>
                <a:noFill/>
              </a:ln>
              <a:extLst>
                <a:ext uri="{91240B29-F687-4F45-9708-019B960494DF}">
                  <a14:hiddenLine xmlns:a14="http://schemas.microsoft.com/office/drawing/2010/main" xmlns="" w="2857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a:endParaRPr lang="zh-CN" altLang="en-US">
                  <a:solidFill>
                    <a:schemeClr val="tx2"/>
                  </a:solidFill>
                </a:endParaRPr>
              </a:p>
            </p:txBody>
          </p:sp>
          <p:sp>
            <p:nvSpPr>
              <p:cNvPr id="63" name="椭圆 62"/>
              <p:cNvSpPr/>
              <p:nvPr/>
            </p:nvSpPr>
            <p:spPr>
              <a:xfrm>
                <a:off x="13475990" y="4317243"/>
                <a:ext cx="2175164" cy="2175163"/>
              </a:xfrm>
              <a:prstGeom prst="ellipse">
                <a:avLst/>
              </a:prstGeom>
              <a:gradFill flip="none" rotWithShape="1">
                <a:gsLst>
                  <a:gs pos="0">
                    <a:schemeClr val="bg1"/>
                  </a:gs>
                  <a:gs pos="100000">
                    <a:srgbClr val="B8BBBC"/>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2"/>
                  </a:solidFill>
                </a:endParaRPr>
              </a:p>
            </p:txBody>
          </p:sp>
        </p:grpSp>
        <p:sp>
          <p:nvSpPr>
            <p:cNvPr id="60" name="TextBox 76"/>
            <p:cNvSpPr txBox="1"/>
            <p:nvPr/>
          </p:nvSpPr>
          <p:spPr>
            <a:xfrm>
              <a:off x="3790353" y="1165389"/>
              <a:ext cx="943935" cy="709001"/>
            </a:xfrm>
            <a:prstGeom prst="rect">
              <a:avLst/>
            </a:prstGeom>
            <a:noFill/>
          </p:spPr>
          <p:txBody>
            <a:bodyPr wrap="square" rtlCol="0">
              <a:spAutoFit/>
            </a:bodyPr>
            <a:lstStyle/>
            <a:p>
              <a:pPr algn="ctr"/>
              <a:r>
                <a:rPr lang="en-US" altLang="zh-CN" sz="4800" dirty="0" smtClean="0">
                  <a:solidFill>
                    <a:schemeClr val="tx2"/>
                  </a:solidFill>
                  <a:latin typeface="方正正大黑简体" panose="02000000000000000000" pitchFamily="2" charset="-122"/>
                  <a:ea typeface="方正正大黑简体" panose="02000000000000000000" pitchFamily="2" charset="-122"/>
                </a:rPr>
                <a:t>4</a:t>
              </a:r>
              <a:endParaRPr lang="zh-CN" altLang="en-US" sz="4800" dirty="0">
                <a:solidFill>
                  <a:schemeClr val="tx2"/>
                </a:solidFill>
                <a:latin typeface="方正正大黑简体" panose="02000000000000000000" pitchFamily="2" charset="-122"/>
                <a:ea typeface="方正正大黑简体" panose="02000000000000000000" pitchFamily="2" charset="-122"/>
              </a:endParaRPr>
            </a:p>
          </p:txBody>
        </p:sp>
      </p:grpSp>
      <p:sp>
        <p:nvSpPr>
          <p:cNvPr id="64" name="文本框 9"/>
          <p:cNvSpPr txBox="1"/>
          <p:nvPr/>
        </p:nvSpPr>
        <p:spPr>
          <a:xfrm>
            <a:off x="5657325" y="3618288"/>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5" name="文本框 9"/>
          <p:cNvSpPr txBox="1"/>
          <p:nvPr/>
        </p:nvSpPr>
        <p:spPr>
          <a:xfrm>
            <a:off x="5657323" y="405230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6" name="文本框 9"/>
          <p:cNvSpPr txBox="1"/>
          <p:nvPr/>
        </p:nvSpPr>
        <p:spPr>
          <a:xfrm>
            <a:off x="5657325" y="448692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7" name="文本框 9"/>
          <p:cNvSpPr txBox="1"/>
          <p:nvPr/>
        </p:nvSpPr>
        <p:spPr>
          <a:xfrm>
            <a:off x="7436465" y="3622633"/>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8" name="文本框 9"/>
          <p:cNvSpPr txBox="1"/>
          <p:nvPr/>
        </p:nvSpPr>
        <p:spPr>
          <a:xfrm>
            <a:off x="7436466" y="4057254"/>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
        <p:nvSpPr>
          <p:cNvPr id="69" name="文本框 9"/>
          <p:cNvSpPr txBox="1"/>
          <p:nvPr/>
        </p:nvSpPr>
        <p:spPr>
          <a:xfrm>
            <a:off x="7436465" y="4485859"/>
            <a:ext cx="2676905" cy="292388"/>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900" dirty="0">
                <a:solidFill>
                  <a:schemeClr val="bg1"/>
                </a:solidFill>
                <a:latin typeface="微软雅黑" panose="020B0503020204020204" pitchFamily="34" charset="-122"/>
                <a:ea typeface="微软雅黑" panose="020B0503020204020204" pitchFamily="34" charset="-122"/>
              </a:rPr>
              <a:t>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barn(outHorizontal)">
                                      <p:cBhvr>
                                        <p:cTn id="7" dur="500"/>
                                        <p:tgtEl>
                                          <p:spTgt spid="5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wipe(down)">
                                      <p:cBhvr>
                                        <p:cTn id="11" dur="500"/>
                                        <p:tgtEl>
                                          <p:spTgt spid="5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47" presetClass="entr" presetSubtype="0" fill="hold" grpId="0"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anim calcmode="lin" valueType="num">
                                      <p:cBhvr>
                                        <p:cTn id="19" dur="500" fill="hold"/>
                                        <p:tgtEl>
                                          <p:spTgt spid="57"/>
                                        </p:tgtEl>
                                        <p:attrNameLst>
                                          <p:attrName>ppt_x</p:attrName>
                                        </p:attrNameLst>
                                      </p:cBhvr>
                                      <p:tavLst>
                                        <p:tav tm="0">
                                          <p:val>
                                            <p:strVal val="#ppt_x"/>
                                          </p:val>
                                        </p:tav>
                                        <p:tav tm="100000">
                                          <p:val>
                                            <p:strVal val="#ppt_x"/>
                                          </p:val>
                                        </p:tav>
                                      </p:tavLst>
                                    </p:anim>
                                    <p:anim calcmode="lin" valueType="num">
                                      <p:cBhvr>
                                        <p:cTn id="20" dur="500" fill="hold"/>
                                        <p:tgtEl>
                                          <p:spTgt spid="57"/>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12" presetClass="entr" presetSubtype="8" fill="hold" grpId="0" nodeType="afterEffect">
                                  <p:stCondLst>
                                    <p:cond delay="0"/>
                                  </p:stCondLst>
                                  <p:childTnLst>
                                    <p:set>
                                      <p:cBhvr>
                                        <p:cTn id="23" dur="1" fill="hold">
                                          <p:stCondLst>
                                            <p:cond delay="0"/>
                                          </p:stCondLst>
                                        </p:cTn>
                                        <p:tgtEl>
                                          <p:spTgt spid="55"/>
                                        </p:tgtEl>
                                        <p:attrNameLst>
                                          <p:attrName>style.visibility</p:attrName>
                                        </p:attrNameLst>
                                      </p:cBhvr>
                                      <p:to>
                                        <p:strVal val="visible"/>
                                      </p:to>
                                    </p:set>
                                    <p:anim calcmode="lin" valueType="num">
                                      <p:cBhvr additive="base">
                                        <p:cTn id="24" dur="500"/>
                                        <p:tgtEl>
                                          <p:spTgt spid="55"/>
                                        </p:tgtEl>
                                        <p:attrNameLst>
                                          <p:attrName>ppt_x</p:attrName>
                                        </p:attrNameLst>
                                      </p:cBhvr>
                                      <p:tavLst>
                                        <p:tav tm="0">
                                          <p:val>
                                            <p:strVal val="#ppt_x-#ppt_w*1.125000"/>
                                          </p:val>
                                        </p:tav>
                                        <p:tav tm="100000">
                                          <p:val>
                                            <p:strVal val="#ppt_x"/>
                                          </p:val>
                                        </p:tav>
                                      </p:tavLst>
                                    </p:anim>
                                    <p:animEffect transition="in" filter="wipe(right)">
                                      <p:cBhvr>
                                        <p:cTn id="25" dur="500"/>
                                        <p:tgtEl>
                                          <p:spTgt spid="55"/>
                                        </p:tgtEl>
                                      </p:cBhvr>
                                    </p:animEffect>
                                  </p:childTnLst>
                                </p:cTn>
                              </p:par>
                            </p:childTnLst>
                          </p:cTn>
                        </p:par>
                        <p:par>
                          <p:cTn id="26" fill="hold">
                            <p:stCondLst>
                              <p:cond delay="2000"/>
                            </p:stCondLst>
                            <p:childTnLst>
                              <p:par>
                                <p:cTn id="27" presetID="2" presetClass="entr" presetSubtype="4" fill="hold" grpId="0" nodeType="afterEffect">
                                  <p:stCondLst>
                                    <p:cond delay="0"/>
                                  </p:stCondLst>
                                  <p:childTnLst>
                                    <p:set>
                                      <p:cBhvr>
                                        <p:cTn id="28" dur="1" fill="hold">
                                          <p:stCondLst>
                                            <p:cond delay="0"/>
                                          </p:stCondLst>
                                        </p:cTn>
                                        <p:tgtEl>
                                          <p:spTgt spid="64"/>
                                        </p:tgtEl>
                                        <p:attrNameLst>
                                          <p:attrName>style.visibility</p:attrName>
                                        </p:attrNameLst>
                                      </p:cBhvr>
                                      <p:to>
                                        <p:strVal val="visible"/>
                                      </p:to>
                                    </p:set>
                                    <p:anim calcmode="lin" valueType="num">
                                      <p:cBhvr additive="base">
                                        <p:cTn id="29" dur="500" fill="hold"/>
                                        <p:tgtEl>
                                          <p:spTgt spid="64"/>
                                        </p:tgtEl>
                                        <p:attrNameLst>
                                          <p:attrName>ppt_x</p:attrName>
                                        </p:attrNameLst>
                                      </p:cBhvr>
                                      <p:tavLst>
                                        <p:tav tm="0">
                                          <p:val>
                                            <p:strVal val="#ppt_x"/>
                                          </p:val>
                                        </p:tav>
                                        <p:tav tm="100000">
                                          <p:val>
                                            <p:strVal val="#ppt_x"/>
                                          </p:val>
                                        </p:tav>
                                      </p:tavLst>
                                    </p:anim>
                                    <p:anim calcmode="lin" valueType="num">
                                      <p:cBhvr additive="base">
                                        <p:cTn id="30" dur="500" fill="hold"/>
                                        <p:tgtEl>
                                          <p:spTgt spid="64"/>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200"/>
                                  </p:stCondLst>
                                  <p:childTnLst>
                                    <p:set>
                                      <p:cBhvr>
                                        <p:cTn id="32" dur="1" fill="hold">
                                          <p:stCondLst>
                                            <p:cond delay="0"/>
                                          </p:stCondLst>
                                        </p:cTn>
                                        <p:tgtEl>
                                          <p:spTgt spid="65"/>
                                        </p:tgtEl>
                                        <p:attrNameLst>
                                          <p:attrName>style.visibility</p:attrName>
                                        </p:attrNameLst>
                                      </p:cBhvr>
                                      <p:to>
                                        <p:strVal val="visible"/>
                                      </p:to>
                                    </p:set>
                                    <p:anim calcmode="lin" valueType="num">
                                      <p:cBhvr additive="base">
                                        <p:cTn id="33" dur="500" fill="hold"/>
                                        <p:tgtEl>
                                          <p:spTgt spid="65"/>
                                        </p:tgtEl>
                                        <p:attrNameLst>
                                          <p:attrName>ppt_x</p:attrName>
                                        </p:attrNameLst>
                                      </p:cBhvr>
                                      <p:tavLst>
                                        <p:tav tm="0">
                                          <p:val>
                                            <p:strVal val="#ppt_x"/>
                                          </p:val>
                                        </p:tav>
                                        <p:tav tm="100000">
                                          <p:val>
                                            <p:strVal val="#ppt_x"/>
                                          </p:val>
                                        </p:tav>
                                      </p:tavLst>
                                    </p:anim>
                                    <p:anim calcmode="lin" valueType="num">
                                      <p:cBhvr additive="base">
                                        <p:cTn id="34" dur="500" fill="hold"/>
                                        <p:tgtEl>
                                          <p:spTgt spid="6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400"/>
                                  </p:stCondLst>
                                  <p:childTnLst>
                                    <p:set>
                                      <p:cBhvr>
                                        <p:cTn id="36" dur="1" fill="hold">
                                          <p:stCondLst>
                                            <p:cond delay="0"/>
                                          </p:stCondLst>
                                        </p:cTn>
                                        <p:tgtEl>
                                          <p:spTgt spid="66"/>
                                        </p:tgtEl>
                                        <p:attrNameLst>
                                          <p:attrName>style.visibility</p:attrName>
                                        </p:attrNameLst>
                                      </p:cBhvr>
                                      <p:to>
                                        <p:strVal val="visible"/>
                                      </p:to>
                                    </p:set>
                                    <p:anim calcmode="lin" valueType="num">
                                      <p:cBhvr additive="base">
                                        <p:cTn id="37" dur="500" fill="hold"/>
                                        <p:tgtEl>
                                          <p:spTgt spid="66"/>
                                        </p:tgtEl>
                                        <p:attrNameLst>
                                          <p:attrName>ppt_x</p:attrName>
                                        </p:attrNameLst>
                                      </p:cBhvr>
                                      <p:tavLst>
                                        <p:tav tm="0">
                                          <p:val>
                                            <p:strVal val="#ppt_x"/>
                                          </p:val>
                                        </p:tav>
                                        <p:tav tm="100000">
                                          <p:val>
                                            <p:strVal val="#ppt_x"/>
                                          </p:val>
                                        </p:tav>
                                      </p:tavLst>
                                    </p:anim>
                                    <p:anim calcmode="lin" valueType="num">
                                      <p:cBhvr additive="base">
                                        <p:cTn id="38" dur="500" fill="hold"/>
                                        <p:tgtEl>
                                          <p:spTgt spid="66"/>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200"/>
                                  </p:stCondLst>
                                  <p:childTnLst>
                                    <p:set>
                                      <p:cBhvr>
                                        <p:cTn id="40" dur="1" fill="hold">
                                          <p:stCondLst>
                                            <p:cond delay="0"/>
                                          </p:stCondLst>
                                        </p:cTn>
                                        <p:tgtEl>
                                          <p:spTgt spid="67"/>
                                        </p:tgtEl>
                                        <p:attrNameLst>
                                          <p:attrName>style.visibility</p:attrName>
                                        </p:attrNameLst>
                                      </p:cBhvr>
                                      <p:to>
                                        <p:strVal val="visible"/>
                                      </p:to>
                                    </p:set>
                                    <p:anim calcmode="lin" valueType="num">
                                      <p:cBhvr additive="base">
                                        <p:cTn id="41" dur="500" fill="hold"/>
                                        <p:tgtEl>
                                          <p:spTgt spid="67"/>
                                        </p:tgtEl>
                                        <p:attrNameLst>
                                          <p:attrName>ppt_x</p:attrName>
                                        </p:attrNameLst>
                                      </p:cBhvr>
                                      <p:tavLst>
                                        <p:tav tm="0">
                                          <p:val>
                                            <p:strVal val="#ppt_x"/>
                                          </p:val>
                                        </p:tav>
                                        <p:tav tm="100000">
                                          <p:val>
                                            <p:strVal val="#ppt_x"/>
                                          </p:val>
                                        </p:tav>
                                      </p:tavLst>
                                    </p:anim>
                                    <p:anim calcmode="lin" valueType="num">
                                      <p:cBhvr additive="base">
                                        <p:cTn id="42" dur="500" fill="hold"/>
                                        <p:tgtEl>
                                          <p:spTgt spid="67"/>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400"/>
                                  </p:stCondLst>
                                  <p:childTnLst>
                                    <p:set>
                                      <p:cBhvr>
                                        <p:cTn id="44" dur="1" fill="hold">
                                          <p:stCondLst>
                                            <p:cond delay="0"/>
                                          </p:stCondLst>
                                        </p:cTn>
                                        <p:tgtEl>
                                          <p:spTgt spid="68"/>
                                        </p:tgtEl>
                                        <p:attrNameLst>
                                          <p:attrName>style.visibility</p:attrName>
                                        </p:attrNameLst>
                                      </p:cBhvr>
                                      <p:to>
                                        <p:strVal val="visible"/>
                                      </p:to>
                                    </p:set>
                                    <p:anim calcmode="lin" valueType="num">
                                      <p:cBhvr additive="base">
                                        <p:cTn id="45" dur="500" fill="hold"/>
                                        <p:tgtEl>
                                          <p:spTgt spid="68"/>
                                        </p:tgtEl>
                                        <p:attrNameLst>
                                          <p:attrName>ppt_x</p:attrName>
                                        </p:attrNameLst>
                                      </p:cBhvr>
                                      <p:tavLst>
                                        <p:tav tm="0">
                                          <p:val>
                                            <p:strVal val="#ppt_x"/>
                                          </p:val>
                                        </p:tav>
                                        <p:tav tm="100000">
                                          <p:val>
                                            <p:strVal val="#ppt_x"/>
                                          </p:val>
                                        </p:tav>
                                      </p:tavLst>
                                    </p:anim>
                                    <p:anim calcmode="lin" valueType="num">
                                      <p:cBhvr additive="base">
                                        <p:cTn id="46" dur="500" fill="hold"/>
                                        <p:tgtEl>
                                          <p:spTgt spid="6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600"/>
                                  </p:stCondLst>
                                  <p:childTnLst>
                                    <p:set>
                                      <p:cBhvr>
                                        <p:cTn id="48" dur="1" fill="hold">
                                          <p:stCondLst>
                                            <p:cond delay="0"/>
                                          </p:stCondLst>
                                        </p:cTn>
                                        <p:tgtEl>
                                          <p:spTgt spid="69"/>
                                        </p:tgtEl>
                                        <p:attrNameLst>
                                          <p:attrName>style.visibility</p:attrName>
                                        </p:attrNameLst>
                                      </p:cBhvr>
                                      <p:to>
                                        <p:strVal val="visible"/>
                                      </p:to>
                                    </p:set>
                                    <p:anim calcmode="lin" valueType="num">
                                      <p:cBhvr additive="base">
                                        <p:cTn id="49" dur="500" fill="hold"/>
                                        <p:tgtEl>
                                          <p:spTgt spid="69"/>
                                        </p:tgtEl>
                                        <p:attrNameLst>
                                          <p:attrName>ppt_x</p:attrName>
                                        </p:attrNameLst>
                                      </p:cBhvr>
                                      <p:tavLst>
                                        <p:tav tm="0">
                                          <p:val>
                                            <p:strVal val="#ppt_x"/>
                                          </p:val>
                                        </p:tav>
                                        <p:tav tm="100000">
                                          <p:val>
                                            <p:strVal val="#ppt_x"/>
                                          </p:val>
                                        </p:tav>
                                      </p:tavLst>
                                    </p:anim>
                                    <p:anim calcmode="lin" valueType="num">
                                      <p:cBhvr additive="base">
                                        <p:cTn id="50" dur="500" fill="hold"/>
                                        <p:tgtEl>
                                          <p:spTgt spid="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p:bldP spid="57" grpId="0"/>
      <p:bldP spid="64" grpId="0"/>
      <p:bldP spid="65" grpId="0"/>
      <p:bldP spid="66" grpId="0"/>
      <p:bldP spid="67" grpId="0"/>
      <p:bldP spid="68" grpId="0"/>
      <p:bldP spid="6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2832064" y="3578861"/>
            <a:ext cx="1727967" cy="3279140"/>
            <a:chOff x="766629" y="3417918"/>
            <a:chExt cx="1296144" cy="2459355"/>
          </a:xfrm>
        </p:grpSpPr>
        <p:sp>
          <p:nvSpPr>
            <p:cNvPr id="4" name="等腰三角形 3"/>
            <p:cNvSpPr/>
            <p:nvPr/>
          </p:nvSpPr>
          <p:spPr>
            <a:xfrm>
              <a:off x="1284695" y="4673019"/>
              <a:ext cx="260012" cy="231030"/>
            </a:xfrm>
            <a:prstGeom prst="triangle">
              <a:avLst/>
            </a:prstGeom>
            <a:solidFill>
              <a:schemeClr val="bg1">
                <a:lumMod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5" name="椭圆 4"/>
            <p:cNvSpPr/>
            <p:nvPr/>
          </p:nvSpPr>
          <p:spPr bwMode="auto">
            <a:xfrm rot="1267204">
              <a:off x="766629" y="3417918"/>
              <a:ext cx="1296144" cy="1296148"/>
            </a:xfrm>
            <a:prstGeom prst="ellipse">
              <a:avLst/>
            </a:prstGeom>
            <a:solidFill>
              <a:schemeClr val="bg1">
                <a:lumMod val="5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6" name="直接连接符 5"/>
            <p:cNvCxnSpPr/>
            <p:nvPr/>
          </p:nvCxnSpPr>
          <p:spPr>
            <a:xfrm flipH="1">
              <a:off x="1405457" y="4904050"/>
              <a:ext cx="4940" cy="973223"/>
            </a:xfrm>
            <a:prstGeom prst="line">
              <a:avLst/>
            </a:prstGeom>
            <a:ln w="3810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1086986" y="3861842"/>
              <a:ext cx="657958" cy="380873"/>
            </a:xfrm>
            <a:prstGeom prst="rect">
              <a:avLst/>
            </a:prstGeom>
          </p:spPr>
          <p:txBody>
            <a:bodyPr wrap="none">
              <a:spAutoFit/>
            </a:bodyPr>
            <a:lstStyle/>
            <a:p>
              <a:pPr lvl="0"/>
              <a:r>
                <a:rPr lang="zh-CN" altLang="en-US" sz="2700" dirty="0">
                  <a:solidFill>
                    <a:schemeClr val="bg1"/>
                  </a:solidFill>
                </a:rPr>
                <a:t>实际</a:t>
              </a:r>
            </a:p>
          </p:txBody>
        </p:sp>
      </p:grpSp>
      <p:grpSp>
        <p:nvGrpSpPr>
          <p:cNvPr id="8" name="组合 7"/>
          <p:cNvGrpSpPr/>
          <p:nvPr/>
        </p:nvGrpSpPr>
        <p:grpSpPr>
          <a:xfrm>
            <a:off x="1261378" y="1586312"/>
            <a:ext cx="1727967" cy="5271688"/>
            <a:chOff x="5652120" y="1637647"/>
            <a:chExt cx="1296144" cy="3953766"/>
          </a:xfrm>
        </p:grpSpPr>
        <p:sp>
          <p:nvSpPr>
            <p:cNvPr id="9" name="等腰三角形 8"/>
            <p:cNvSpPr/>
            <p:nvPr/>
          </p:nvSpPr>
          <p:spPr>
            <a:xfrm>
              <a:off x="6196226" y="2892748"/>
              <a:ext cx="260012" cy="231030"/>
            </a:xfrm>
            <a:prstGeom prst="triangl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0" name="椭圆 9"/>
            <p:cNvSpPr/>
            <p:nvPr/>
          </p:nvSpPr>
          <p:spPr bwMode="auto">
            <a:xfrm rot="1267204">
              <a:off x="5652120" y="1637647"/>
              <a:ext cx="1296144" cy="1296148"/>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11" name="直接连接符 10"/>
            <p:cNvCxnSpPr/>
            <p:nvPr/>
          </p:nvCxnSpPr>
          <p:spPr>
            <a:xfrm>
              <a:off x="6321928" y="3123779"/>
              <a:ext cx="0" cy="2467634"/>
            </a:xfrm>
            <a:prstGeom prst="line">
              <a:avLst/>
            </a:prstGeom>
            <a:ln w="38100">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5977418" y="2083559"/>
              <a:ext cx="657958" cy="380873"/>
            </a:xfrm>
            <a:prstGeom prst="rect">
              <a:avLst/>
            </a:prstGeom>
          </p:spPr>
          <p:txBody>
            <a:bodyPr wrap="none">
              <a:spAutoFit/>
            </a:bodyPr>
            <a:lstStyle/>
            <a:p>
              <a:pPr lvl="0"/>
              <a:r>
                <a:rPr lang="zh-CN" altLang="en-US" sz="2700" dirty="0">
                  <a:solidFill>
                    <a:schemeClr val="bg1"/>
                  </a:solidFill>
                </a:rPr>
                <a:t>目标</a:t>
              </a:r>
            </a:p>
          </p:txBody>
        </p:sp>
      </p:grpSp>
      <p:sp>
        <p:nvSpPr>
          <p:cNvPr id="15" name="矩形 14"/>
          <p:cNvSpPr/>
          <p:nvPr/>
        </p:nvSpPr>
        <p:spPr>
          <a:xfrm>
            <a:off x="6180034" y="2084853"/>
            <a:ext cx="1066935" cy="615541"/>
          </a:xfrm>
          <a:prstGeom prst="rect">
            <a:avLst/>
          </a:prstGeom>
        </p:spPr>
        <p:txBody>
          <a:bodyPr wrap="none" lIns="121908" tIns="60954" rIns="121908" bIns="60954">
            <a:spAutoFit/>
          </a:bodyPr>
          <a:lstStyle/>
          <a:p>
            <a:pPr lvl="0" algn="ctr"/>
            <a:r>
              <a:rPr lang="en-US" altLang="zh-CN" sz="3200" dirty="0">
                <a:solidFill>
                  <a:schemeClr val="accent1"/>
                </a:solidFill>
              </a:rPr>
              <a:t>96%</a:t>
            </a:r>
            <a:endParaRPr lang="zh-CN" altLang="en-US" sz="3200" dirty="0">
              <a:solidFill>
                <a:schemeClr val="accent1"/>
              </a:solidFill>
            </a:endParaRPr>
          </a:p>
        </p:txBody>
      </p:sp>
      <p:cxnSp>
        <p:nvCxnSpPr>
          <p:cNvPr id="17" name="直接连接符 16"/>
          <p:cNvCxnSpPr/>
          <p:nvPr/>
        </p:nvCxnSpPr>
        <p:spPr>
          <a:xfrm>
            <a:off x="3024059" y="2447601"/>
            <a:ext cx="316794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4607391" y="4452160"/>
            <a:ext cx="1584608"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2" name="矩形 21"/>
          <p:cNvSpPr/>
          <p:nvPr/>
        </p:nvSpPr>
        <p:spPr>
          <a:xfrm>
            <a:off x="6276032" y="4088051"/>
            <a:ext cx="1066935" cy="615541"/>
          </a:xfrm>
          <a:prstGeom prst="rect">
            <a:avLst/>
          </a:prstGeom>
        </p:spPr>
        <p:txBody>
          <a:bodyPr wrap="none" lIns="121908" tIns="60954" rIns="121908" bIns="60954">
            <a:spAutoFit/>
          </a:bodyPr>
          <a:lstStyle/>
          <a:p>
            <a:pPr lvl="0" algn="ctr"/>
            <a:r>
              <a:rPr lang="en-US" altLang="zh-CN" sz="3200" dirty="0">
                <a:solidFill>
                  <a:schemeClr val="tx1">
                    <a:lumMod val="50000"/>
                    <a:lumOff val="50000"/>
                  </a:schemeClr>
                </a:solidFill>
              </a:rPr>
              <a:t>42%</a:t>
            </a:r>
            <a:endParaRPr lang="zh-CN" altLang="en-US" sz="3200" dirty="0">
              <a:solidFill>
                <a:schemeClr val="tx1">
                  <a:lumMod val="50000"/>
                  <a:lumOff val="50000"/>
                </a:schemeClr>
              </a:solidFill>
            </a:endParaRPr>
          </a:p>
        </p:txBody>
      </p:sp>
      <p:sp>
        <p:nvSpPr>
          <p:cNvPr id="23" name="矩形 67"/>
          <p:cNvSpPr>
            <a:spLocks noChangeArrowheads="1"/>
          </p:cNvSpPr>
          <p:nvPr/>
        </p:nvSpPr>
        <p:spPr bwMode="auto">
          <a:xfrm>
            <a:off x="7230037" y="1929609"/>
            <a:ext cx="4145862" cy="923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08" tIns="60954" rIns="121908" bIns="60954">
            <a:spAutoFit/>
          </a:bodyPr>
          <a:lstStyle/>
          <a:p>
            <a:pPr algn="just">
              <a:lnSpc>
                <a:spcPct val="130000"/>
              </a:lnSpc>
            </a:pPr>
            <a:r>
              <a:rPr lang="zh-CN" altLang="en-US" sz="1300" dirty="0">
                <a:solidFill>
                  <a:schemeClr val="accent1"/>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单击此处添加段落文本</a:t>
            </a:r>
          </a:p>
        </p:txBody>
      </p:sp>
      <p:sp>
        <p:nvSpPr>
          <p:cNvPr id="24" name="矩形 67"/>
          <p:cNvSpPr>
            <a:spLocks noChangeArrowheads="1"/>
          </p:cNvSpPr>
          <p:nvPr/>
        </p:nvSpPr>
        <p:spPr bwMode="auto">
          <a:xfrm>
            <a:off x="7230036" y="3934162"/>
            <a:ext cx="4145862" cy="923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08" tIns="60954" rIns="121908" bIns="60954">
            <a:spAutoFit/>
          </a:bodyPr>
          <a:lstStyle/>
          <a:p>
            <a:pPr algn="just">
              <a:lnSpc>
                <a:spcPct val="130000"/>
              </a:lnSpc>
            </a:pPr>
            <a:r>
              <a:rPr lang="zh-CN" altLang="en-US" sz="1300" dirty="0">
                <a:solidFill>
                  <a:schemeClr val="bg1">
                    <a:lumMod val="65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单击此处添加段落文本</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p:cTn id="17" dur="500" fill="hold"/>
                                        <p:tgtEl>
                                          <p:spTgt spid="15"/>
                                        </p:tgtEl>
                                        <p:attrNameLst>
                                          <p:attrName>ppt_w</p:attrName>
                                        </p:attrNameLst>
                                      </p:cBhvr>
                                      <p:tavLst>
                                        <p:tav tm="0">
                                          <p:val>
                                            <p:fltVal val="0"/>
                                          </p:val>
                                        </p:tav>
                                        <p:tav tm="100000">
                                          <p:val>
                                            <p:strVal val="#ppt_w"/>
                                          </p:val>
                                        </p:tav>
                                      </p:tavLst>
                                    </p:anim>
                                    <p:anim calcmode="lin" valueType="num">
                                      <p:cBhvr>
                                        <p:cTn id="18" dur="500" fill="hold"/>
                                        <p:tgtEl>
                                          <p:spTgt spid="15"/>
                                        </p:tgtEl>
                                        <p:attrNameLst>
                                          <p:attrName>ppt_h</p:attrName>
                                        </p:attrNameLst>
                                      </p:cBhvr>
                                      <p:tavLst>
                                        <p:tav tm="0">
                                          <p:val>
                                            <p:fltVal val="0"/>
                                          </p:val>
                                        </p:tav>
                                        <p:tav tm="100000">
                                          <p:val>
                                            <p:strVal val="#ppt_h"/>
                                          </p:val>
                                        </p:tav>
                                      </p:tavLst>
                                    </p:anim>
                                    <p:animEffect transition="in" filter="fade">
                                      <p:cBhvr>
                                        <p:cTn id="19" dur="500"/>
                                        <p:tgtEl>
                                          <p:spTgt spid="15"/>
                                        </p:tgtEl>
                                      </p:cBhvr>
                                    </p:animEffect>
                                  </p:childTnLst>
                                </p:cTn>
                              </p:par>
                            </p:childTnLst>
                          </p:cTn>
                        </p:par>
                        <p:par>
                          <p:cTn id="20" fill="hold">
                            <p:stCondLst>
                              <p:cond delay="1500"/>
                            </p:stCondLst>
                            <p:childTnLst>
                              <p:par>
                                <p:cTn id="21" presetID="22" presetClass="entr" presetSubtype="8" fill="hold" grpId="0"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left)">
                                      <p:cBhvr>
                                        <p:cTn id="23" dur="500"/>
                                        <p:tgtEl>
                                          <p:spTgt spid="23"/>
                                        </p:tgtEl>
                                      </p:cBhvr>
                                    </p:animEffect>
                                  </p:childTnLst>
                                </p:cTn>
                              </p:par>
                            </p:childTnLst>
                          </p:cTn>
                        </p:par>
                        <p:par>
                          <p:cTn id="24" fill="hold">
                            <p:stCondLst>
                              <p:cond delay="2000"/>
                            </p:stCondLst>
                            <p:childTnLst>
                              <p:par>
                                <p:cTn id="25" presetID="42" presetClass="entr" presetSubtype="0" fill="hold" nodeType="after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anim calcmode="lin" valueType="num">
                                      <p:cBhvr>
                                        <p:cTn id="28" dur="500" fill="hold"/>
                                        <p:tgtEl>
                                          <p:spTgt spid="3"/>
                                        </p:tgtEl>
                                        <p:attrNameLst>
                                          <p:attrName>ppt_x</p:attrName>
                                        </p:attrNameLst>
                                      </p:cBhvr>
                                      <p:tavLst>
                                        <p:tav tm="0">
                                          <p:val>
                                            <p:strVal val="#ppt_x"/>
                                          </p:val>
                                        </p:tav>
                                        <p:tav tm="100000">
                                          <p:val>
                                            <p:strVal val="#ppt_x"/>
                                          </p:val>
                                        </p:tav>
                                      </p:tavLst>
                                    </p:anim>
                                    <p:anim calcmode="lin" valueType="num">
                                      <p:cBhvr>
                                        <p:cTn id="29" dur="500" fill="hold"/>
                                        <p:tgtEl>
                                          <p:spTgt spid="3"/>
                                        </p:tgtEl>
                                        <p:attrNameLst>
                                          <p:attrName>ppt_y</p:attrName>
                                        </p:attrNameLst>
                                      </p:cBhvr>
                                      <p:tavLst>
                                        <p:tav tm="0">
                                          <p:val>
                                            <p:strVal val="#ppt_y+.1"/>
                                          </p:val>
                                        </p:tav>
                                        <p:tav tm="100000">
                                          <p:val>
                                            <p:strVal val="#ppt_y"/>
                                          </p:val>
                                        </p:tav>
                                      </p:tavLst>
                                    </p:anim>
                                  </p:childTnLst>
                                </p:cTn>
                              </p:par>
                            </p:childTnLst>
                          </p:cTn>
                        </p:par>
                        <p:par>
                          <p:cTn id="30" fill="hold">
                            <p:stCondLst>
                              <p:cond delay="2500"/>
                            </p:stCondLst>
                            <p:childTnLst>
                              <p:par>
                                <p:cTn id="31" presetID="22" presetClass="entr" presetSubtype="8" fill="hold"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left)">
                                      <p:cBhvr>
                                        <p:cTn id="33" dur="500"/>
                                        <p:tgtEl>
                                          <p:spTgt spid="19"/>
                                        </p:tgtEl>
                                      </p:cBhvr>
                                    </p:animEffect>
                                  </p:childTnLst>
                                </p:cTn>
                              </p:par>
                            </p:childTnLst>
                          </p:cTn>
                        </p:par>
                        <p:par>
                          <p:cTn id="34" fill="hold">
                            <p:stCondLst>
                              <p:cond delay="3000"/>
                            </p:stCondLst>
                            <p:childTnLst>
                              <p:par>
                                <p:cTn id="35" presetID="53" presetClass="entr" presetSubtype="16" fill="hold" grpId="0" nodeType="afterEffect">
                                  <p:stCondLst>
                                    <p:cond delay="0"/>
                                  </p:stCondLst>
                                  <p:childTnLst>
                                    <p:set>
                                      <p:cBhvr>
                                        <p:cTn id="36" dur="1" fill="hold">
                                          <p:stCondLst>
                                            <p:cond delay="0"/>
                                          </p:stCondLst>
                                        </p:cTn>
                                        <p:tgtEl>
                                          <p:spTgt spid="22"/>
                                        </p:tgtEl>
                                        <p:attrNameLst>
                                          <p:attrName>style.visibility</p:attrName>
                                        </p:attrNameLst>
                                      </p:cBhvr>
                                      <p:to>
                                        <p:strVal val="visible"/>
                                      </p:to>
                                    </p:set>
                                    <p:anim calcmode="lin" valueType="num">
                                      <p:cBhvr>
                                        <p:cTn id="37" dur="500" fill="hold"/>
                                        <p:tgtEl>
                                          <p:spTgt spid="22"/>
                                        </p:tgtEl>
                                        <p:attrNameLst>
                                          <p:attrName>ppt_w</p:attrName>
                                        </p:attrNameLst>
                                      </p:cBhvr>
                                      <p:tavLst>
                                        <p:tav tm="0">
                                          <p:val>
                                            <p:fltVal val="0"/>
                                          </p:val>
                                        </p:tav>
                                        <p:tav tm="100000">
                                          <p:val>
                                            <p:strVal val="#ppt_w"/>
                                          </p:val>
                                        </p:tav>
                                      </p:tavLst>
                                    </p:anim>
                                    <p:anim calcmode="lin" valueType="num">
                                      <p:cBhvr>
                                        <p:cTn id="38" dur="500" fill="hold"/>
                                        <p:tgtEl>
                                          <p:spTgt spid="22"/>
                                        </p:tgtEl>
                                        <p:attrNameLst>
                                          <p:attrName>ppt_h</p:attrName>
                                        </p:attrNameLst>
                                      </p:cBhvr>
                                      <p:tavLst>
                                        <p:tav tm="0">
                                          <p:val>
                                            <p:fltVal val="0"/>
                                          </p:val>
                                        </p:tav>
                                        <p:tav tm="100000">
                                          <p:val>
                                            <p:strVal val="#ppt_h"/>
                                          </p:val>
                                        </p:tav>
                                      </p:tavLst>
                                    </p:anim>
                                    <p:animEffect transition="in" filter="fade">
                                      <p:cBhvr>
                                        <p:cTn id="39" dur="500"/>
                                        <p:tgtEl>
                                          <p:spTgt spid="22"/>
                                        </p:tgtEl>
                                      </p:cBhvr>
                                    </p:animEffect>
                                  </p:childTnLst>
                                </p:cTn>
                              </p:par>
                            </p:childTnLst>
                          </p:cTn>
                        </p:par>
                        <p:par>
                          <p:cTn id="40" fill="hold">
                            <p:stCondLst>
                              <p:cond delay="3500"/>
                            </p:stCondLst>
                            <p:childTnLst>
                              <p:par>
                                <p:cTn id="41" presetID="22" presetClass="entr" presetSubtype="8" fill="hold" grpId="0" nodeType="after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wipe(left)">
                                      <p:cBhvr>
                                        <p:cTn id="4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2" grpId="0"/>
      <p:bldP spid="23" grpId="0"/>
      <p:bldP spid="2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5"/>
          <p:cNvSpPr>
            <a:spLocks noChangeArrowheads="1"/>
          </p:cNvSpPr>
          <p:nvPr/>
        </p:nvSpPr>
        <p:spPr bwMode="auto">
          <a:xfrm>
            <a:off x="5563699" y="3161549"/>
            <a:ext cx="1233855" cy="1231900"/>
          </a:xfrm>
          <a:prstGeom prst="ellipse">
            <a:avLst/>
          </a:prstGeom>
          <a:solidFill>
            <a:sysClr val="window" lastClr="FFFFFF">
              <a:lumMod val="85000"/>
            </a:sysClr>
          </a:solidFill>
          <a:ln>
            <a:noFill/>
          </a:ln>
        </p:spPr>
        <p:txBody>
          <a:bodyPr lIns="0" tIns="0" rIns="0" bIns="0" anchor="ctr"/>
          <a:lstStyle/>
          <a:p>
            <a:pPr algn="ctr" defTabSz="1218565">
              <a:defRPr/>
            </a:pPr>
            <a:r>
              <a:rPr lang="zh-CN" altLang="en-US" sz="3200" b="1" kern="0" dirty="0">
                <a:solidFill>
                  <a:schemeClr val="tx1">
                    <a:lumMod val="50000"/>
                    <a:lumOff val="50000"/>
                  </a:schemeClr>
                </a:solidFill>
                <a:latin typeface="微软雅黑" panose="020B0503020204020204" pitchFamily="34" charset="-122"/>
                <a:ea typeface="微软雅黑" panose="020B0503020204020204" pitchFamily="34" charset="-122"/>
              </a:rPr>
              <a:t>目标</a:t>
            </a:r>
          </a:p>
        </p:txBody>
      </p:sp>
      <p:grpSp>
        <p:nvGrpSpPr>
          <p:cNvPr id="4" name="组合 3"/>
          <p:cNvGrpSpPr/>
          <p:nvPr/>
        </p:nvGrpSpPr>
        <p:grpSpPr>
          <a:xfrm>
            <a:off x="4374286" y="1715865"/>
            <a:ext cx="2302634" cy="2472267"/>
            <a:chOff x="3088977" y="1117152"/>
            <a:chExt cx="1727200" cy="1854200"/>
          </a:xfrm>
        </p:grpSpPr>
        <p:sp>
          <p:nvSpPr>
            <p:cNvPr id="5" name="任意多边形 4"/>
            <p:cNvSpPr/>
            <p:nvPr/>
          </p:nvSpPr>
          <p:spPr>
            <a:xfrm rot="19354201">
              <a:off x="3392189" y="1117152"/>
              <a:ext cx="1423988" cy="1854200"/>
            </a:xfrm>
            <a:custGeom>
              <a:avLst/>
              <a:gdLst>
                <a:gd name="connsiteX0" fmla="*/ 908149 w 1661196"/>
                <a:gd name="connsiteY0" fmla="*/ 116236 h 2161132"/>
                <a:gd name="connsiteX1" fmla="*/ 1045422 w 1661196"/>
                <a:gd name="connsiteY1" fmla="*/ 863815 h 2161132"/>
                <a:gd name="connsiteX2" fmla="*/ 1563639 w 1661196"/>
                <a:gd name="connsiteY2" fmla="*/ 1852839 h 2161132"/>
                <a:gd name="connsiteX3" fmla="*/ 1550532 w 1661196"/>
                <a:gd name="connsiteY3" fmla="*/ 1899767 h 2161132"/>
                <a:gd name="connsiteX4" fmla="*/ 1661196 w 1661196"/>
                <a:gd name="connsiteY4" fmla="*/ 1877382 h 2161132"/>
                <a:gd name="connsiteX5" fmla="*/ 1478236 w 1661196"/>
                <a:gd name="connsiteY5" fmla="*/ 2161132 h 2161132"/>
                <a:gd name="connsiteX6" fmla="*/ 1436046 w 1661196"/>
                <a:gd name="connsiteY6" fmla="*/ 1825812 h 2161132"/>
                <a:gd name="connsiteX7" fmla="*/ 1529211 w 1661196"/>
                <a:gd name="connsiteY7" fmla="*/ 1894840 h 2161132"/>
                <a:gd name="connsiteX8" fmla="*/ 999492 w 1661196"/>
                <a:gd name="connsiteY8" fmla="*/ 935746 h 2161132"/>
                <a:gd name="connsiteX9" fmla="*/ 788637 w 1661196"/>
                <a:gd name="connsiteY9" fmla="*/ 865497 h 2161132"/>
                <a:gd name="connsiteX10" fmla="*/ 139707 w 1661196"/>
                <a:gd name="connsiteY10" fmla="*/ 938417 h 2161132"/>
                <a:gd name="connsiteX11" fmla="*/ 140807 w 1661196"/>
                <a:gd name="connsiteY11" fmla="*/ 936981 h 2161132"/>
                <a:gd name="connsiteX12" fmla="*/ 138269 w 1661196"/>
                <a:gd name="connsiteY12" fmla="*/ 937316 h 2161132"/>
                <a:gd name="connsiteX13" fmla="*/ 110342 w 1661196"/>
                <a:gd name="connsiteY13" fmla="*/ 902271 h 2161132"/>
                <a:gd name="connsiteX14" fmla="*/ 111442 w 1661196"/>
                <a:gd name="connsiteY14" fmla="*/ 900835 h 2161132"/>
                <a:gd name="connsiteX15" fmla="*/ 116237 w 1661196"/>
                <a:gd name="connsiteY15" fmla="*/ 220981 h 2161132"/>
                <a:gd name="connsiteX16" fmla="*/ 908149 w 1661196"/>
                <a:gd name="connsiteY16" fmla="*/ 116236 h 216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61196" h="2161132">
                  <a:moveTo>
                    <a:pt x="908149" y="116236"/>
                  </a:moveTo>
                  <a:cubicBezTo>
                    <a:pt x="1141188" y="294601"/>
                    <a:pt x="1196152" y="619193"/>
                    <a:pt x="1045422" y="863815"/>
                  </a:cubicBezTo>
                  <a:cubicBezTo>
                    <a:pt x="1427287" y="1044447"/>
                    <a:pt x="1652072" y="1451172"/>
                    <a:pt x="1563639" y="1852839"/>
                  </a:cubicBezTo>
                  <a:cubicBezTo>
                    <a:pt x="1558735" y="1874148"/>
                    <a:pt x="1556875" y="1879559"/>
                    <a:pt x="1550532" y="1899767"/>
                  </a:cubicBezTo>
                  <a:cubicBezTo>
                    <a:pt x="1550532" y="1899767"/>
                    <a:pt x="1550532" y="1899767"/>
                    <a:pt x="1661196" y="1877382"/>
                  </a:cubicBezTo>
                  <a:cubicBezTo>
                    <a:pt x="1661196" y="1877382"/>
                    <a:pt x="1661196" y="1877382"/>
                    <a:pt x="1478236" y="2161132"/>
                  </a:cubicBezTo>
                  <a:cubicBezTo>
                    <a:pt x="1478236" y="2161132"/>
                    <a:pt x="1478236" y="2161132"/>
                    <a:pt x="1436046" y="1825812"/>
                  </a:cubicBezTo>
                  <a:cubicBezTo>
                    <a:pt x="1436046" y="1825812"/>
                    <a:pt x="1436046" y="1825812"/>
                    <a:pt x="1529211" y="1894840"/>
                  </a:cubicBezTo>
                  <a:cubicBezTo>
                    <a:pt x="1608930" y="1495617"/>
                    <a:pt x="1380679" y="1111303"/>
                    <a:pt x="999492" y="935746"/>
                  </a:cubicBezTo>
                  <a:cubicBezTo>
                    <a:pt x="998053" y="934645"/>
                    <a:pt x="923084" y="895492"/>
                    <a:pt x="788637" y="865497"/>
                  </a:cubicBezTo>
                  <a:cubicBezTo>
                    <a:pt x="559511" y="813161"/>
                    <a:pt x="329975" y="844813"/>
                    <a:pt x="139707" y="938417"/>
                  </a:cubicBezTo>
                  <a:cubicBezTo>
                    <a:pt x="139707" y="938417"/>
                    <a:pt x="139707" y="938417"/>
                    <a:pt x="140807" y="936981"/>
                  </a:cubicBezTo>
                  <a:cubicBezTo>
                    <a:pt x="140807" y="936981"/>
                    <a:pt x="140807" y="936981"/>
                    <a:pt x="138269" y="937316"/>
                  </a:cubicBezTo>
                  <a:cubicBezTo>
                    <a:pt x="128960" y="925635"/>
                    <a:pt x="119651" y="913953"/>
                    <a:pt x="110342" y="902271"/>
                  </a:cubicBezTo>
                  <a:cubicBezTo>
                    <a:pt x="110342" y="902271"/>
                    <a:pt x="110342" y="902271"/>
                    <a:pt x="111442" y="900835"/>
                  </a:cubicBezTo>
                  <a:cubicBezTo>
                    <a:pt x="-34877" y="704542"/>
                    <a:pt x="-41015" y="426435"/>
                    <a:pt x="116237" y="220981"/>
                  </a:cubicBezTo>
                  <a:cubicBezTo>
                    <a:pt x="305379" y="-26139"/>
                    <a:pt x="660724" y="-73140"/>
                    <a:pt x="908149" y="116236"/>
                  </a:cubicBezTo>
                  <a:close/>
                </a:path>
              </a:pathLst>
            </a:custGeom>
            <a:solidFill>
              <a:schemeClr val="accent2"/>
            </a:solidFill>
            <a:ln w="25400" cap="flat" cmpd="sng" algn="ctr">
              <a:noFill/>
              <a:prstDash val="solid"/>
            </a:ln>
            <a:effectLst/>
          </p:spPr>
          <p:txBody>
            <a:bodyPr anchor="ctr"/>
            <a:lstStyle/>
            <a:p>
              <a:pPr algn="ctr" defTabSz="1218565">
                <a:defRPr/>
              </a:pPr>
              <a:endParaRPr lang="zh-CN" altLang="en-US" sz="1900" kern="0">
                <a:solidFill>
                  <a:srgbClr val="FFFFFF"/>
                </a:solidFill>
                <a:latin typeface="微软雅黑" panose="020B0503020204020204" pitchFamily="34" charset="-122"/>
                <a:ea typeface="微软雅黑" panose="020B0503020204020204" pitchFamily="34" charset="-122"/>
              </a:endParaRPr>
            </a:p>
          </p:txBody>
        </p:sp>
        <p:sp>
          <p:nvSpPr>
            <p:cNvPr id="6" name="文本框 5"/>
            <p:cNvSpPr txBox="1">
              <a:spLocks noChangeArrowheads="1"/>
            </p:cNvSpPr>
            <p:nvPr/>
          </p:nvSpPr>
          <p:spPr bwMode="auto">
            <a:xfrm rot="-2144691">
              <a:off x="3088977" y="1366390"/>
              <a:ext cx="976312" cy="739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defTabSz="1218565">
                <a:spcBef>
                  <a:spcPct val="0"/>
                </a:spcBef>
                <a:buNone/>
                <a:defRPr/>
              </a:pPr>
              <a:r>
                <a:rPr lang="zh-CN" altLang="en-US" sz="2100" kern="0" dirty="0">
                  <a:solidFill>
                    <a:srgbClr val="FFFFFF"/>
                  </a:solidFill>
                  <a:latin typeface="微软雅黑" panose="020B0503020204020204" pitchFamily="34" charset="-122"/>
                  <a:ea typeface="微软雅黑" panose="020B0503020204020204" pitchFamily="34" charset="-122"/>
                </a:rPr>
                <a:t>不想做</a:t>
              </a:r>
            </a:p>
          </p:txBody>
        </p:sp>
      </p:grpSp>
      <p:grpSp>
        <p:nvGrpSpPr>
          <p:cNvPr id="7" name="组合 6"/>
          <p:cNvGrpSpPr/>
          <p:nvPr/>
        </p:nvGrpSpPr>
        <p:grpSpPr>
          <a:xfrm>
            <a:off x="5724545" y="3377448"/>
            <a:ext cx="2340729" cy="2427816"/>
            <a:chOff x="4101802" y="2363340"/>
            <a:chExt cx="1755775" cy="1820862"/>
          </a:xfrm>
        </p:grpSpPr>
        <p:sp>
          <p:nvSpPr>
            <p:cNvPr id="8" name="任意多边形 7"/>
            <p:cNvSpPr/>
            <p:nvPr/>
          </p:nvSpPr>
          <p:spPr>
            <a:xfrm rot="19354201">
              <a:off x="4101802" y="2363340"/>
              <a:ext cx="1471612" cy="1820862"/>
            </a:xfrm>
            <a:custGeom>
              <a:avLst/>
              <a:gdLst>
                <a:gd name="connsiteX0" fmla="*/ 170626 w 1714377"/>
                <a:gd name="connsiteY0" fmla="*/ 0 h 2122351"/>
                <a:gd name="connsiteX1" fmla="*/ 226424 w 1714377"/>
                <a:gd name="connsiteY1" fmla="*/ 332456 h 2122351"/>
                <a:gd name="connsiteX2" fmla="*/ 129951 w 1714377"/>
                <a:gd name="connsiteY2" fmla="*/ 267743 h 2122351"/>
                <a:gd name="connsiteX3" fmla="*/ 699044 w 1714377"/>
                <a:gd name="connsiteY3" fmla="*/ 1205247 h 2122351"/>
                <a:gd name="connsiteX4" fmla="*/ 912591 w 1714377"/>
                <a:gd name="connsiteY4" fmla="*/ 1266026 h 2122351"/>
                <a:gd name="connsiteX5" fmla="*/ 1557090 w 1714377"/>
                <a:gd name="connsiteY5" fmla="*/ 1166130 h 2122351"/>
                <a:gd name="connsiteX6" fmla="*/ 1558528 w 1714377"/>
                <a:gd name="connsiteY6" fmla="*/ 1167231 h 2122351"/>
                <a:gd name="connsiteX7" fmla="*/ 1588987 w 1714377"/>
                <a:gd name="connsiteY7" fmla="*/ 1201951 h 2122351"/>
                <a:gd name="connsiteX8" fmla="*/ 1612029 w 1714377"/>
                <a:gd name="connsiteY8" fmla="*/ 1881220 h 2122351"/>
                <a:gd name="connsiteX9" fmla="*/ 824028 w 1714377"/>
                <a:gd name="connsiteY9" fmla="*/ 2019577 h 2122351"/>
                <a:gd name="connsiteX10" fmla="*/ 655921 w 1714377"/>
                <a:gd name="connsiteY10" fmla="*/ 1279471 h 2122351"/>
                <a:gd name="connsiteX11" fmla="*/ 99456 w 1714377"/>
                <a:gd name="connsiteY11" fmla="*/ 310566 h 2122351"/>
                <a:gd name="connsiteX12" fmla="*/ 110060 w 1714377"/>
                <a:gd name="connsiteY12" fmla="*/ 263926 h 2122351"/>
                <a:gd name="connsiteX13" fmla="*/ 0 w 1714377"/>
                <a:gd name="connsiteY13" fmla="*/ 291480 h 2122351"/>
                <a:gd name="connsiteX14" fmla="*/ 170626 w 1714377"/>
                <a:gd name="connsiteY14" fmla="*/ 0 h 21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4377" h="2122351">
                  <a:moveTo>
                    <a:pt x="170626" y="0"/>
                  </a:moveTo>
                  <a:cubicBezTo>
                    <a:pt x="170626" y="0"/>
                    <a:pt x="170626" y="0"/>
                    <a:pt x="226424" y="332456"/>
                  </a:cubicBezTo>
                  <a:cubicBezTo>
                    <a:pt x="226424" y="332456"/>
                    <a:pt x="226424" y="332456"/>
                    <a:pt x="129951" y="267743"/>
                  </a:cubicBezTo>
                  <a:cubicBezTo>
                    <a:pt x="68389" y="670077"/>
                    <a:pt x="310738" y="1044932"/>
                    <a:pt x="699044" y="1205247"/>
                  </a:cubicBezTo>
                  <a:cubicBezTo>
                    <a:pt x="700482" y="1206348"/>
                    <a:pt x="777667" y="1242610"/>
                    <a:pt x="912591" y="1266026"/>
                  </a:cubicBezTo>
                  <a:cubicBezTo>
                    <a:pt x="1144431" y="1308866"/>
                    <a:pt x="1371655" y="1268319"/>
                    <a:pt x="1557090" y="1166130"/>
                  </a:cubicBezTo>
                  <a:cubicBezTo>
                    <a:pt x="1557090" y="1166130"/>
                    <a:pt x="1557090" y="1166130"/>
                    <a:pt x="1558528" y="1167231"/>
                  </a:cubicBezTo>
                  <a:cubicBezTo>
                    <a:pt x="1570374" y="1178579"/>
                    <a:pt x="1579681" y="1190265"/>
                    <a:pt x="1588987" y="1201951"/>
                  </a:cubicBezTo>
                  <a:cubicBezTo>
                    <a:pt x="1743639" y="1393328"/>
                    <a:pt x="1759762" y="1670320"/>
                    <a:pt x="1612029" y="1881220"/>
                  </a:cubicBezTo>
                  <a:cubicBezTo>
                    <a:pt x="1431600" y="2137819"/>
                    <a:pt x="1079167" y="2198887"/>
                    <a:pt x="824028" y="2019577"/>
                  </a:cubicBezTo>
                  <a:cubicBezTo>
                    <a:pt x="583274" y="1851278"/>
                    <a:pt x="514688" y="1529567"/>
                    <a:pt x="655921" y="1279471"/>
                  </a:cubicBezTo>
                  <a:cubicBezTo>
                    <a:pt x="266941" y="1114077"/>
                    <a:pt x="25533" y="717128"/>
                    <a:pt x="99456" y="310566"/>
                  </a:cubicBezTo>
                  <a:cubicBezTo>
                    <a:pt x="101837" y="289573"/>
                    <a:pt x="103701" y="284156"/>
                    <a:pt x="110060" y="263926"/>
                  </a:cubicBezTo>
                  <a:cubicBezTo>
                    <a:pt x="110060" y="263926"/>
                    <a:pt x="110060" y="263926"/>
                    <a:pt x="0" y="291480"/>
                  </a:cubicBezTo>
                  <a:cubicBezTo>
                    <a:pt x="0" y="291480"/>
                    <a:pt x="0" y="291480"/>
                    <a:pt x="170626" y="0"/>
                  </a:cubicBezTo>
                  <a:close/>
                </a:path>
              </a:pathLst>
            </a:custGeom>
            <a:solidFill>
              <a:schemeClr val="accent4"/>
            </a:solidFill>
            <a:ln w="25400" cap="flat" cmpd="sng" algn="ctr">
              <a:noFill/>
              <a:prstDash val="solid"/>
            </a:ln>
            <a:effectLst/>
          </p:spPr>
          <p:txBody>
            <a:bodyPr anchor="ctr"/>
            <a:lstStyle/>
            <a:p>
              <a:pPr algn="ctr" defTabSz="1218565">
                <a:defRPr/>
              </a:pPr>
              <a:endParaRPr lang="zh-CN" altLang="en-US" sz="1900" kern="0">
                <a:solidFill>
                  <a:srgbClr val="FFFFFF"/>
                </a:solidFill>
                <a:latin typeface="微软雅黑" panose="020B0503020204020204" pitchFamily="34" charset="-122"/>
                <a:ea typeface="微软雅黑" panose="020B0503020204020204" pitchFamily="34" charset="-122"/>
              </a:endParaRPr>
            </a:p>
          </p:txBody>
        </p:sp>
        <p:sp>
          <p:nvSpPr>
            <p:cNvPr id="9" name="文本框 25"/>
            <p:cNvSpPr txBox="1">
              <a:spLocks noChangeArrowheads="1"/>
            </p:cNvSpPr>
            <p:nvPr/>
          </p:nvSpPr>
          <p:spPr bwMode="auto">
            <a:xfrm rot="-2144691">
              <a:off x="4881264" y="3185665"/>
              <a:ext cx="976313" cy="728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defTabSz="1218565">
                <a:spcBef>
                  <a:spcPct val="0"/>
                </a:spcBef>
                <a:buNone/>
                <a:defRPr/>
              </a:pPr>
              <a:r>
                <a:rPr lang="zh-CN" altLang="en-US" sz="2100" kern="0" dirty="0">
                  <a:solidFill>
                    <a:srgbClr val="FFFFFF"/>
                  </a:solidFill>
                  <a:latin typeface="微软雅黑" panose="020B0503020204020204" pitchFamily="34" charset="-122"/>
                </a:rPr>
                <a:t>不好做</a:t>
              </a:r>
            </a:p>
          </p:txBody>
        </p:sp>
      </p:grpSp>
      <p:grpSp>
        <p:nvGrpSpPr>
          <p:cNvPr id="10" name="组合 9"/>
          <p:cNvGrpSpPr/>
          <p:nvPr/>
        </p:nvGrpSpPr>
        <p:grpSpPr>
          <a:xfrm>
            <a:off x="5766872" y="2130731"/>
            <a:ext cx="2501574" cy="2093384"/>
            <a:chOff x="4133552" y="1428302"/>
            <a:chExt cx="1876425" cy="1570038"/>
          </a:xfrm>
        </p:grpSpPr>
        <p:sp>
          <p:nvSpPr>
            <p:cNvPr id="11" name="任意多边形 10"/>
            <p:cNvSpPr/>
            <p:nvPr/>
          </p:nvSpPr>
          <p:spPr>
            <a:xfrm rot="3052925">
              <a:off x="4374058" y="1362421"/>
              <a:ext cx="1395413" cy="1876425"/>
            </a:xfrm>
            <a:custGeom>
              <a:avLst/>
              <a:gdLst>
                <a:gd name="connsiteX0" fmla="*/ 126139 w 1624995"/>
                <a:gd name="connsiteY0" fmla="*/ 208394 h 2186941"/>
                <a:gd name="connsiteX1" fmla="*/ 921298 w 1624995"/>
                <a:gd name="connsiteY1" fmla="*/ 126400 h 2186941"/>
                <a:gd name="connsiteX2" fmla="*/ 1037178 w 1624995"/>
                <a:gd name="connsiteY2" fmla="*/ 876855 h 2186941"/>
                <a:gd name="connsiteX3" fmla="*/ 1525619 w 1624995"/>
                <a:gd name="connsiteY3" fmla="*/ 1881233 h 2186941"/>
                <a:gd name="connsiteX4" fmla="*/ 1511096 w 1624995"/>
                <a:gd name="connsiteY4" fmla="*/ 1927805 h 2186941"/>
                <a:gd name="connsiteX5" fmla="*/ 1624995 w 1624995"/>
                <a:gd name="connsiteY5" fmla="*/ 1908333 h 2186941"/>
                <a:gd name="connsiteX6" fmla="*/ 1433455 w 1624995"/>
                <a:gd name="connsiteY6" fmla="*/ 2186941 h 2186941"/>
                <a:gd name="connsiteX7" fmla="*/ 1401376 w 1624995"/>
                <a:gd name="connsiteY7" fmla="*/ 1850258 h 2186941"/>
                <a:gd name="connsiteX8" fmla="*/ 1492468 w 1624995"/>
                <a:gd name="connsiteY8" fmla="*/ 1921999 h 2186941"/>
                <a:gd name="connsiteX9" fmla="*/ 989073 w 1624995"/>
                <a:gd name="connsiteY9" fmla="*/ 947495 h 2186941"/>
                <a:gd name="connsiteX10" fmla="*/ 781720 w 1624995"/>
                <a:gd name="connsiteY10" fmla="*/ 872288 h 2186941"/>
                <a:gd name="connsiteX11" fmla="*/ 130518 w 1624995"/>
                <a:gd name="connsiteY11" fmla="*/ 926560 h 2186941"/>
                <a:gd name="connsiteX12" fmla="*/ 129113 w 1624995"/>
                <a:gd name="connsiteY12" fmla="*/ 925417 h 2186941"/>
                <a:gd name="connsiteX13" fmla="*/ 102241 w 1624995"/>
                <a:gd name="connsiteY13" fmla="*/ 889552 h 2186941"/>
                <a:gd name="connsiteX14" fmla="*/ 126139 w 1624995"/>
                <a:gd name="connsiteY14" fmla="*/ 208394 h 21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4995" h="2186941">
                  <a:moveTo>
                    <a:pt x="126139" y="208394"/>
                  </a:moveTo>
                  <a:cubicBezTo>
                    <a:pt x="322756" y="-33390"/>
                    <a:pt x="679559" y="-70182"/>
                    <a:pt x="921298" y="126400"/>
                  </a:cubicBezTo>
                  <a:cubicBezTo>
                    <a:pt x="1150126" y="310147"/>
                    <a:pt x="1196710" y="637608"/>
                    <a:pt x="1037178" y="876855"/>
                  </a:cubicBezTo>
                  <a:cubicBezTo>
                    <a:pt x="1413637" y="1068560"/>
                    <a:pt x="1628727" y="1481672"/>
                    <a:pt x="1525619" y="1881233"/>
                  </a:cubicBezTo>
                  <a:cubicBezTo>
                    <a:pt x="1520072" y="1902410"/>
                    <a:pt x="1518048" y="1907770"/>
                    <a:pt x="1511096" y="1927805"/>
                  </a:cubicBezTo>
                  <a:cubicBezTo>
                    <a:pt x="1511096" y="1927805"/>
                    <a:pt x="1511096" y="1927805"/>
                    <a:pt x="1624995" y="1908333"/>
                  </a:cubicBezTo>
                  <a:cubicBezTo>
                    <a:pt x="1624995" y="1908333"/>
                    <a:pt x="1624995" y="1908333"/>
                    <a:pt x="1433455" y="2186941"/>
                  </a:cubicBezTo>
                  <a:cubicBezTo>
                    <a:pt x="1433455" y="2186941"/>
                    <a:pt x="1433455" y="2186941"/>
                    <a:pt x="1401376" y="1850258"/>
                  </a:cubicBezTo>
                  <a:cubicBezTo>
                    <a:pt x="1401376" y="1850258"/>
                    <a:pt x="1401376" y="1850258"/>
                    <a:pt x="1492468" y="1921999"/>
                  </a:cubicBezTo>
                  <a:cubicBezTo>
                    <a:pt x="1583096" y="1526301"/>
                    <a:pt x="1366413" y="1135246"/>
                    <a:pt x="989073" y="947495"/>
                  </a:cubicBezTo>
                  <a:cubicBezTo>
                    <a:pt x="987668" y="946352"/>
                    <a:pt x="913872" y="905024"/>
                    <a:pt x="781720" y="872288"/>
                  </a:cubicBezTo>
                  <a:cubicBezTo>
                    <a:pt x="553004" y="814739"/>
                    <a:pt x="323631" y="838391"/>
                    <a:pt x="130518" y="926560"/>
                  </a:cubicBezTo>
                  <a:cubicBezTo>
                    <a:pt x="130518" y="926560"/>
                    <a:pt x="130518" y="926560"/>
                    <a:pt x="129113" y="925417"/>
                  </a:cubicBezTo>
                  <a:cubicBezTo>
                    <a:pt x="120155" y="913462"/>
                    <a:pt x="111198" y="901507"/>
                    <a:pt x="102241" y="889552"/>
                  </a:cubicBezTo>
                  <a:cubicBezTo>
                    <a:pt x="-39579" y="687818"/>
                    <a:pt x="-35923" y="410555"/>
                    <a:pt x="126139" y="208394"/>
                  </a:cubicBezTo>
                  <a:close/>
                </a:path>
              </a:pathLst>
            </a:custGeom>
            <a:solidFill>
              <a:schemeClr val="accent3"/>
            </a:solidFill>
            <a:ln w="25400" cap="flat" cmpd="sng" algn="ctr">
              <a:noFill/>
              <a:prstDash val="solid"/>
            </a:ln>
            <a:effectLst/>
          </p:spPr>
          <p:txBody>
            <a:bodyPr anchor="ctr"/>
            <a:lstStyle/>
            <a:p>
              <a:pPr algn="ctr" defTabSz="1218565">
                <a:defRPr/>
              </a:pPr>
              <a:endParaRPr lang="zh-CN" altLang="en-US" sz="1900" kern="0">
                <a:solidFill>
                  <a:srgbClr val="FFFFFF"/>
                </a:solidFill>
                <a:latin typeface="微软雅黑" panose="020B0503020204020204" pitchFamily="34" charset="-122"/>
                <a:ea typeface="微软雅黑" panose="020B0503020204020204" pitchFamily="34" charset="-122"/>
              </a:endParaRPr>
            </a:p>
          </p:txBody>
        </p:sp>
        <p:sp>
          <p:nvSpPr>
            <p:cNvPr id="12" name="文本框 26"/>
            <p:cNvSpPr txBox="1">
              <a:spLocks noChangeArrowheads="1"/>
            </p:cNvSpPr>
            <p:nvPr/>
          </p:nvSpPr>
          <p:spPr bwMode="auto">
            <a:xfrm rot="2655997">
              <a:off x="4898727" y="1428302"/>
              <a:ext cx="976312" cy="674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defTabSz="1218565">
                <a:spcBef>
                  <a:spcPct val="0"/>
                </a:spcBef>
                <a:buNone/>
                <a:defRPr/>
              </a:pPr>
              <a:r>
                <a:rPr lang="zh-CN" altLang="en-US" sz="2100" kern="0" dirty="0">
                  <a:solidFill>
                    <a:srgbClr val="FFFFFF"/>
                  </a:solidFill>
                  <a:latin typeface="微软雅黑" panose="020B0503020204020204" pitchFamily="34" charset="-122"/>
                </a:rPr>
                <a:t>不会做</a:t>
              </a:r>
            </a:p>
          </p:txBody>
        </p:sp>
      </p:grpSp>
      <p:grpSp>
        <p:nvGrpSpPr>
          <p:cNvPr id="13" name="组合 12"/>
          <p:cNvGrpSpPr/>
          <p:nvPr/>
        </p:nvGrpSpPr>
        <p:grpSpPr>
          <a:xfrm>
            <a:off x="4160531" y="3332999"/>
            <a:ext cx="2457131" cy="2199217"/>
            <a:chOff x="2928639" y="2330002"/>
            <a:chExt cx="1843088" cy="1649413"/>
          </a:xfrm>
        </p:grpSpPr>
        <p:sp>
          <p:nvSpPr>
            <p:cNvPr id="14" name="任意多边形 13"/>
            <p:cNvSpPr/>
            <p:nvPr/>
          </p:nvSpPr>
          <p:spPr>
            <a:xfrm rot="3052925">
              <a:off x="3131045" y="2127596"/>
              <a:ext cx="1438275" cy="1843088"/>
            </a:xfrm>
            <a:custGeom>
              <a:avLst/>
              <a:gdLst>
                <a:gd name="connsiteX0" fmla="*/ 179163 w 1676437"/>
                <a:gd name="connsiteY0" fmla="*/ 0 h 2149102"/>
                <a:gd name="connsiteX1" fmla="*/ 224993 w 1676437"/>
                <a:gd name="connsiteY1" fmla="*/ 333833 h 2149102"/>
                <a:gd name="connsiteX2" fmla="*/ 130540 w 1676437"/>
                <a:gd name="connsiteY2" fmla="*/ 266364 h 2149102"/>
                <a:gd name="connsiteX3" fmla="*/ 672290 w 1676437"/>
                <a:gd name="connsiteY3" fmla="*/ 1218311 h 2149102"/>
                <a:gd name="connsiteX4" fmla="*/ 882685 w 1676437"/>
                <a:gd name="connsiteY4" fmla="*/ 1286657 h 2149102"/>
                <a:gd name="connsiteX5" fmla="*/ 1530715 w 1676437"/>
                <a:gd name="connsiteY5" fmla="*/ 1204160 h 2149102"/>
                <a:gd name="connsiteX6" fmla="*/ 1532119 w 1676437"/>
                <a:gd name="connsiteY6" fmla="*/ 1205302 h 2149102"/>
                <a:gd name="connsiteX7" fmla="*/ 1561514 w 1676437"/>
                <a:gd name="connsiteY7" fmla="*/ 1240881 h 2149102"/>
                <a:gd name="connsiteX8" fmla="*/ 1564275 w 1676437"/>
                <a:gd name="connsiteY8" fmla="*/ 1920319 h 2149102"/>
                <a:gd name="connsiteX9" fmla="*/ 774275 w 1676437"/>
                <a:gd name="connsiteY9" fmla="*/ 2036816 h 2149102"/>
                <a:gd name="connsiteX10" fmla="*/ 628398 w 1676437"/>
                <a:gd name="connsiteY10" fmla="*/ 1292369 h 2149102"/>
                <a:gd name="connsiteX11" fmla="*/ 97653 w 1676437"/>
                <a:gd name="connsiteY11" fmla="*/ 309675 h 2149102"/>
                <a:gd name="connsiteX12" fmla="*/ 110781 w 1676437"/>
                <a:gd name="connsiteY12" fmla="*/ 261972 h 2149102"/>
                <a:gd name="connsiteX13" fmla="*/ 0 w 1676437"/>
                <a:gd name="connsiteY13" fmla="*/ 286307 h 2149102"/>
                <a:gd name="connsiteX14" fmla="*/ 179163 w 1676437"/>
                <a:gd name="connsiteY14" fmla="*/ 0 h 214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6437" h="2149102">
                  <a:moveTo>
                    <a:pt x="179163" y="0"/>
                  </a:moveTo>
                  <a:cubicBezTo>
                    <a:pt x="179163" y="0"/>
                    <a:pt x="179163" y="0"/>
                    <a:pt x="224993" y="333833"/>
                  </a:cubicBezTo>
                  <a:cubicBezTo>
                    <a:pt x="224993" y="333833"/>
                    <a:pt x="224993" y="333833"/>
                    <a:pt x="130540" y="266364"/>
                  </a:cubicBezTo>
                  <a:cubicBezTo>
                    <a:pt x="57034" y="666613"/>
                    <a:pt x="287980" y="1048235"/>
                    <a:pt x="672290" y="1218311"/>
                  </a:cubicBezTo>
                  <a:cubicBezTo>
                    <a:pt x="673694" y="1219453"/>
                    <a:pt x="748584" y="1259336"/>
                    <a:pt x="882685" y="1286657"/>
                  </a:cubicBezTo>
                  <a:cubicBezTo>
                    <a:pt x="1114177" y="1334797"/>
                    <a:pt x="1342402" y="1300885"/>
                    <a:pt x="1530715" y="1204160"/>
                  </a:cubicBezTo>
                  <a:cubicBezTo>
                    <a:pt x="1530715" y="1204160"/>
                    <a:pt x="1530715" y="1204160"/>
                    <a:pt x="1532119" y="1205302"/>
                  </a:cubicBezTo>
                  <a:cubicBezTo>
                    <a:pt x="1543615" y="1216986"/>
                    <a:pt x="1552564" y="1228933"/>
                    <a:pt x="1561514" y="1240881"/>
                  </a:cubicBezTo>
                  <a:cubicBezTo>
                    <a:pt x="1710316" y="1436612"/>
                    <a:pt x="1718162" y="1713868"/>
                    <a:pt x="1564275" y="1920319"/>
                  </a:cubicBezTo>
                  <a:cubicBezTo>
                    <a:pt x="1377763" y="2172628"/>
                    <a:pt x="1023832" y="2223409"/>
                    <a:pt x="774275" y="2036816"/>
                  </a:cubicBezTo>
                  <a:cubicBezTo>
                    <a:pt x="538762" y="1861643"/>
                    <a:pt x="478693" y="1539583"/>
                    <a:pt x="628398" y="1292369"/>
                  </a:cubicBezTo>
                  <a:cubicBezTo>
                    <a:pt x="243304" y="1114650"/>
                    <a:pt x="12814" y="712383"/>
                    <a:pt x="97653" y="309675"/>
                  </a:cubicBezTo>
                  <a:cubicBezTo>
                    <a:pt x="103204" y="288503"/>
                    <a:pt x="105229" y="283144"/>
                    <a:pt x="110781" y="261972"/>
                  </a:cubicBezTo>
                  <a:cubicBezTo>
                    <a:pt x="110781" y="261972"/>
                    <a:pt x="110781" y="261972"/>
                    <a:pt x="0" y="286307"/>
                  </a:cubicBezTo>
                  <a:cubicBezTo>
                    <a:pt x="0" y="286307"/>
                    <a:pt x="0" y="286307"/>
                    <a:pt x="179163" y="0"/>
                  </a:cubicBezTo>
                  <a:close/>
                </a:path>
              </a:pathLst>
            </a:custGeom>
            <a:solidFill>
              <a:schemeClr val="accent1"/>
            </a:solidFill>
            <a:ln w="25400" cap="flat" cmpd="sng" algn="ctr">
              <a:noFill/>
              <a:prstDash val="solid"/>
            </a:ln>
            <a:effectLst/>
          </p:spPr>
          <p:txBody>
            <a:bodyPr anchor="ctr"/>
            <a:lstStyle/>
            <a:p>
              <a:pPr algn="ctr" defTabSz="1218565">
                <a:defRPr/>
              </a:pPr>
              <a:endParaRPr lang="zh-CN" altLang="en-US" sz="1900" kern="0">
                <a:solidFill>
                  <a:srgbClr val="FFFFFF"/>
                </a:solidFill>
                <a:latin typeface="微软雅黑" panose="020B0503020204020204" pitchFamily="34" charset="-122"/>
                <a:ea typeface="微软雅黑" panose="020B0503020204020204" pitchFamily="34" charset="-122"/>
              </a:endParaRPr>
            </a:p>
          </p:txBody>
        </p:sp>
        <p:sp>
          <p:nvSpPr>
            <p:cNvPr id="15" name="文本框 27"/>
            <p:cNvSpPr txBox="1">
              <a:spLocks noChangeArrowheads="1"/>
            </p:cNvSpPr>
            <p:nvPr/>
          </p:nvSpPr>
          <p:spPr bwMode="auto">
            <a:xfrm rot="2655997">
              <a:off x="3079452" y="3211065"/>
              <a:ext cx="976312" cy="768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defTabSz="1218565">
                <a:spcBef>
                  <a:spcPct val="0"/>
                </a:spcBef>
                <a:buNone/>
                <a:defRPr/>
              </a:pPr>
              <a:r>
                <a:rPr lang="zh-CN" altLang="en-US" sz="2100" kern="0" dirty="0">
                  <a:solidFill>
                    <a:srgbClr val="FFFFFF"/>
                  </a:solidFill>
                  <a:latin typeface="微软雅黑" panose="020B0503020204020204" pitchFamily="34" charset="-122"/>
                </a:rPr>
                <a:t>做不好</a:t>
              </a:r>
            </a:p>
          </p:txBody>
        </p:sp>
      </p:grpSp>
      <p:sp>
        <p:nvSpPr>
          <p:cNvPr id="16" name="矩形 15"/>
          <p:cNvSpPr/>
          <p:nvPr/>
        </p:nvSpPr>
        <p:spPr>
          <a:xfrm>
            <a:off x="8022944" y="1727118"/>
            <a:ext cx="2537552" cy="1539595"/>
          </a:xfrm>
          <a:prstGeom prst="rect">
            <a:avLst/>
          </a:prstGeom>
        </p:spPr>
        <p:txBody>
          <a:bodyPr lIns="121908" tIns="60954" rIns="121908" bIns="60954" anchor="ctr"/>
          <a:lstStyle/>
          <a:p>
            <a:pPr algn="just" defTabSz="1218565">
              <a:lnSpc>
                <a:spcPct val="120000"/>
              </a:lnSpc>
              <a:defRPr/>
            </a:pPr>
            <a:r>
              <a:rPr lang="zh-CN" altLang="en-US" sz="1600" kern="0" dirty="0">
                <a:solidFill>
                  <a:schemeClr val="tx1">
                    <a:lumMod val="50000"/>
                    <a:lumOff val="50000"/>
                  </a:schemeClr>
                </a:solidFill>
                <a:latin typeface="微软雅黑" panose="020B0503020204020204" pitchFamily="34" charset="-122"/>
              </a:rPr>
              <a:t>单击此处添加段落文本，单击此处添加段落文本，单击此处添加段落文本。</a:t>
            </a:r>
          </a:p>
        </p:txBody>
      </p:sp>
      <p:sp>
        <p:nvSpPr>
          <p:cNvPr id="17" name="矩形 16"/>
          <p:cNvSpPr/>
          <p:nvPr/>
        </p:nvSpPr>
        <p:spPr>
          <a:xfrm>
            <a:off x="8022944" y="4129228"/>
            <a:ext cx="2537552" cy="1542325"/>
          </a:xfrm>
          <a:prstGeom prst="rect">
            <a:avLst/>
          </a:prstGeom>
        </p:spPr>
        <p:txBody>
          <a:bodyPr lIns="121908" tIns="60954" rIns="121908" bIns="60954" anchor="ctr"/>
          <a:lstStyle/>
          <a:p>
            <a:pPr algn="just" defTabSz="1218565">
              <a:lnSpc>
                <a:spcPct val="120000"/>
              </a:lnSpc>
              <a:defRPr/>
            </a:pPr>
            <a:r>
              <a:rPr lang="zh-CN" altLang="en-US" sz="1600" kern="0" dirty="0">
                <a:solidFill>
                  <a:schemeClr val="tx1">
                    <a:lumMod val="50000"/>
                    <a:lumOff val="50000"/>
                  </a:schemeClr>
                </a:solidFill>
                <a:latin typeface="微软雅黑" panose="020B0503020204020204" pitchFamily="34" charset="-122"/>
              </a:rPr>
              <a:t>单击此处添加段落文本，单击此处添加段落文本，单击此处添加段落文本。</a:t>
            </a:r>
          </a:p>
        </p:txBody>
      </p:sp>
      <p:sp>
        <p:nvSpPr>
          <p:cNvPr id="18" name="矩形 17"/>
          <p:cNvSpPr/>
          <p:nvPr/>
        </p:nvSpPr>
        <p:spPr>
          <a:xfrm>
            <a:off x="1883293" y="1699991"/>
            <a:ext cx="2537554" cy="1593848"/>
          </a:xfrm>
          <a:prstGeom prst="rect">
            <a:avLst/>
          </a:prstGeom>
        </p:spPr>
        <p:txBody>
          <a:bodyPr lIns="121908" tIns="60954" rIns="121908" bIns="60954" anchor="ctr"/>
          <a:lstStyle/>
          <a:p>
            <a:pPr algn="just" defTabSz="1218565">
              <a:lnSpc>
                <a:spcPct val="120000"/>
              </a:lnSpc>
              <a:defRPr/>
            </a:pPr>
            <a:r>
              <a:rPr lang="zh-CN" altLang="en-US" sz="1600" kern="0" dirty="0">
                <a:solidFill>
                  <a:schemeClr val="tx1">
                    <a:lumMod val="50000"/>
                    <a:lumOff val="50000"/>
                  </a:schemeClr>
                </a:solidFill>
                <a:latin typeface="微软雅黑" panose="020B0503020204020204" pitchFamily="34" charset="-122"/>
              </a:rPr>
              <a:t>单击此处添加段落文本，单击此处添加段落文本，单击此处添加段落文本。</a:t>
            </a:r>
          </a:p>
        </p:txBody>
      </p:sp>
      <p:sp>
        <p:nvSpPr>
          <p:cNvPr id="19" name="矩形 18"/>
          <p:cNvSpPr/>
          <p:nvPr/>
        </p:nvSpPr>
        <p:spPr>
          <a:xfrm>
            <a:off x="1883293" y="4129228"/>
            <a:ext cx="2537554" cy="1542325"/>
          </a:xfrm>
          <a:prstGeom prst="rect">
            <a:avLst/>
          </a:prstGeom>
        </p:spPr>
        <p:txBody>
          <a:bodyPr lIns="121908" tIns="60954" rIns="121908" bIns="60954" anchor="ctr"/>
          <a:lstStyle/>
          <a:p>
            <a:pPr algn="just" defTabSz="1218565">
              <a:lnSpc>
                <a:spcPct val="120000"/>
              </a:lnSpc>
              <a:defRPr/>
            </a:pPr>
            <a:r>
              <a:rPr lang="zh-CN" altLang="en-US" sz="1600" kern="0" dirty="0">
                <a:solidFill>
                  <a:schemeClr val="tx1">
                    <a:lumMod val="50000"/>
                    <a:lumOff val="50000"/>
                  </a:schemeClr>
                </a:solidFill>
                <a:latin typeface="微软雅黑" panose="020B0503020204020204" pitchFamily="34" charset="-122"/>
              </a:rPr>
              <a:t>单击此处添加段落文本，单击此处添加段落文本，单击此处添加段落文本。</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style.rotation</p:attrName>
                                        </p:attrNameLst>
                                      </p:cBhvr>
                                      <p:tavLst>
                                        <p:tav tm="0">
                                          <p:val>
                                            <p:fltVal val="720"/>
                                          </p:val>
                                        </p:tav>
                                        <p:tav tm="100000">
                                          <p:val>
                                            <p:fltVal val="0"/>
                                          </p:val>
                                        </p:tav>
                                      </p:tavLst>
                                    </p:anim>
                                    <p:anim calcmode="lin" valueType="num">
                                      <p:cBhvr>
                                        <p:cTn id="9" dur="500" fill="hold"/>
                                        <p:tgtEl>
                                          <p:spTgt spid="4"/>
                                        </p:tgtEl>
                                        <p:attrNameLst>
                                          <p:attrName>ppt_h</p:attrName>
                                        </p:attrNameLst>
                                      </p:cBhvr>
                                      <p:tavLst>
                                        <p:tav tm="0">
                                          <p:val>
                                            <p:fltVal val="0"/>
                                          </p:val>
                                        </p:tav>
                                        <p:tav tm="100000">
                                          <p:val>
                                            <p:strVal val="#ppt_h"/>
                                          </p:val>
                                        </p:tav>
                                      </p:tavLst>
                                    </p:anim>
                                    <p:anim calcmode="lin" valueType="num">
                                      <p:cBhvr>
                                        <p:cTn id="10" dur="500" fill="hold"/>
                                        <p:tgtEl>
                                          <p:spTgt spid="4"/>
                                        </p:tgtEl>
                                        <p:attrNameLst>
                                          <p:attrName>ppt_w</p:attrName>
                                        </p:attrNameLst>
                                      </p:cBhvr>
                                      <p:tavLst>
                                        <p:tav tm="0">
                                          <p:val>
                                            <p:fltVal val="0"/>
                                          </p:val>
                                        </p:tav>
                                        <p:tav tm="100000">
                                          <p:val>
                                            <p:strVal val="#ppt_w"/>
                                          </p:val>
                                        </p:tav>
                                      </p:tavLst>
                                    </p:anim>
                                  </p:childTnLst>
                                </p:cTn>
                              </p:par>
                              <p:par>
                                <p:cTn id="11" presetID="35"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anim calcmode="lin" valueType="num">
                                      <p:cBhvr>
                                        <p:cTn id="14" dur="500" fill="hold"/>
                                        <p:tgtEl>
                                          <p:spTgt spid="10"/>
                                        </p:tgtEl>
                                        <p:attrNameLst>
                                          <p:attrName>style.rotation</p:attrName>
                                        </p:attrNameLst>
                                      </p:cBhvr>
                                      <p:tavLst>
                                        <p:tav tm="0">
                                          <p:val>
                                            <p:fltVal val="720"/>
                                          </p:val>
                                        </p:tav>
                                        <p:tav tm="100000">
                                          <p:val>
                                            <p:fltVal val="0"/>
                                          </p:val>
                                        </p:tav>
                                      </p:tavLst>
                                    </p:anim>
                                    <p:anim calcmode="lin" valueType="num">
                                      <p:cBhvr>
                                        <p:cTn id="15" dur="500" fill="hold"/>
                                        <p:tgtEl>
                                          <p:spTgt spid="10"/>
                                        </p:tgtEl>
                                        <p:attrNameLst>
                                          <p:attrName>ppt_h</p:attrName>
                                        </p:attrNameLst>
                                      </p:cBhvr>
                                      <p:tavLst>
                                        <p:tav tm="0">
                                          <p:val>
                                            <p:fltVal val="0"/>
                                          </p:val>
                                        </p:tav>
                                        <p:tav tm="100000">
                                          <p:val>
                                            <p:strVal val="#ppt_h"/>
                                          </p:val>
                                        </p:tav>
                                      </p:tavLst>
                                    </p:anim>
                                    <p:anim calcmode="lin" valueType="num">
                                      <p:cBhvr>
                                        <p:cTn id="16" dur="500" fill="hold"/>
                                        <p:tgtEl>
                                          <p:spTgt spid="10"/>
                                        </p:tgtEl>
                                        <p:attrNameLst>
                                          <p:attrName>ppt_w</p:attrName>
                                        </p:attrNameLst>
                                      </p:cBhvr>
                                      <p:tavLst>
                                        <p:tav tm="0">
                                          <p:val>
                                            <p:fltVal val="0"/>
                                          </p:val>
                                        </p:tav>
                                        <p:tav tm="100000">
                                          <p:val>
                                            <p:strVal val="#ppt_w"/>
                                          </p:val>
                                        </p:tav>
                                      </p:tavLst>
                                    </p:anim>
                                  </p:childTnLst>
                                </p:cTn>
                              </p:par>
                              <p:par>
                                <p:cTn id="17" presetID="35"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anim calcmode="lin" valueType="num">
                                      <p:cBhvr>
                                        <p:cTn id="20" dur="500" fill="hold"/>
                                        <p:tgtEl>
                                          <p:spTgt spid="7"/>
                                        </p:tgtEl>
                                        <p:attrNameLst>
                                          <p:attrName>style.rotation</p:attrName>
                                        </p:attrNameLst>
                                      </p:cBhvr>
                                      <p:tavLst>
                                        <p:tav tm="0">
                                          <p:val>
                                            <p:fltVal val="720"/>
                                          </p:val>
                                        </p:tav>
                                        <p:tav tm="100000">
                                          <p:val>
                                            <p:fltVal val="0"/>
                                          </p:val>
                                        </p:tav>
                                      </p:tavLst>
                                    </p:anim>
                                    <p:anim calcmode="lin" valueType="num">
                                      <p:cBhvr>
                                        <p:cTn id="21" dur="500" fill="hold"/>
                                        <p:tgtEl>
                                          <p:spTgt spid="7"/>
                                        </p:tgtEl>
                                        <p:attrNameLst>
                                          <p:attrName>ppt_h</p:attrName>
                                        </p:attrNameLst>
                                      </p:cBhvr>
                                      <p:tavLst>
                                        <p:tav tm="0">
                                          <p:val>
                                            <p:fltVal val="0"/>
                                          </p:val>
                                        </p:tav>
                                        <p:tav tm="100000">
                                          <p:val>
                                            <p:strVal val="#ppt_h"/>
                                          </p:val>
                                        </p:tav>
                                      </p:tavLst>
                                    </p:anim>
                                    <p:anim calcmode="lin" valueType="num">
                                      <p:cBhvr>
                                        <p:cTn id="22" dur="500" fill="hold"/>
                                        <p:tgtEl>
                                          <p:spTgt spid="7"/>
                                        </p:tgtEl>
                                        <p:attrNameLst>
                                          <p:attrName>ppt_w</p:attrName>
                                        </p:attrNameLst>
                                      </p:cBhvr>
                                      <p:tavLst>
                                        <p:tav tm="0">
                                          <p:val>
                                            <p:fltVal val="0"/>
                                          </p:val>
                                        </p:tav>
                                        <p:tav tm="100000">
                                          <p:val>
                                            <p:strVal val="#ppt_w"/>
                                          </p:val>
                                        </p:tav>
                                      </p:tavLst>
                                    </p:anim>
                                  </p:childTnLst>
                                </p:cTn>
                              </p:par>
                              <p:par>
                                <p:cTn id="23" presetID="35"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anim calcmode="lin" valueType="num">
                                      <p:cBhvr>
                                        <p:cTn id="26" dur="500" fill="hold"/>
                                        <p:tgtEl>
                                          <p:spTgt spid="13"/>
                                        </p:tgtEl>
                                        <p:attrNameLst>
                                          <p:attrName>style.rotation</p:attrName>
                                        </p:attrNameLst>
                                      </p:cBhvr>
                                      <p:tavLst>
                                        <p:tav tm="0">
                                          <p:val>
                                            <p:fltVal val="720"/>
                                          </p:val>
                                        </p:tav>
                                        <p:tav tm="100000">
                                          <p:val>
                                            <p:fltVal val="0"/>
                                          </p:val>
                                        </p:tav>
                                      </p:tavLst>
                                    </p:anim>
                                    <p:anim calcmode="lin" valueType="num">
                                      <p:cBhvr>
                                        <p:cTn id="27" dur="500" fill="hold"/>
                                        <p:tgtEl>
                                          <p:spTgt spid="13"/>
                                        </p:tgtEl>
                                        <p:attrNameLst>
                                          <p:attrName>ppt_h</p:attrName>
                                        </p:attrNameLst>
                                      </p:cBhvr>
                                      <p:tavLst>
                                        <p:tav tm="0">
                                          <p:val>
                                            <p:fltVal val="0"/>
                                          </p:val>
                                        </p:tav>
                                        <p:tav tm="100000">
                                          <p:val>
                                            <p:strVal val="#ppt_h"/>
                                          </p:val>
                                        </p:tav>
                                      </p:tavLst>
                                    </p:anim>
                                    <p:anim calcmode="lin" valueType="num">
                                      <p:cBhvr>
                                        <p:cTn id="28" dur="500" fill="hold"/>
                                        <p:tgtEl>
                                          <p:spTgt spid="13"/>
                                        </p:tgtEl>
                                        <p:attrNameLst>
                                          <p:attrName>ppt_w</p:attrName>
                                        </p:attrNameLst>
                                      </p:cBhvr>
                                      <p:tavLst>
                                        <p:tav tm="0">
                                          <p:val>
                                            <p:fltVal val="0"/>
                                          </p:val>
                                        </p:tav>
                                        <p:tav tm="100000">
                                          <p:val>
                                            <p:strVal val="#ppt_w"/>
                                          </p:val>
                                        </p:tav>
                                      </p:tavLst>
                                    </p:anim>
                                  </p:childTnLst>
                                </p:cTn>
                              </p:par>
                              <p:par>
                                <p:cTn id="29" presetID="53" presetClass="entr" presetSubtype="16" fill="hold" grpId="0" nodeType="withEffect">
                                  <p:stCondLst>
                                    <p:cond delay="300"/>
                                  </p:stCondLst>
                                  <p:childTnLst>
                                    <p:set>
                                      <p:cBhvr>
                                        <p:cTn id="30" dur="1" fill="hold">
                                          <p:stCondLst>
                                            <p:cond delay="0"/>
                                          </p:stCondLst>
                                        </p:cTn>
                                        <p:tgtEl>
                                          <p:spTgt spid="3"/>
                                        </p:tgtEl>
                                        <p:attrNameLst>
                                          <p:attrName>style.visibility</p:attrName>
                                        </p:attrNameLst>
                                      </p:cBhvr>
                                      <p:to>
                                        <p:strVal val="visible"/>
                                      </p:to>
                                    </p:set>
                                    <p:anim calcmode="lin" valueType="num">
                                      <p:cBhvr>
                                        <p:cTn id="31" dur="500" fill="hold"/>
                                        <p:tgtEl>
                                          <p:spTgt spid="3"/>
                                        </p:tgtEl>
                                        <p:attrNameLst>
                                          <p:attrName>ppt_w</p:attrName>
                                        </p:attrNameLst>
                                      </p:cBhvr>
                                      <p:tavLst>
                                        <p:tav tm="0">
                                          <p:val>
                                            <p:fltVal val="0"/>
                                          </p:val>
                                        </p:tav>
                                        <p:tav tm="100000">
                                          <p:val>
                                            <p:strVal val="#ppt_w"/>
                                          </p:val>
                                        </p:tav>
                                      </p:tavLst>
                                    </p:anim>
                                    <p:anim calcmode="lin" valueType="num">
                                      <p:cBhvr>
                                        <p:cTn id="32" dur="500" fill="hold"/>
                                        <p:tgtEl>
                                          <p:spTgt spid="3"/>
                                        </p:tgtEl>
                                        <p:attrNameLst>
                                          <p:attrName>ppt_h</p:attrName>
                                        </p:attrNameLst>
                                      </p:cBhvr>
                                      <p:tavLst>
                                        <p:tav tm="0">
                                          <p:val>
                                            <p:fltVal val="0"/>
                                          </p:val>
                                        </p:tav>
                                        <p:tav tm="100000">
                                          <p:val>
                                            <p:strVal val="#ppt_h"/>
                                          </p:val>
                                        </p:tav>
                                      </p:tavLst>
                                    </p:anim>
                                    <p:animEffect transition="in" filter="fade">
                                      <p:cBhvr>
                                        <p:cTn id="33" dur="500"/>
                                        <p:tgtEl>
                                          <p:spTgt spid="3"/>
                                        </p:tgtEl>
                                      </p:cBhvr>
                                    </p:animEffect>
                                  </p:childTnLst>
                                </p:cTn>
                              </p:par>
                            </p:childTnLst>
                          </p:cTn>
                        </p:par>
                        <p:par>
                          <p:cTn id="34" fill="hold">
                            <p:stCondLst>
                              <p:cond delay="500"/>
                            </p:stCondLst>
                            <p:childTnLst>
                              <p:par>
                                <p:cTn id="35" presetID="2" presetClass="entr" presetSubtype="8" fill="hold" grpId="0" nodeType="after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additive="base">
                                        <p:cTn id="37" dur="500" fill="hold"/>
                                        <p:tgtEl>
                                          <p:spTgt spid="18"/>
                                        </p:tgtEl>
                                        <p:attrNameLst>
                                          <p:attrName>ppt_x</p:attrName>
                                        </p:attrNameLst>
                                      </p:cBhvr>
                                      <p:tavLst>
                                        <p:tav tm="0">
                                          <p:val>
                                            <p:strVal val="0-#ppt_w/2"/>
                                          </p:val>
                                        </p:tav>
                                        <p:tav tm="100000">
                                          <p:val>
                                            <p:strVal val="#ppt_x"/>
                                          </p:val>
                                        </p:tav>
                                      </p:tavLst>
                                    </p:anim>
                                    <p:anim calcmode="lin" valueType="num">
                                      <p:cBhvr additive="base">
                                        <p:cTn id="38" dur="500" fill="hold"/>
                                        <p:tgtEl>
                                          <p:spTgt spid="18"/>
                                        </p:tgtEl>
                                        <p:attrNameLst>
                                          <p:attrName>ppt_y</p:attrName>
                                        </p:attrNameLst>
                                      </p:cBhvr>
                                      <p:tavLst>
                                        <p:tav tm="0">
                                          <p:val>
                                            <p:strVal val="#ppt_y"/>
                                          </p:val>
                                        </p:tav>
                                        <p:tav tm="100000">
                                          <p:val>
                                            <p:strVal val="#ppt_y"/>
                                          </p:val>
                                        </p:tav>
                                      </p:tavLst>
                                    </p:anim>
                                  </p:childTnLst>
                                </p:cTn>
                              </p:par>
                              <p:par>
                                <p:cTn id="39" presetID="2" presetClass="entr" presetSubtype="2"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1+#ppt_w/2"/>
                                          </p:val>
                                        </p:tav>
                                        <p:tav tm="100000">
                                          <p:val>
                                            <p:strVal val="#ppt_x"/>
                                          </p:val>
                                        </p:tav>
                                      </p:tavLst>
                                    </p:anim>
                                    <p:anim calcmode="lin" valueType="num">
                                      <p:cBhvr additive="base">
                                        <p:cTn id="42" dur="500" fill="hold"/>
                                        <p:tgtEl>
                                          <p:spTgt spid="16"/>
                                        </p:tgtEl>
                                        <p:attrNameLst>
                                          <p:attrName>ppt_y</p:attrName>
                                        </p:attrNameLst>
                                      </p:cBhvr>
                                      <p:tavLst>
                                        <p:tav tm="0">
                                          <p:val>
                                            <p:strVal val="#ppt_y"/>
                                          </p:val>
                                        </p:tav>
                                        <p:tav tm="100000">
                                          <p:val>
                                            <p:strVal val="#ppt_y"/>
                                          </p:val>
                                        </p:tav>
                                      </p:tavLst>
                                    </p:anim>
                                  </p:childTnLst>
                                </p:cTn>
                              </p:par>
                              <p:par>
                                <p:cTn id="43" presetID="2" presetClass="entr" presetSubtype="8" fill="hold" grpId="0" nodeType="withEffect">
                                  <p:stCondLst>
                                    <p:cond delay="30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0-#ppt_w/2"/>
                                          </p:val>
                                        </p:tav>
                                        <p:tav tm="100000">
                                          <p:val>
                                            <p:strVal val="#ppt_x"/>
                                          </p:val>
                                        </p:tav>
                                      </p:tavLst>
                                    </p:anim>
                                    <p:anim calcmode="lin" valueType="num">
                                      <p:cBhvr additive="base">
                                        <p:cTn id="46" dur="500" fill="hold"/>
                                        <p:tgtEl>
                                          <p:spTgt spid="19"/>
                                        </p:tgtEl>
                                        <p:attrNameLst>
                                          <p:attrName>ppt_y</p:attrName>
                                        </p:attrNameLst>
                                      </p:cBhvr>
                                      <p:tavLst>
                                        <p:tav tm="0">
                                          <p:val>
                                            <p:strVal val="#ppt_y"/>
                                          </p:val>
                                        </p:tav>
                                        <p:tav tm="100000">
                                          <p:val>
                                            <p:strVal val="#ppt_y"/>
                                          </p:val>
                                        </p:tav>
                                      </p:tavLst>
                                    </p:anim>
                                  </p:childTnLst>
                                </p:cTn>
                              </p:par>
                              <p:par>
                                <p:cTn id="47" presetID="2" presetClass="entr" presetSubtype="2" fill="hold" grpId="0" nodeType="withEffect">
                                  <p:stCondLst>
                                    <p:cond delay="300"/>
                                  </p:stCondLst>
                                  <p:childTnLst>
                                    <p:set>
                                      <p:cBhvr>
                                        <p:cTn id="48" dur="1" fill="hold">
                                          <p:stCondLst>
                                            <p:cond delay="0"/>
                                          </p:stCondLst>
                                        </p:cTn>
                                        <p:tgtEl>
                                          <p:spTgt spid="17"/>
                                        </p:tgtEl>
                                        <p:attrNameLst>
                                          <p:attrName>style.visibility</p:attrName>
                                        </p:attrNameLst>
                                      </p:cBhvr>
                                      <p:to>
                                        <p:strVal val="visible"/>
                                      </p:to>
                                    </p:set>
                                    <p:anim calcmode="lin" valueType="num">
                                      <p:cBhvr additive="base">
                                        <p:cTn id="49" dur="500" fill="hold"/>
                                        <p:tgtEl>
                                          <p:spTgt spid="17"/>
                                        </p:tgtEl>
                                        <p:attrNameLst>
                                          <p:attrName>ppt_x</p:attrName>
                                        </p:attrNameLst>
                                      </p:cBhvr>
                                      <p:tavLst>
                                        <p:tav tm="0">
                                          <p:val>
                                            <p:strVal val="1+#ppt_w/2"/>
                                          </p:val>
                                        </p:tav>
                                        <p:tav tm="100000">
                                          <p:val>
                                            <p:strVal val="#ppt_x"/>
                                          </p:val>
                                        </p:tav>
                                      </p:tavLst>
                                    </p:anim>
                                    <p:anim calcmode="lin" valueType="num">
                                      <p:cBhvr additive="base">
                                        <p:cTn id="50"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6" grpId="0"/>
      <p:bldP spid="17" grpId="0"/>
      <p:bldP spid="18" grpId="0"/>
      <p:bldP spid="1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3216056" y="1220757"/>
            <a:ext cx="4858018" cy="5656809"/>
            <a:chOff x="2411760" y="915566"/>
            <a:chExt cx="3643988" cy="4242607"/>
          </a:xfrm>
        </p:grpSpPr>
        <p:sp>
          <p:nvSpPr>
            <p:cNvPr id="3" name="任意多边形 2"/>
            <p:cNvSpPr/>
            <p:nvPr/>
          </p:nvSpPr>
          <p:spPr>
            <a:xfrm rot="17958096">
              <a:off x="2722157" y="2785860"/>
              <a:ext cx="1159234" cy="1780027"/>
            </a:xfrm>
            <a:custGeom>
              <a:avLst/>
              <a:gdLst>
                <a:gd name="connsiteX0" fmla="*/ 410370 w 820739"/>
                <a:gd name="connsiteY0" fmla="*/ 0 h 1260220"/>
                <a:gd name="connsiteX1" fmla="*/ 516276 w 820739"/>
                <a:gd name="connsiteY1" fmla="*/ 57484 h 1260220"/>
                <a:gd name="connsiteX2" fmla="*/ 820739 w 820739"/>
                <a:gd name="connsiteY2" fmla="*/ 630110 h 1260220"/>
                <a:gd name="connsiteX3" fmla="*/ 516276 w 820739"/>
                <a:gd name="connsiteY3" fmla="*/ 1202736 h 1260220"/>
                <a:gd name="connsiteX4" fmla="*/ 410370 w 820739"/>
                <a:gd name="connsiteY4" fmla="*/ 1260220 h 1260220"/>
                <a:gd name="connsiteX5" fmla="*/ 304463 w 820739"/>
                <a:gd name="connsiteY5" fmla="*/ 1202736 h 1260220"/>
                <a:gd name="connsiteX6" fmla="*/ 0 w 820739"/>
                <a:gd name="connsiteY6" fmla="*/ 630110 h 1260220"/>
                <a:gd name="connsiteX7" fmla="*/ 304463 w 820739"/>
                <a:gd name="connsiteY7" fmla="*/ 57484 h 1260220"/>
                <a:gd name="connsiteX8" fmla="*/ 410370 w 820739"/>
                <a:gd name="connsiteY8" fmla="*/ 0 h 1260220"/>
                <a:gd name="connsiteX0-1" fmla="*/ 410370 w 820739"/>
                <a:gd name="connsiteY0-2" fmla="*/ 0 h 1260220"/>
                <a:gd name="connsiteX1-3" fmla="*/ 516276 w 820739"/>
                <a:gd name="connsiteY1-4" fmla="*/ 57484 h 1260220"/>
                <a:gd name="connsiteX2-5" fmla="*/ 820739 w 820739"/>
                <a:gd name="connsiteY2-6" fmla="*/ 630110 h 1260220"/>
                <a:gd name="connsiteX3-7" fmla="*/ 516276 w 820739"/>
                <a:gd name="connsiteY3-8" fmla="*/ 1202736 h 1260220"/>
                <a:gd name="connsiteX4-9" fmla="*/ 410370 w 820739"/>
                <a:gd name="connsiteY4-10" fmla="*/ 1260220 h 1260220"/>
                <a:gd name="connsiteX5-11" fmla="*/ 304463 w 820739"/>
                <a:gd name="connsiteY5-12" fmla="*/ 1202736 h 1260220"/>
                <a:gd name="connsiteX6-13" fmla="*/ 0 w 820739"/>
                <a:gd name="connsiteY6-14" fmla="*/ 630110 h 1260220"/>
                <a:gd name="connsiteX7-15" fmla="*/ 326799 w 820739"/>
                <a:gd name="connsiteY7-16" fmla="*/ 83379 h 1260220"/>
                <a:gd name="connsiteX8-17" fmla="*/ 410370 w 820739"/>
                <a:gd name="connsiteY8-18" fmla="*/ 0 h 1260220"/>
                <a:gd name="connsiteX0-19" fmla="*/ 433275 w 820739"/>
                <a:gd name="connsiteY0-20" fmla="*/ 0 h 1253820"/>
                <a:gd name="connsiteX1-21" fmla="*/ 516276 w 820739"/>
                <a:gd name="connsiteY1-22" fmla="*/ 51084 h 1253820"/>
                <a:gd name="connsiteX2-23" fmla="*/ 820739 w 820739"/>
                <a:gd name="connsiteY2-24" fmla="*/ 623710 h 1253820"/>
                <a:gd name="connsiteX3-25" fmla="*/ 516276 w 820739"/>
                <a:gd name="connsiteY3-26" fmla="*/ 1196336 h 1253820"/>
                <a:gd name="connsiteX4-27" fmla="*/ 410370 w 820739"/>
                <a:gd name="connsiteY4-28" fmla="*/ 1253820 h 1253820"/>
                <a:gd name="connsiteX5-29" fmla="*/ 304463 w 820739"/>
                <a:gd name="connsiteY5-30" fmla="*/ 1196336 h 1253820"/>
                <a:gd name="connsiteX6-31" fmla="*/ 0 w 820739"/>
                <a:gd name="connsiteY6-32" fmla="*/ 623710 h 1253820"/>
                <a:gd name="connsiteX7-33" fmla="*/ 326799 w 820739"/>
                <a:gd name="connsiteY7-34" fmla="*/ 76979 h 1253820"/>
                <a:gd name="connsiteX8-35" fmla="*/ 433275 w 820739"/>
                <a:gd name="connsiteY8-36" fmla="*/ 0 h 1253820"/>
                <a:gd name="connsiteX0-37" fmla="*/ 433275 w 820739"/>
                <a:gd name="connsiteY0-38" fmla="*/ 0 h 1253820"/>
                <a:gd name="connsiteX1-39" fmla="*/ 516276 w 820739"/>
                <a:gd name="connsiteY1-40" fmla="*/ 51084 h 1253820"/>
                <a:gd name="connsiteX2-41" fmla="*/ 820739 w 820739"/>
                <a:gd name="connsiteY2-42" fmla="*/ 623710 h 1253820"/>
                <a:gd name="connsiteX3-43" fmla="*/ 516276 w 820739"/>
                <a:gd name="connsiteY3-44" fmla="*/ 1196336 h 1253820"/>
                <a:gd name="connsiteX4-45" fmla="*/ 410370 w 820739"/>
                <a:gd name="connsiteY4-46" fmla="*/ 1253820 h 1253820"/>
                <a:gd name="connsiteX5-47" fmla="*/ 304463 w 820739"/>
                <a:gd name="connsiteY5-48" fmla="*/ 1196336 h 1253820"/>
                <a:gd name="connsiteX6-49" fmla="*/ 0 w 820739"/>
                <a:gd name="connsiteY6-50" fmla="*/ 623710 h 1253820"/>
                <a:gd name="connsiteX7-51" fmla="*/ 326799 w 820739"/>
                <a:gd name="connsiteY7-52" fmla="*/ 76979 h 1253820"/>
                <a:gd name="connsiteX8-53" fmla="*/ 433275 w 820739"/>
                <a:gd name="connsiteY8-54" fmla="*/ 0 h 1253820"/>
                <a:gd name="connsiteX0-55" fmla="*/ 433275 w 820739"/>
                <a:gd name="connsiteY0-56" fmla="*/ 0 h 1253820"/>
                <a:gd name="connsiteX1-57" fmla="*/ 516276 w 820739"/>
                <a:gd name="connsiteY1-58" fmla="*/ 51084 h 1253820"/>
                <a:gd name="connsiteX2-59" fmla="*/ 820739 w 820739"/>
                <a:gd name="connsiteY2-60" fmla="*/ 623710 h 1253820"/>
                <a:gd name="connsiteX3-61" fmla="*/ 516276 w 820739"/>
                <a:gd name="connsiteY3-62" fmla="*/ 1196336 h 1253820"/>
                <a:gd name="connsiteX4-63" fmla="*/ 410370 w 820739"/>
                <a:gd name="connsiteY4-64" fmla="*/ 1253820 h 1253820"/>
                <a:gd name="connsiteX5-65" fmla="*/ 310332 w 820739"/>
                <a:gd name="connsiteY5-66" fmla="*/ 1193062 h 1253820"/>
                <a:gd name="connsiteX6-67" fmla="*/ 0 w 820739"/>
                <a:gd name="connsiteY6-68" fmla="*/ 623710 h 1253820"/>
                <a:gd name="connsiteX7-69" fmla="*/ 326799 w 820739"/>
                <a:gd name="connsiteY7-70" fmla="*/ 76979 h 1253820"/>
                <a:gd name="connsiteX8-71" fmla="*/ 433275 w 820739"/>
                <a:gd name="connsiteY8-72" fmla="*/ 0 h 1253820"/>
                <a:gd name="connsiteX0-73" fmla="*/ 433275 w 820821"/>
                <a:gd name="connsiteY0-74" fmla="*/ 0 h 1253820"/>
                <a:gd name="connsiteX1-75" fmla="*/ 493730 w 820821"/>
                <a:gd name="connsiteY1-76" fmla="*/ 52155 h 1253820"/>
                <a:gd name="connsiteX2-77" fmla="*/ 820739 w 820821"/>
                <a:gd name="connsiteY2-78" fmla="*/ 623710 h 1253820"/>
                <a:gd name="connsiteX3-79" fmla="*/ 516276 w 820821"/>
                <a:gd name="connsiteY3-80" fmla="*/ 1196336 h 1253820"/>
                <a:gd name="connsiteX4-81" fmla="*/ 410370 w 820821"/>
                <a:gd name="connsiteY4-82" fmla="*/ 1253820 h 1253820"/>
                <a:gd name="connsiteX5-83" fmla="*/ 310332 w 820821"/>
                <a:gd name="connsiteY5-84" fmla="*/ 1193062 h 1253820"/>
                <a:gd name="connsiteX6-85" fmla="*/ 0 w 820821"/>
                <a:gd name="connsiteY6-86" fmla="*/ 623710 h 1253820"/>
                <a:gd name="connsiteX7-87" fmla="*/ 326799 w 820821"/>
                <a:gd name="connsiteY7-88" fmla="*/ 76979 h 1253820"/>
                <a:gd name="connsiteX8-89" fmla="*/ 433275 w 820821"/>
                <a:gd name="connsiteY8-90" fmla="*/ 0 h 1253820"/>
                <a:gd name="connsiteX0-91" fmla="*/ 433275 w 820868"/>
                <a:gd name="connsiteY0-92" fmla="*/ 0 h 1253820"/>
                <a:gd name="connsiteX1-93" fmla="*/ 487862 w 820868"/>
                <a:gd name="connsiteY1-94" fmla="*/ 55429 h 1253820"/>
                <a:gd name="connsiteX2-95" fmla="*/ 820739 w 820868"/>
                <a:gd name="connsiteY2-96" fmla="*/ 623710 h 1253820"/>
                <a:gd name="connsiteX3-97" fmla="*/ 516276 w 820868"/>
                <a:gd name="connsiteY3-98" fmla="*/ 1196336 h 1253820"/>
                <a:gd name="connsiteX4-99" fmla="*/ 410370 w 820868"/>
                <a:gd name="connsiteY4-100" fmla="*/ 1253820 h 1253820"/>
                <a:gd name="connsiteX5-101" fmla="*/ 310332 w 820868"/>
                <a:gd name="connsiteY5-102" fmla="*/ 1193062 h 1253820"/>
                <a:gd name="connsiteX6-103" fmla="*/ 0 w 820868"/>
                <a:gd name="connsiteY6-104" fmla="*/ 623710 h 1253820"/>
                <a:gd name="connsiteX7-105" fmla="*/ 326799 w 820868"/>
                <a:gd name="connsiteY7-106" fmla="*/ 76979 h 1253820"/>
                <a:gd name="connsiteX8-107" fmla="*/ 433275 w 820868"/>
                <a:gd name="connsiteY8-108" fmla="*/ 0 h 1253820"/>
                <a:gd name="connsiteX0-109" fmla="*/ 433275 w 820868"/>
                <a:gd name="connsiteY0-110" fmla="*/ 0 h 1253820"/>
                <a:gd name="connsiteX1-111" fmla="*/ 487862 w 820868"/>
                <a:gd name="connsiteY1-112" fmla="*/ 55429 h 1253820"/>
                <a:gd name="connsiteX2-113" fmla="*/ 820739 w 820868"/>
                <a:gd name="connsiteY2-114" fmla="*/ 623710 h 1253820"/>
                <a:gd name="connsiteX3-115" fmla="*/ 516276 w 820868"/>
                <a:gd name="connsiteY3-116" fmla="*/ 1196336 h 1253820"/>
                <a:gd name="connsiteX4-117" fmla="*/ 410370 w 820868"/>
                <a:gd name="connsiteY4-118" fmla="*/ 1253820 h 1253820"/>
                <a:gd name="connsiteX5-119" fmla="*/ 310332 w 820868"/>
                <a:gd name="connsiteY5-120" fmla="*/ 1193062 h 1253820"/>
                <a:gd name="connsiteX6-121" fmla="*/ 0 w 820868"/>
                <a:gd name="connsiteY6-122" fmla="*/ 623710 h 1253820"/>
                <a:gd name="connsiteX7-123" fmla="*/ 307906 w 820868"/>
                <a:gd name="connsiteY7-124" fmla="*/ 91355 h 1253820"/>
                <a:gd name="connsiteX8-125" fmla="*/ 433275 w 820868"/>
                <a:gd name="connsiteY8-126" fmla="*/ 0 h 1253820"/>
                <a:gd name="connsiteX0-127" fmla="*/ 433275 w 820868"/>
                <a:gd name="connsiteY0-128" fmla="*/ 0 h 1253820"/>
                <a:gd name="connsiteX1-129" fmla="*/ 487862 w 820868"/>
                <a:gd name="connsiteY1-130" fmla="*/ 55429 h 1253820"/>
                <a:gd name="connsiteX2-131" fmla="*/ 820739 w 820868"/>
                <a:gd name="connsiteY2-132" fmla="*/ 623710 h 1253820"/>
                <a:gd name="connsiteX3-133" fmla="*/ 516276 w 820868"/>
                <a:gd name="connsiteY3-134" fmla="*/ 1196336 h 1253820"/>
                <a:gd name="connsiteX4-135" fmla="*/ 410370 w 820868"/>
                <a:gd name="connsiteY4-136" fmla="*/ 1253820 h 1253820"/>
                <a:gd name="connsiteX5-137" fmla="*/ 310332 w 820868"/>
                <a:gd name="connsiteY5-138" fmla="*/ 1193062 h 1253820"/>
                <a:gd name="connsiteX6-139" fmla="*/ 0 w 820868"/>
                <a:gd name="connsiteY6-140" fmla="*/ 623710 h 1253820"/>
                <a:gd name="connsiteX7-141" fmla="*/ 307906 w 820868"/>
                <a:gd name="connsiteY7-142" fmla="*/ 91355 h 1253820"/>
                <a:gd name="connsiteX8-143" fmla="*/ 433275 w 820868"/>
                <a:gd name="connsiteY8-144" fmla="*/ 0 h 1253820"/>
                <a:gd name="connsiteX0-145" fmla="*/ 433275 w 821563"/>
                <a:gd name="connsiteY0-146" fmla="*/ 0 h 1253820"/>
                <a:gd name="connsiteX1-147" fmla="*/ 487862 w 821563"/>
                <a:gd name="connsiteY1-148" fmla="*/ 55429 h 1253820"/>
                <a:gd name="connsiteX2-149" fmla="*/ 820739 w 821563"/>
                <a:gd name="connsiteY2-150" fmla="*/ 623710 h 1253820"/>
                <a:gd name="connsiteX3-151" fmla="*/ 516276 w 821563"/>
                <a:gd name="connsiteY3-152" fmla="*/ 1196336 h 1253820"/>
                <a:gd name="connsiteX4-153" fmla="*/ 410370 w 821563"/>
                <a:gd name="connsiteY4-154" fmla="*/ 1253820 h 1253820"/>
                <a:gd name="connsiteX5-155" fmla="*/ 310332 w 821563"/>
                <a:gd name="connsiteY5-156" fmla="*/ 1193062 h 1253820"/>
                <a:gd name="connsiteX6-157" fmla="*/ 0 w 821563"/>
                <a:gd name="connsiteY6-158" fmla="*/ 623710 h 1253820"/>
                <a:gd name="connsiteX7-159" fmla="*/ 307906 w 821563"/>
                <a:gd name="connsiteY7-160" fmla="*/ 91355 h 1253820"/>
                <a:gd name="connsiteX8-161" fmla="*/ 433275 w 821563"/>
                <a:gd name="connsiteY8-162" fmla="*/ 0 h 1253820"/>
                <a:gd name="connsiteX0-163" fmla="*/ 433275 w 821554"/>
                <a:gd name="connsiteY0-164" fmla="*/ 0 h 1253820"/>
                <a:gd name="connsiteX1-165" fmla="*/ 487862 w 821554"/>
                <a:gd name="connsiteY1-166" fmla="*/ 55429 h 1253820"/>
                <a:gd name="connsiteX2-167" fmla="*/ 820739 w 821554"/>
                <a:gd name="connsiteY2-168" fmla="*/ 623710 h 1253820"/>
                <a:gd name="connsiteX3-169" fmla="*/ 516276 w 821554"/>
                <a:gd name="connsiteY3-170" fmla="*/ 1196336 h 1253820"/>
                <a:gd name="connsiteX4-171" fmla="*/ 410370 w 821554"/>
                <a:gd name="connsiteY4-172" fmla="*/ 1253820 h 1253820"/>
                <a:gd name="connsiteX5-173" fmla="*/ 310332 w 821554"/>
                <a:gd name="connsiteY5-174" fmla="*/ 1193062 h 1253820"/>
                <a:gd name="connsiteX6-175" fmla="*/ 0 w 821554"/>
                <a:gd name="connsiteY6-176" fmla="*/ 623710 h 1253820"/>
                <a:gd name="connsiteX7-177" fmla="*/ 307906 w 821554"/>
                <a:gd name="connsiteY7-178" fmla="*/ 91355 h 1253820"/>
                <a:gd name="connsiteX8-179" fmla="*/ 433275 w 821554"/>
                <a:gd name="connsiteY8-180" fmla="*/ 0 h 1253820"/>
                <a:gd name="connsiteX0-181" fmla="*/ 433275 w 821554"/>
                <a:gd name="connsiteY0-182" fmla="*/ 0 h 1253820"/>
                <a:gd name="connsiteX1-183" fmla="*/ 487862 w 821554"/>
                <a:gd name="connsiteY1-184" fmla="*/ 55429 h 1253820"/>
                <a:gd name="connsiteX2-185" fmla="*/ 820739 w 821554"/>
                <a:gd name="connsiteY2-186" fmla="*/ 623710 h 1253820"/>
                <a:gd name="connsiteX3-187" fmla="*/ 516276 w 821554"/>
                <a:gd name="connsiteY3-188" fmla="*/ 1196336 h 1253820"/>
                <a:gd name="connsiteX4-189" fmla="*/ 410370 w 821554"/>
                <a:gd name="connsiteY4-190" fmla="*/ 1253820 h 1253820"/>
                <a:gd name="connsiteX5-191" fmla="*/ 310332 w 821554"/>
                <a:gd name="connsiteY5-192" fmla="*/ 1193062 h 1253820"/>
                <a:gd name="connsiteX6-193" fmla="*/ 0 w 821554"/>
                <a:gd name="connsiteY6-194" fmla="*/ 623710 h 1253820"/>
                <a:gd name="connsiteX7-195" fmla="*/ 307906 w 821554"/>
                <a:gd name="connsiteY7-196" fmla="*/ 91355 h 1253820"/>
                <a:gd name="connsiteX8-197" fmla="*/ 433275 w 821554"/>
                <a:gd name="connsiteY8-198" fmla="*/ 0 h 1253820"/>
                <a:gd name="connsiteX0-199" fmla="*/ 433290 w 821569"/>
                <a:gd name="connsiteY0-200" fmla="*/ 0 h 1253820"/>
                <a:gd name="connsiteX1-201" fmla="*/ 487877 w 821569"/>
                <a:gd name="connsiteY1-202" fmla="*/ 55429 h 1253820"/>
                <a:gd name="connsiteX2-203" fmla="*/ 820754 w 821569"/>
                <a:gd name="connsiteY2-204" fmla="*/ 623710 h 1253820"/>
                <a:gd name="connsiteX3-205" fmla="*/ 516291 w 821569"/>
                <a:gd name="connsiteY3-206" fmla="*/ 1196336 h 1253820"/>
                <a:gd name="connsiteX4-207" fmla="*/ 410385 w 821569"/>
                <a:gd name="connsiteY4-208" fmla="*/ 1253820 h 1253820"/>
                <a:gd name="connsiteX5-209" fmla="*/ 310347 w 821569"/>
                <a:gd name="connsiteY5-210" fmla="*/ 1193062 h 1253820"/>
                <a:gd name="connsiteX6-211" fmla="*/ 15 w 821569"/>
                <a:gd name="connsiteY6-212" fmla="*/ 623710 h 1253820"/>
                <a:gd name="connsiteX7-213" fmla="*/ 307921 w 821569"/>
                <a:gd name="connsiteY7-214" fmla="*/ 91355 h 1253820"/>
                <a:gd name="connsiteX8-215" fmla="*/ 433290 w 821569"/>
                <a:gd name="connsiteY8-216" fmla="*/ 0 h 125382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821569" h="1253820">
                  <a:moveTo>
                    <a:pt x="433290" y="0"/>
                  </a:moveTo>
                  <a:lnTo>
                    <a:pt x="487877" y="55429"/>
                  </a:lnTo>
                  <a:cubicBezTo>
                    <a:pt x="668993" y="188637"/>
                    <a:pt x="808143" y="426445"/>
                    <a:pt x="820754" y="623710"/>
                  </a:cubicBezTo>
                  <a:cubicBezTo>
                    <a:pt x="833365" y="820975"/>
                    <a:pt x="698335" y="1069320"/>
                    <a:pt x="516291" y="1196336"/>
                  </a:cubicBezTo>
                  <a:lnTo>
                    <a:pt x="410385" y="1253820"/>
                  </a:lnTo>
                  <a:lnTo>
                    <a:pt x="310347" y="1193062"/>
                  </a:lnTo>
                  <a:cubicBezTo>
                    <a:pt x="126656" y="1068963"/>
                    <a:pt x="-1632" y="859161"/>
                    <a:pt x="15" y="623710"/>
                  </a:cubicBezTo>
                  <a:cubicBezTo>
                    <a:pt x="32800" y="409244"/>
                    <a:pt x="146207" y="233879"/>
                    <a:pt x="307921" y="91355"/>
                  </a:cubicBezTo>
                  <a:lnTo>
                    <a:pt x="43329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rgbClr val="FFFFFF"/>
                  </a:solidFill>
                  <a:latin typeface="+mn-ea"/>
                </a:rPr>
                <a:t>渠道战</a:t>
              </a:r>
            </a:p>
          </p:txBody>
        </p:sp>
        <p:sp>
          <p:nvSpPr>
            <p:cNvPr id="4" name="任意多边形 3"/>
            <p:cNvSpPr/>
            <p:nvPr/>
          </p:nvSpPr>
          <p:spPr>
            <a:xfrm rot="2326219">
              <a:off x="4723895" y="2673421"/>
              <a:ext cx="1331853" cy="2149017"/>
            </a:xfrm>
            <a:custGeom>
              <a:avLst/>
              <a:gdLst>
                <a:gd name="connsiteX0" fmla="*/ 410370 w 820739"/>
                <a:gd name="connsiteY0" fmla="*/ 0 h 1260220"/>
                <a:gd name="connsiteX1" fmla="*/ 516276 w 820739"/>
                <a:gd name="connsiteY1" fmla="*/ 57484 h 1260220"/>
                <a:gd name="connsiteX2" fmla="*/ 820739 w 820739"/>
                <a:gd name="connsiteY2" fmla="*/ 630110 h 1260220"/>
                <a:gd name="connsiteX3" fmla="*/ 516276 w 820739"/>
                <a:gd name="connsiteY3" fmla="*/ 1202736 h 1260220"/>
                <a:gd name="connsiteX4" fmla="*/ 410370 w 820739"/>
                <a:gd name="connsiteY4" fmla="*/ 1260220 h 1260220"/>
                <a:gd name="connsiteX5" fmla="*/ 304463 w 820739"/>
                <a:gd name="connsiteY5" fmla="*/ 1202736 h 1260220"/>
                <a:gd name="connsiteX6" fmla="*/ 0 w 820739"/>
                <a:gd name="connsiteY6" fmla="*/ 630110 h 1260220"/>
                <a:gd name="connsiteX7" fmla="*/ 304463 w 820739"/>
                <a:gd name="connsiteY7" fmla="*/ 57484 h 1260220"/>
                <a:gd name="connsiteX8" fmla="*/ 410370 w 820739"/>
                <a:gd name="connsiteY8" fmla="*/ 0 h 1260220"/>
                <a:gd name="connsiteX0-1" fmla="*/ 410370 w 820739"/>
                <a:gd name="connsiteY0-2" fmla="*/ 0 h 1260220"/>
                <a:gd name="connsiteX1-3" fmla="*/ 516276 w 820739"/>
                <a:gd name="connsiteY1-4" fmla="*/ 57484 h 1260220"/>
                <a:gd name="connsiteX2-5" fmla="*/ 820739 w 820739"/>
                <a:gd name="connsiteY2-6" fmla="*/ 630110 h 1260220"/>
                <a:gd name="connsiteX3-7" fmla="*/ 516276 w 820739"/>
                <a:gd name="connsiteY3-8" fmla="*/ 1202736 h 1260220"/>
                <a:gd name="connsiteX4-9" fmla="*/ 410370 w 820739"/>
                <a:gd name="connsiteY4-10" fmla="*/ 1260220 h 1260220"/>
                <a:gd name="connsiteX5-11" fmla="*/ 304463 w 820739"/>
                <a:gd name="connsiteY5-12" fmla="*/ 1202736 h 1260220"/>
                <a:gd name="connsiteX6-13" fmla="*/ 0 w 820739"/>
                <a:gd name="connsiteY6-14" fmla="*/ 630110 h 1260220"/>
                <a:gd name="connsiteX7-15" fmla="*/ 326799 w 820739"/>
                <a:gd name="connsiteY7-16" fmla="*/ 83379 h 1260220"/>
                <a:gd name="connsiteX8-17" fmla="*/ 410370 w 820739"/>
                <a:gd name="connsiteY8-18" fmla="*/ 0 h 1260220"/>
                <a:gd name="connsiteX0-19" fmla="*/ 433275 w 820739"/>
                <a:gd name="connsiteY0-20" fmla="*/ 0 h 1253820"/>
                <a:gd name="connsiteX1-21" fmla="*/ 516276 w 820739"/>
                <a:gd name="connsiteY1-22" fmla="*/ 51084 h 1253820"/>
                <a:gd name="connsiteX2-23" fmla="*/ 820739 w 820739"/>
                <a:gd name="connsiteY2-24" fmla="*/ 623710 h 1253820"/>
                <a:gd name="connsiteX3-25" fmla="*/ 516276 w 820739"/>
                <a:gd name="connsiteY3-26" fmla="*/ 1196336 h 1253820"/>
                <a:gd name="connsiteX4-27" fmla="*/ 410370 w 820739"/>
                <a:gd name="connsiteY4-28" fmla="*/ 1253820 h 1253820"/>
                <a:gd name="connsiteX5-29" fmla="*/ 304463 w 820739"/>
                <a:gd name="connsiteY5-30" fmla="*/ 1196336 h 1253820"/>
                <a:gd name="connsiteX6-31" fmla="*/ 0 w 820739"/>
                <a:gd name="connsiteY6-32" fmla="*/ 623710 h 1253820"/>
                <a:gd name="connsiteX7-33" fmla="*/ 326799 w 820739"/>
                <a:gd name="connsiteY7-34" fmla="*/ 76979 h 1253820"/>
                <a:gd name="connsiteX8-35" fmla="*/ 433275 w 820739"/>
                <a:gd name="connsiteY8-36" fmla="*/ 0 h 1253820"/>
                <a:gd name="connsiteX0-37" fmla="*/ 433275 w 820739"/>
                <a:gd name="connsiteY0-38" fmla="*/ 0 h 1253820"/>
                <a:gd name="connsiteX1-39" fmla="*/ 516276 w 820739"/>
                <a:gd name="connsiteY1-40" fmla="*/ 51084 h 1253820"/>
                <a:gd name="connsiteX2-41" fmla="*/ 820739 w 820739"/>
                <a:gd name="connsiteY2-42" fmla="*/ 623710 h 1253820"/>
                <a:gd name="connsiteX3-43" fmla="*/ 516276 w 820739"/>
                <a:gd name="connsiteY3-44" fmla="*/ 1196336 h 1253820"/>
                <a:gd name="connsiteX4-45" fmla="*/ 410370 w 820739"/>
                <a:gd name="connsiteY4-46" fmla="*/ 1253820 h 1253820"/>
                <a:gd name="connsiteX5-47" fmla="*/ 304463 w 820739"/>
                <a:gd name="connsiteY5-48" fmla="*/ 1196336 h 1253820"/>
                <a:gd name="connsiteX6-49" fmla="*/ 0 w 820739"/>
                <a:gd name="connsiteY6-50" fmla="*/ 623710 h 1253820"/>
                <a:gd name="connsiteX7-51" fmla="*/ 326799 w 820739"/>
                <a:gd name="connsiteY7-52" fmla="*/ 76979 h 1253820"/>
                <a:gd name="connsiteX8-53" fmla="*/ 433275 w 820739"/>
                <a:gd name="connsiteY8-54" fmla="*/ 0 h 1253820"/>
                <a:gd name="connsiteX0-55" fmla="*/ 433275 w 820739"/>
                <a:gd name="connsiteY0-56" fmla="*/ 0 h 1253820"/>
                <a:gd name="connsiteX1-57" fmla="*/ 516276 w 820739"/>
                <a:gd name="connsiteY1-58" fmla="*/ 51084 h 1253820"/>
                <a:gd name="connsiteX2-59" fmla="*/ 820739 w 820739"/>
                <a:gd name="connsiteY2-60" fmla="*/ 623710 h 1253820"/>
                <a:gd name="connsiteX3-61" fmla="*/ 516276 w 820739"/>
                <a:gd name="connsiteY3-62" fmla="*/ 1196336 h 1253820"/>
                <a:gd name="connsiteX4-63" fmla="*/ 410370 w 820739"/>
                <a:gd name="connsiteY4-64" fmla="*/ 1253820 h 1253820"/>
                <a:gd name="connsiteX5-65" fmla="*/ 310332 w 820739"/>
                <a:gd name="connsiteY5-66" fmla="*/ 1193062 h 1253820"/>
                <a:gd name="connsiteX6-67" fmla="*/ 0 w 820739"/>
                <a:gd name="connsiteY6-68" fmla="*/ 623710 h 1253820"/>
                <a:gd name="connsiteX7-69" fmla="*/ 326799 w 820739"/>
                <a:gd name="connsiteY7-70" fmla="*/ 76979 h 1253820"/>
                <a:gd name="connsiteX8-71" fmla="*/ 433275 w 820739"/>
                <a:gd name="connsiteY8-72" fmla="*/ 0 h 1253820"/>
                <a:gd name="connsiteX0-73" fmla="*/ 433275 w 820821"/>
                <a:gd name="connsiteY0-74" fmla="*/ 0 h 1253820"/>
                <a:gd name="connsiteX1-75" fmla="*/ 493730 w 820821"/>
                <a:gd name="connsiteY1-76" fmla="*/ 52155 h 1253820"/>
                <a:gd name="connsiteX2-77" fmla="*/ 820739 w 820821"/>
                <a:gd name="connsiteY2-78" fmla="*/ 623710 h 1253820"/>
                <a:gd name="connsiteX3-79" fmla="*/ 516276 w 820821"/>
                <a:gd name="connsiteY3-80" fmla="*/ 1196336 h 1253820"/>
                <a:gd name="connsiteX4-81" fmla="*/ 410370 w 820821"/>
                <a:gd name="connsiteY4-82" fmla="*/ 1253820 h 1253820"/>
                <a:gd name="connsiteX5-83" fmla="*/ 310332 w 820821"/>
                <a:gd name="connsiteY5-84" fmla="*/ 1193062 h 1253820"/>
                <a:gd name="connsiteX6-85" fmla="*/ 0 w 820821"/>
                <a:gd name="connsiteY6-86" fmla="*/ 623710 h 1253820"/>
                <a:gd name="connsiteX7-87" fmla="*/ 326799 w 820821"/>
                <a:gd name="connsiteY7-88" fmla="*/ 76979 h 1253820"/>
                <a:gd name="connsiteX8-89" fmla="*/ 433275 w 820821"/>
                <a:gd name="connsiteY8-90" fmla="*/ 0 h 1253820"/>
                <a:gd name="connsiteX0-91" fmla="*/ 433275 w 820868"/>
                <a:gd name="connsiteY0-92" fmla="*/ 0 h 1253820"/>
                <a:gd name="connsiteX1-93" fmla="*/ 487862 w 820868"/>
                <a:gd name="connsiteY1-94" fmla="*/ 55429 h 1253820"/>
                <a:gd name="connsiteX2-95" fmla="*/ 820739 w 820868"/>
                <a:gd name="connsiteY2-96" fmla="*/ 623710 h 1253820"/>
                <a:gd name="connsiteX3-97" fmla="*/ 516276 w 820868"/>
                <a:gd name="connsiteY3-98" fmla="*/ 1196336 h 1253820"/>
                <a:gd name="connsiteX4-99" fmla="*/ 410370 w 820868"/>
                <a:gd name="connsiteY4-100" fmla="*/ 1253820 h 1253820"/>
                <a:gd name="connsiteX5-101" fmla="*/ 310332 w 820868"/>
                <a:gd name="connsiteY5-102" fmla="*/ 1193062 h 1253820"/>
                <a:gd name="connsiteX6-103" fmla="*/ 0 w 820868"/>
                <a:gd name="connsiteY6-104" fmla="*/ 623710 h 1253820"/>
                <a:gd name="connsiteX7-105" fmla="*/ 326799 w 820868"/>
                <a:gd name="connsiteY7-106" fmla="*/ 76979 h 1253820"/>
                <a:gd name="connsiteX8-107" fmla="*/ 433275 w 820868"/>
                <a:gd name="connsiteY8-108" fmla="*/ 0 h 1253820"/>
                <a:gd name="connsiteX0-109" fmla="*/ 433275 w 820868"/>
                <a:gd name="connsiteY0-110" fmla="*/ 0 h 1253820"/>
                <a:gd name="connsiteX1-111" fmla="*/ 487862 w 820868"/>
                <a:gd name="connsiteY1-112" fmla="*/ 55429 h 1253820"/>
                <a:gd name="connsiteX2-113" fmla="*/ 820739 w 820868"/>
                <a:gd name="connsiteY2-114" fmla="*/ 623710 h 1253820"/>
                <a:gd name="connsiteX3-115" fmla="*/ 516276 w 820868"/>
                <a:gd name="connsiteY3-116" fmla="*/ 1196336 h 1253820"/>
                <a:gd name="connsiteX4-117" fmla="*/ 410370 w 820868"/>
                <a:gd name="connsiteY4-118" fmla="*/ 1253820 h 1253820"/>
                <a:gd name="connsiteX5-119" fmla="*/ 310332 w 820868"/>
                <a:gd name="connsiteY5-120" fmla="*/ 1193062 h 1253820"/>
                <a:gd name="connsiteX6-121" fmla="*/ 0 w 820868"/>
                <a:gd name="connsiteY6-122" fmla="*/ 623710 h 1253820"/>
                <a:gd name="connsiteX7-123" fmla="*/ 307906 w 820868"/>
                <a:gd name="connsiteY7-124" fmla="*/ 91355 h 1253820"/>
                <a:gd name="connsiteX8-125" fmla="*/ 433275 w 820868"/>
                <a:gd name="connsiteY8-126" fmla="*/ 0 h 1253820"/>
                <a:gd name="connsiteX0-127" fmla="*/ 433275 w 820868"/>
                <a:gd name="connsiteY0-128" fmla="*/ 0 h 1253820"/>
                <a:gd name="connsiteX1-129" fmla="*/ 487862 w 820868"/>
                <a:gd name="connsiteY1-130" fmla="*/ 55429 h 1253820"/>
                <a:gd name="connsiteX2-131" fmla="*/ 820739 w 820868"/>
                <a:gd name="connsiteY2-132" fmla="*/ 623710 h 1253820"/>
                <a:gd name="connsiteX3-133" fmla="*/ 516276 w 820868"/>
                <a:gd name="connsiteY3-134" fmla="*/ 1196336 h 1253820"/>
                <a:gd name="connsiteX4-135" fmla="*/ 410370 w 820868"/>
                <a:gd name="connsiteY4-136" fmla="*/ 1253820 h 1253820"/>
                <a:gd name="connsiteX5-137" fmla="*/ 310332 w 820868"/>
                <a:gd name="connsiteY5-138" fmla="*/ 1193062 h 1253820"/>
                <a:gd name="connsiteX6-139" fmla="*/ 0 w 820868"/>
                <a:gd name="connsiteY6-140" fmla="*/ 623710 h 1253820"/>
                <a:gd name="connsiteX7-141" fmla="*/ 307906 w 820868"/>
                <a:gd name="connsiteY7-142" fmla="*/ 91355 h 1253820"/>
                <a:gd name="connsiteX8-143" fmla="*/ 433275 w 820868"/>
                <a:gd name="connsiteY8-144" fmla="*/ 0 h 1253820"/>
                <a:gd name="connsiteX0-145" fmla="*/ 433275 w 821563"/>
                <a:gd name="connsiteY0-146" fmla="*/ 0 h 1253820"/>
                <a:gd name="connsiteX1-147" fmla="*/ 487862 w 821563"/>
                <a:gd name="connsiteY1-148" fmla="*/ 55429 h 1253820"/>
                <a:gd name="connsiteX2-149" fmla="*/ 820739 w 821563"/>
                <a:gd name="connsiteY2-150" fmla="*/ 623710 h 1253820"/>
                <a:gd name="connsiteX3-151" fmla="*/ 516276 w 821563"/>
                <a:gd name="connsiteY3-152" fmla="*/ 1196336 h 1253820"/>
                <a:gd name="connsiteX4-153" fmla="*/ 410370 w 821563"/>
                <a:gd name="connsiteY4-154" fmla="*/ 1253820 h 1253820"/>
                <a:gd name="connsiteX5-155" fmla="*/ 310332 w 821563"/>
                <a:gd name="connsiteY5-156" fmla="*/ 1193062 h 1253820"/>
                <a:gd name="connsiteX6-157" fmla="*/ 0 w 821563"/>
                <a:gd name="connsiteY6-158" fmla="*/ 623710 h 1253820"/>
                <a:gd name="connsiteX7-159" fmla="*/ 307906 w 821563"/>
                <a:gd name="connsiteY7-160" fmla="*/ 91355 h 1253820"/>
                <a:gd name="connsiteX8-161" fmla="*/ 433275 w 821563"/>
                <a:gd name="connsiteY8-162" fmla="*/ 0 h 1253820"/>
                <a:gd name="connsiteX0-163" fmla="*/ 433275 w 821554"/>
                <a:gd name="connsiteY0-164" fmla="*/ 0 h 1253820"/>
                <a:gd name="connsiteX1-165" fmla="*/ 487862 w 821554"/>
                <a:gd name="connsiteY1-166" fmla="*/ 55429 h 1253820"/>
                <a:gd name="connsiteX2-167" fmla="*/ 820739 w 821554"/>
                <a:gd name="connsiteY2-168" fmla="*/ 623710 h 1253820"/>
                <a:gd name="connsiteX3-169" fmla="*/ 516276 w 821554"/>
                <a:gd name="connsiteY3-170" fmla="*/ 1196336 h 1253820"/>
                <a:gd name="connsiteX4-171" fmla="*/ 410370 w 821554"/>
                <a:gd name="connsiteY4-172" fmla="*/ 1253820 h 1253820"/>
                <a:gd name="connsiteX5-173" fmla="*/ 310332 w 821554"/>
                <a:gd name="connsiteY5-174" fmla="*/ 1193062 h 1253820"/>
                <a:gd name="connsiteX6-175" fmla="*/ 0 w 821554"/>
                <a:gd name="connsiteY6-176" fmla="*/ 623710 h 1253820"/>
                <a:gd name="connsiteX7-177" fmla="*/ 307906 w 821554"/>
                <a:gd name="connsiteY7-178" fmla="*/ 91355 h 1253820"/>
                <a:gd name="connsiteX8-179" fmla="*/ 433275 w 821554"/>
                <a:gd name="connsiteY8-180" fmla="*/ 0 h 1253820"/>
                <a:gd name="connsiteX0-181" fmla="*/ 433275 w 821554"/>
                <a:gd name="connsiteY0-182" fmla="*/ 0 h 1253820"/>
                <a:gd name="connsiteX1-183" fmla="*/ 487862 w 821554"/>
                <a:gd name="connsiteY1-184" fmla="*/ 55429 h 1253820"/>
                <a:gd name="connsiteX2-185" fmla="*/ 820739 w 821554"/>
                <a:gd name="connsiteY2-186" fmla="*/ 623710 h 1253820"/>
                <a:gd name="connsiteX3-187" fmla="*/ 516276 w 821554"/>
                <a:gd name="connsiteY3-188" fmla="*/ 1196336 h 1253820"/>
                <a:gd name="connsiteX4-189" fmla="*/ 410370 w 821554"/>
                <a:gd name="connsiteY4-190" fmla="*/ 1253820 h 1253820"/>
                <a:gd name="connsiteX5-191" fmla="*/ 310332 w 821554"/>
                <a:gd name="connsiteY5-192" fmla="*/ 1193062 h 1253820"/>
                <a:gd name="connsiteX6-193" fmla="*/ 0 w 821554"/>
                <a:gd name="connsiteY6-194" fmla="*/ 623710 h 1253820"/>
                <a:gd name="connsiteX7-195" fmla="*/ 307906 w 821554"/>
                <a:gd name="connsiteY7-196" fmla="*/ 91355 h 1253820"/>
                <a:gd name="connsiteX8-197" fmla="*/ 433275 w 821554"/>
                <a:gd name="connsiteY8-198" fmla="*/ 0 h 1253820"/>
                <a:gd name="connsiteX0-199" fmla="*/ 433290 w 821569"/>
                <a:gd name="connsiteY0-200" fmla="*/ 0 h 1253820"/>
                <a:gd name="connsiteX1-201" fmla="*/ 487877 w 821569"/>
                <a:gd name="connsiteY1-202" fmla="*/ 55429 h 1253820"/>
                <a:gd name="connsiteX2-203" fmla="*/ 820754 w 821569"/>
                <a:gd name="connsiteY2-204" fmla="*/ 623710 h 1253820"/>
                <a:gd name="connsiteX3-205" fmla="*/ 516291 w 821569"/>
                <a:gd name="connsiteY3-206" fmla="*/ 1196336 h 1253820"/>
                <a:gd name="connsiteX4-207" fmla="*/ 410385 w 821569"/>
                <a:gd name="connsiteY4-208" fmla="*/ 1253820 h 1253820"/>
                <a:gd name="connsiteX5-209" fmla="*/ 310347 w 821569"/>
                <a:gd name="connsiteY5-210" fmla="*/ 1193062 h 1253820"/>
                <a:gd name="connsiteX6-211" fmla="*/ 15 w 821569"/>
                <a:gd name="connsiteY6-212" fmla="*/ 623710 h 1253820"/>
                <a:gd name="connsiteX7-213" fmla="*/ 307921 w 821569"/>
                <a:gd name="connsiteY7-214" fmla="*/ 91355 h 1253820"/>
                <a:gd name="connsiteX8-215" fmla="*/ 433290 w 821569"/>
                <a:gd name="connsiteY8-216" fmla="*/ 0 h 1253820"/>
                <a:gd name="connsiteX0-217" fmla="*/ 433290 w 821403"/>
                <a:gd name="connsiteY0-218" fmla="*/ 0 h 1253820"/>
                <a:gd name="connsiteX1-219" fmla="*/ 487877 w 821403"/>
                <a:gd name="connsiteY1-220" fmla="*/ 55429 h 1253820"/>
                <a:gd name="connsiteX2-221" fmla="*/ 820754 w 821403"/>
                <a:gd name="connsiteY2-222" fmla="*/ 623710 h 1253820"/>
                <a:gd name="connsiteX3-223" fmla="*/ 516291 w 821403"/>
                <a:gd name="connsiteY3-224" fmla="*/ 1196336 h 1253820"/>
                <a:gd name="connsiteX4-225" fmla="*/ 410385 w 821403"/>
                <a:gd name="connsiteY4-226" fmla="*/ 1253820 h 1253820"/>
                <a:gd name="connsiteX5-227" fmla="*/ 310347 w 821403"/>
                <a:gd name="connsiteY5-228" fmla="*/ 1193062 h 1253820"/>
                <a:gd name="connsiteX6-229" fmla="*/ 15 w 821403"/>
                <a:gd name="connsiteY6-230" fmla="*/ 623710 h 1253820"/>
                <a:gd name="connsiteX7-231" fmla="*/ 307921 w 821403"/>
                <a:gd name="connsiteY7-232" fmla="*/ 91355 h 1253820"/>
                <a:gd name="connsiteX8-233" fmla="*/ 433290 w 821403"/>
                <a:gd name="connsiteY8-234" fmla="*/ 0 h 1253820"/>
                <a:gd name="connsiteX0-235" fmla="*/ 433290 w 811275"/>
                <a:gd name="connsiteY0-236" fmla="*/ 0 h 1253820"/>
                <a:gd name="connsiteX1-237" fmla="*/ 487877 w 811275"/>
                <a:gd name="connsiteY1-238" fmla="*/ 55429 h 1253820"/>
                <a:gd name="connsiteX2-239" fmla="*/ 810588 w 811275"/>
                <a:gd name="connsiteY2-240" fmla="*/ 620654 h 1253820"/>
                <a:gd name="connsiteX3-241" fmla="*/ 516291 w 811275"/>
                <a:gd name="connsiteY3-242" fmla="*/ 1196336 h 1253820"/>
                <a:gd name="connsiteX4-243" fmla="*/ 410385 w 811275"/>
                <a:gd name="connsiteY4-244" fmla="*/ 1253820 h 1253820"/>
                <a:gd name="connsiteX5-245" fmla="*/ 310347 w 811275"/>
                <a:gd name="connsiteY5-246" fmla="*/ 1193062 h 1253820"/>
                <a:gd name="connsiteX6-247" fmla="*/ 15 w 811275"/>
                <a:gd name="connsiteY6-248" fmla="*/ 623710 h 1253820"/>
                <a:gd name="connsiteX7-249" fmla="*/ 307921 w 811275"/>
                <a:gd name="connsiteY7-250" fmla="*/ 91355 h 1253820"/>
                <a:gd name="connsiteX8-251" fmla="*/ 433290 w 811275"/>
                <a:gd name="connsiteY8-252" fmla="*/ 0 h 1253820"/>
                <a:gd name="connsiteX0-253" fmla="*/ 433290 w 811275"/>
                <a:gd name="connsiteY0-254" fmla="*/ 0 h 1253820"/>
                <a:gd name="connsiteX1-255" fmla="*/ 487877 w 811275"/>
                <a:gd name="connsiteY1-256" fmla="*/ 55429 h 1253820"/>
                <a:gd name="connsiteX2-257" fmla="*/ 810588 w 811275"/>
                <a:gd name="connsiteY2-258" fmla="*/ 620654 h 1253820"/>
                <a:gd name="connsiteX3-259" fmla="*/ 516291 w 811275"/>
                <a:gd name="connsiteY3-260" fmla="*/ 1196336 h 1253820"/>
                <a:gd name="connsiteX4-261" fmla="*/ 410385 w 811275"/>
                <a:gd name="connsiteY4-262" fmla="*/ 1253820 h 1253820"/>
                <a:gd name="connsiteX5-263" fmla="*/ 310347 w 811275"/>
                <a:gd name="connsiteY5-264" fmla="*/ 1193062 h 1253820"/>
                <a:gd name="connsiteX6-265" fmla="*/ 15 w 811275"/>
                <a:gd name="connsiteY6-266" fmla="*/ 623710 h 1253820"/>
                <a:gd name="connsiteX7-267" fmla="*/ 307921 w 811275"/>
                <a:gd name="connsiteY7-268" fmla="*/ 91355 h 1253820"/>
                <a:gd name="connsiteX8-269" fmla="*/ 433290 w 811275"/>
                <a:gd name="connsiteY8-270" fmla="*/ 0 h 1253820"/>
                <a:gd name="connsiteX0-271" fmla="*/ 433290 w 810847"/>
                <a:gd name="connsiteY0-272" fmla="*/ 0 h 1253820"/>
                <a:gd name="connsiteX1-273" fmla="*/ 487877 w 810847"/>
                <a:gd name="connsiteY1-274" fmla="*/ 55429 h 1253820"/>
                <a:gd name="connsiteX2-275" fmla="*/ 810588 w 810847"/>
                <a:gd name="connsiteY2-276" fmla="*/ 620654 h 1253820"/>
                <a:gd name="connsiteX3-277" fmla="*/ 516291 w 810847"/>
                <a:gd name="connsiteY3-278" fmla="*/ 1196336 h 1253820"/>
                <a:gd name="connsiteX4-279" fmla="*/ 410385 w 810847"/>
                <a:gd name="connsiteY4-280" fmla="*/ 1253820 h 1253820"/>
                <a:gd name="connsiteX5-281" fmla="*/ 310347 w 810847"/>
                <a:gd name="connsiteY5-282" fmla="*/ 1193062 h 1253820"/>
                <a:gd name="connsiteX6-283" fmla="*/ 15 w 810847"/>
                <a:gd name="connsiteY6-284" fmla="*/ 623710 h 1253820"/>
                <a:gd name="connsiteX7-285" fmla="*/ 307921 w 810847"/>
                <a:gd name="connsiteY7-286" fmla="*/ 91355 h 1253820"/>
                <a:gd name="connsiteX8-287" fmla="*/ 433290 w 810847"/>
                <a:gd name="connsiteY8-288" fmla="*/ 0 h 1253820"/>
                <a:gd name="connsiteX0-289" fmla="*/ 450824 w 828381"/>
                <a:gd name="connsiteY0-290" fmla="*/ 0 h 1253820"/>
                <a:gd name="connsiteX1-291" fmla="*/ 505411 w 828381"/>
                <a:gd name="connsiteY1-292" fmla="*/ 55429 h 1253820"/>
                <a:gd name="connsiteX2-293" fmla="*/ 828122 w 828381"/>
                <a:gd name="connsiteY2-294" fmla="*/ 620654 h 1253820"/>
                <a:gd name="connsiteX3-295" fmla="*/ 533825 w 828381"/>
                <a:gd name="connsiteY3-296" fmla="*/ 1196336 h 1253820"/>
                <a:gd name="connsiteX4-297" fmla="*/ 427919 w 828381"/>
                <a:gd name="connsiteY4-298" fmla="*/ 1253820 h 1253820"/>
                <a:gd name="connsiteX5-299" fmla="*/ 327881 w 828381"/>
                <a:gd name="connsiteY5-300" fmla="*/ 1193062 h 1253820"/>
                <a:gd name="connsiteX6-301" fmla="*/ 13 w 828381"/>
                <a:gd name="connsiteY6-302" fmla="*/ 629890 h 1253820"/>
                <a:gd name="connsiteX7-303" fmla="*/ 325455 w 828381"/>
                <a:gd name="connsiteY7-304" fmla="*/ 91355 h 1253820"/>
                <a:gd name="connsiteX8-305" fmla="*/ 450824 w 828381"/>
                <a:gd name="connsiteY8-306" fmla="*/ 0 h 1253820"/>
                <a:gd name="connsiteX0-307" fmla="*/ 451487 w 829044"/>
                <a:gd name="connsiteY0-308" fmla="*/ 0 h 1253820"/>
                <a:gd name="connsiteX1-309" fmla="*/ 506074 w 829044"/>
                <a:gd name="connsiteY1-310" fmla="*/ 55429 h 1253820"/>
                <a:gd name="connsiteX2-311" fmla="*/ 828785 w 829044"/>
                <a:gd name="connsiteY2-312" fmla="*/ 620654 h 1253820"/>
                <a:gd name="connsiteX3-313" fmla="*/ 534488 w 829044"/>
                <a:gd name="connsiteY3-314" fmla="*/ 1196336 h 1253820"/>
                <a:gd name="connsiteX4-315" fmla="*/ 428582 w 829044"/>
                <a:gd name="connsiteY4-316" fmla="*/ 1253820 h 1253820"/>
                <a:gd name="connsiteX5-317" fmla="*/ 328544 w 829044"/>
                <a:gd name="connsiteY5-318" fmla="*/ 1193062 h 1253820"/>
                <a:gd name="connsiteX6-319" fmla="*/ 676 w 829044"/>
                <a:gd name="connsiteY6-320" fmla="*/ 629890 h 1253820"/>
                <a:gd name="connsiteX7-321" fmla="*/ 326118 w 829044"/>
                <a:gd name="connsiteY7-322" fmla="*/ 91355 h 1253820"/>
                <a:gd name="connsiteX8-323" fmla="*/ 451487 w 829044"/>
                <a:gd name="connsiteY8-324" fmla="*/ 0 h 1253820"/>
                <a:gd name="connsiteX0-325" fmla="*/ 451487 w 829044"/>
                <a:gd name="connsiteY0-326" fmla="*/ 0 h 1253820"/>
                <a:gd name="connsiteX1-327" fmla="*/ 506074 w 829044"/>
                <a:gd name="connsiteY1-328" fmla="*/ 55429 h 1253820"/>
                <a:gd name="connsiteX2-329" fmla="*/ 828785 w 829044"/>
                <a:gd name="connsiteY2-330" fmla="*/ 620654 h 1253820"/>
                <a:gd name="connsiteX3-331" fmla="*/ 534488 w 829044"/>
                <a:gd name="connsiteY3-332" fmla="*/ 1196336 h 1253820"/>
                <a:gd name="connsiteX4-333" fmla="*/ 428582 w 829044"/>
                <a:gd name="connsiteY4-334" fmla="*/ 1253820 h 1253820"/>
                <a:gd name="connsiteX5-335" fmla="*/ 328544 w 829044"/>
                <a:gd name="connsiteY5-336" fmla="*/ 1193062 h 1253820"/>
                <a:gd name="connsiteX6-337" fmla="*/ 676 w 829044"/>
                <a:gd name="connsiteY6-338" fmla="*/ 629890 h 1253820"/>
                <a:gd name="connsiteX7-339" fmla="*/ 326118 w 829044"/>
                <a:gd name="connsiteY7-340" fmla="*/ 91355 h 1253820"/>
                <a:gd name="connsiteX8-341" fmla="*/ 451487 w 829044"/>
                <a:gd name="connsiteY8-342" fmla="*/ 0 h 1253820"/>
                <a:gd name="connsiteX0-343" fmla="*/ 451487 w 829044"/>
                <a:gd name="connsiteY0-344" fmla="*/ 0 h 1265247"/>
                <a:gd name="connsiteX1-345" fmla="*/ 506074 w 829044"/>
                <a:gd name="connsiteY1-346" fmla="*/ 55429 h 1265247"/>
                <a:gd name="connsiteX2-347" fmla="*/ 828785 w 829044"/>
                <a:gd name="connsiteY2-348" fmla="*/ 620654 h 1265247"/>
                <a:gd name="connsiteX3-349" fmla="*/ 534488 w 829044"/>
                <a:gd name="connsiteY3-350" fmla="*/ 1196336 h 1265247"/>
                <a:gd name="connsiteX4-351" fmla="*/ 423064 w 829044"/>
                <a:gd name="connsiteY4-352" fmla="*/ 1265247 h 1265247"/>
                <a:gd name="connsiteX5-353" fmla="*/ 328544 w 829044"/>
                <a:gd name="connsiteY5-354" fmla="*/ 1193062 h 1265247"/>
                <a:gd name="connsiteX6-355" fmla="*/ 676 w 829044"/>
                <a:gd name="connsiteY6-356" fmla="*/ 629890 h 1265247"/>
                <a:gd name="connsiteX7-357" fmla="*/ 326118 w 829044"/>
                <a:gd name="connsiteY7-358" fmla="*/ 91355 h 1265247"/>
                <a:gd name="connsiteX8-359" fmla="*/ 451487 w 829044"/>
                <a:gd name="connsiteY8-360" fmla="*/ 0 h 1265247"/>
                <a:gd name="connsiteX0-361" fmla="*/ 451513 w 829070"/>
                <a:gd name="connsiteY0-362" fmla="*/ 0 h 1265247"/>
                <a:gd name="connsiteX1-363" fmla="*/ 506100 w 829070"/>
                <a:gd name="connsiteY1-364" fmla="*/ 55429 h 1265247"/>
                <a:gd name="connsiteX2-365" fmla="*/ 828811 w 829070"/>
                <a:gd name="connsiteY2-366" fmla="*/ 620654 h 1265247"/>
                <a:gd name="connsiteX3-367" fmla="*/ 534514 w 829070"/>
                <a:gd name="connsiteY3-368" fmla="*/ 1196336 h 1265247"/>
                <a:gd name="connsiteX4-369" fmla="*/ 423090 w 829070"/>
                <a:gd name="connsiteY4-370" fmla="*/ 1265247 h 1265247"/>
                <a:gd name="connsiteX5-371" fmla="*/ 322108 w 829070"/>
                <a:gd name="connsiteY5-372" fmla="*/ 1194392 h 1265247"/>
                <a:gd name="connsiteX6-373" fmla="*/ 702 w 829070"/>
                <a:gd name="connsiteY6-374" fmla="*/ 629890 h 1265247"/>
                <a:gd name="connsiteX7-375" fmla="*/ 326144 w 829070"/>
                <a:gd name="connsiteY7-376" fmla="*/ 91355 h 1265247"/>
                <a:gd name="connsiteX8-377" fmla="*/ 451513 w 829070"/>
                <a:gd name="connsiteY8-378" fmla="*/ 0 h 1265247"/>
                <a:gd name="connsiteX0-379" fmla="*/ 451513 w 829070"/>
                <a:gd name="connsiteY0-380" fmla="*/ 0 h 1271823"/>
                <a:gd name="connsiteX1-381" fmla="*/ 506100 w 829070"/>
                <a:gd name="connsiteY1-382" fmla="*/ 55429 h 1271823"/>
                <a:gd name="connsiteX2-383" fmla="*/ 828811 w 829070"/>
                <a:gd name="connsiteY2-384" fmla="*/ 620654 h 1271823"/>
                <a:gd name="connsiteX3-385" fmla="*/ 534514 w 829070"/>
                <a:gd name="connsiteY3-386" fmla="*/ 1196336 h 1271823"/>
                <a:gd name="connsiteX4-387" fmla="*/ 428644 w 829070"/>
                <a:gd name="connsiteY4-388" fmla="*/ 1271823 h 1271823"/>
                <a:gd name="connsiteX5-389" fmla="*/ 322108 w 829070"/>
                <a:gd name="connsiteY5-390" fmla="*/ 1194392 h 1271823"/>
                <a:gd name="connsiteX6-391" fmla="*/ 702 w 829070"/>
                <a:gd name="connsiteY6-392" fmla="*/ 629890 h 1271823"/>
                <a:gd name="connsiteX7-393" fmla="*/ 326144 w 829070"/>
                <a:gd name="connsiteY7-394" fmla="*/ 91355 h 1271823"/>
                <a:gd name="connsiteX8-395" fmla="*/ 451513 w 829070"/>
                <a:gd name="connsiteY8-396" fmla="*/ 0 h 1271823"/>
                <a:gd name="connsiteX0-397" fmla="*/ 451513 w 828827"/>
                <a:gd name="connsiteY0-398" fmla="*/ 0 h 1271823"/>
                <a:gd name="connsiteX1-399" fmla="*/ 506100 w 828827"/>
                <a:gd name="connsiteY1-400" fmla="*/ 55429 h 1271823"/>
                <a:gd name="connsiteX2-401" fmla="*/ 828811 w 828827"/>
                <a:gd name="connsiteY2-402" fmla="*/ 620654 h 1271823"/>
                <a:gd name="connsiteX3-403" fmla="*/ 534514 w 828827"/>
                <a:gd name="connsiteY3-404" fmla="*/ 1196336 h 1271823"/>
                <a:gd name="connsiteX4-405" fmla="*/ 428644 w 828827"/>
                <a:gd name="connsiteY4-406" fmla="*/ 1271823 h 1271823"/>
                <a:gd name="connsiteX5-407" fmla="*/ 322108 w 828827"/>
                <a:gd name="connsiteY5-408" fmla="*/ 1194392 h 1271823"/>
                <a:gd name="connsiteX6-409" fmla="*/ 702 w 828827"/>
                <a:gd name="connsiteY6-410" fmla="*/ 629890 h 1271823"/>
                <a:gd name="connsiteX7-411" fmla="*/ 326144 w 828827"/>
                <a:gd name="connsiteY7-412" fmla="*/ 91355 h 1271823"/>
                <a:gd name="connsiteX8-413" fmla="*/ 451513 w 828827"/>
                <a:gd name="connsiteY8-414" fmla="*/ 0 h 127182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828827" h="1271823">
                  <a:moveTo>
                    <a:pt x="451513" y="0"/>
                  </a:moveTo>
                  <a:lnTo>
                    <a:pt x="506100" y="55429"/>
                  </a:lnTo>
                  <a:cubicBezTo>
                    <a:pt x="701049" y="178073"/>
                    <a:pt x="830487" y="408872"/>
                    <a:pt x="828811" y="620654"/>
                  </a:cubicBezTo>
                  <a:cubicBezTo>
                    <a:pt x="827135" y="832436"/>
                    <a:pt x="678162" y="1037335"/>
                    <a:pt x="534514" y="1196336"/>
                  </a:cubicBezTo>
                  <a:lnTo>
                    <a:pt x="428644" y="1271823"/>
                  </a:lnTo>
                  <a:lnTo>
                    <a:pt x="322108" y="1194392"/>
                  </a:lnTo>
                  <a:cubicBezTo>
                    <a:pt x="138417" y="1070293"/>
                    <a:pt x="-11566" y="866239"/>
                    <a:pt x="702" y="629890"/>
                  </a:cubicBezTo>
                  <a:cubicBezTo>
                    <a:pt x="27933" y="408847"/>
                    <a:pt x="164430" y="233879"/>
                    <a:pt x="326144" y="91355"/>
                  </a:cubicBezTo>
                  <a:lnTo>
                    <a:pt x="45151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700" dirty="0">
                  <a:solidFill>
                    <a:srgbClr val="FFFFFF"/>
                  </a:solidFill>
                  <a:latin typeface="+mn-ea"/>
                </a:rPr>
                <a:t>新卖点</a:t>
              </a:r>
            </a:p>
          </p:txBody>
        </p:sp>
        <p:sp>
          <p:nvSpPr>
            <p:cNvPr id="5" name="任意多边形 4"/>
            <p:cNvSpPr/>
            <p:nvPr/>
          </p:nvSpPr>
          <p:spPr>
            <a:xfrm rot="19540719">
              <a:off x="3399960" y="1598120"/>
              <a:ext cx="783908" cy="1265340"/>
            </a:xfrm>
            <a:custGeom>
              <a:avLst/>
              <a:gdLst>
                <a:gd name="connsiteX0" fmla="*/ 410370 w 820739"/>
                <a:gd name="connsiteY0" fmla="*/ 0 h 1260220"/>
                <a:gd name="connsiteX1" fmla="*/ 516276 w 820739"/>
                <a:gd name="connsiteY1" fmla="*/ 57484 h 1260220"/>
                <a:gd name="connsiteX2" fmla="*/ 820739 w 820739"/>
                <a:gd name="connsiteY2" fmla="*/ 630110 h 1260220"/>
                <a:gd name="connsiteX3" fmla="*/ 516276 w 820739"/>
                <a:gd name="connsiteY3" fmla="*/ 1202736 h 1260220"/>
                <a:gd name="connsiteX4" fmla="*/ 410370 w 820739"/>
                <a:gd name="connsiteY4" fmla="*/ 1260220 h 1260220"/>
                <a:gd name="connsiteX5" fmla="*/ 304463 w 820739"/>
                <a:gd name="connsiteY5" fmla="*/ 1202736 h 1260220"/>
                <a:gd name="connsiteX6" fmla="*/ 0 w 820739"/>
                <a:gd name="connsiteY6" fmla="*/ 630110 h 1260220"/>
                <a:gd name="connsiteX7" fmla="*/ 304463 w 820739"/>
                <a:gd name="connsiteY7" fmla="*/ 57484 h 1260220"/>
                <a:gd name="connsiteX8" fmla="*/ 410370 w 820739"/>
                <a:gd name="connsiteY8" fmla="*/ 0 h 1260220"/>
                <a:gd name="connsiteX0-1" fmla="*/ 410370 w 820739"/>
                <a:gd name="connsiteY0-2" fmla="*/ 0 h 1260220"/>
                <a:gd name="connsiteX1-3" fmla="*/ 516276 w 820739"/>
                <a:gd name="connsiteY1-4" fmla="*/ 57484 h 1260220"/>
                <a:gd name="connsiteX2-5" fmla="*/ 820739 w 820739"/>
                <a:gd name="connsiteY2-6" fmla="*/ 630110 h 1260220"/>
                <a:gd name="connsiteX3-7" fmla="*/ 516276 w 820739"/>
                <a:gd name="connsiteY3-8" fmla="*/ 1202736 h 1260220"/>
                <a:gd name="connsiteX4-9" fmla="*/ 410370 w 820739"/>
                <a:gd name="connsiteY4-10" fmla="*/ 1260220 h 1260220"/>
                <a:gd name="connsiteX5-11" fmla="*/ 304463 w 820739"/>
                <a:gd name="connsiteY5-12" fmla="*/ 1202736 h 1260220"/>
                <a:gd name="connsiteX6-13" fmla="*/ 0 w 820739"/>
                <a:gd name="connsiteY6-14" fmla="*/ 630110 h 1260220"/>
                <a:gd name="connsiteX7-15" fmla="*/ 326799 w 820739"/>
                <a:gd name="connsiteY7-16" fmla="*/ 83379 h 1260220"/>
                <a:gd name="connsiteX8-17" fmla="*/ 410370 w 820739"/>
                <a:gd name="connsiteY8-18" fmla="*/ 0 h 1260220"/>
                <a:gd name="connsiteX0-19" fmla="*/ 433275 w 820739"/>
                <a:gd name="connsiteY0-20" fmla="*/ 0 h 1253820"/>
                <a:gd name="connsiteX1-21" fmla="*/ 516276 w 820739"/>
                <a:gd name="connsiteY1-22" fmla="*/ 51084 h 1253820"/>
                <a:gd name="connsiteX2-23" fmla="*/ 820739 w 820739"/>
                <a:gd name="connsiteY2-24" fmla="*/ 623710 h 1253820"/>
                <a:gd name="connsiteX3-25" fmla="*/ 516276 w 820739"/>
                <a:gd name="connsiteY3-26" fmla="*/ 1196336 h 1253820"/>
                <a:gd name="connsiteX4-27" fmla="*/ 410370 w 820739"/>
                <a:gd name="connsiteY4-28" fmla="*/ 1253820 h 1253820"/>
                <a:gd name="connsiteX5-29" fmla="*/ 304463 w 820739"/>
                <a:gd name="connsiteY5-30" fmla="*/ 1196336 h 1253820"/>
                <a:gd name="connsiteX6-31" fmla="*/ 0 w 820739"/>
                <a:gd name="connsiteY6-32" fmla="*/ 623710 h 1253820"/>
                <a:gd name="connsiteX7-33" fmla="*/ 326799 w 820739"/>
                <a:gd name="connsiteY7-34" fmla="*/ 76979 h 1253820"/>
                <a:gd name="connsiteX8-35" fmla="*/ 433275 w 820739"/>
                <a:gd name="connsiteY8-36" fmla="*/ 0 h 1253820"/>
                <a:gd name="connsiteX0-37" fmla="*/ 433275 w 820739"/>
                <a:gd name="connsiteY0-38" fmla="*/ 0 h 1253820"/>
                <a:gd name="connsiteX1-39" fmla="*/ 516276 w 820739"/>
                <a:gd name="connsiteY1-40" fmla="*/ 51084 h 1253820"/>
                <a:gd name="connsiteX2-41" fmla="*/ 820739 w 820739"/>
                <a:gd name="connsiteY2-42" fmla="*/ 623710 h 1253820"/>
                <a:gd name="connsiteX3-43" fmla="*/ 516276 w 820739"/>
                <a:gd name="connsiteY3-44" fmla="*/ 1196336 h 1253820"/>
                <a:gd name="connsiteX4-45" fmla="*/ 410370 w 820739"/>
                <a:gd name="connsiteY4-46" fmla="*/ 1253820 h 1253820"/>
                <a:gd name="connsiteX5-47" fmla="*/ 304463 w 820739"/>
                <a:gd name="connsiteY5-48" fmla="*/ 1196336 h 1253820"/>
                <a:gd name="connsiteX6-49" fmla="*/ 0 w 820739"/>
                <a:gd name="connsiteY6-50" fmla="*/ 623710 h 1253820"/>
                <a:gd name="connsiteX7-51" fmla="*/ 326799 w 820739"/>
                <a:gd name="connsiteY7-52" fmla="*/ 76979 h 1253820"/>
                <a:gd name="connsiteX8-53" fmla="*/ 433275 w 820739"/>
                <a:gd name="connsiteY8-54" fmla="*/ 0 h 1253820"/>
                <a:gd name="connsiteX0-55" fmla="*/ 433275 w 820739"/>
                <a:gd name="connsiteY0-56" fmla="*/ 0 h 1253820"/>
                <a:gd name="connsiteX1-57" fmla="*/ 516276 w 820739"/>
                <a:gd name="connsiteY1-58" fmla="*/ 51084 h 1253820"/>
                <a:gd name="connsiteX2-59" fmla="*/ 820739 w 820739"/>
                <a:gd name="connsiteY2-60" fmla="*/ 623710 h 1253820"/>
                <a:gd name="connsiteX3-61" fmla="*/ 516276 w 820739"/>
                <a:gd name="connsiteY3-62" fmla="*/ 1196336 h 1253820"/>
                <a:gd name="connsiteX4-63" fmla="*/ 410370 w 820739"/>
                <a:gd name="connsiteY4-64" fmla="*/ 1253820 h 1253820"/>
                <a:gd name="connsiteX5-65" fmla="*/ 310332 w 820739"/>
                <a:gd name="connsiteY5-66" fmla="*/ 1193062 h 1253820"/>
                <a:gd name="connsiteX6-67" fmla="*/ 0 w 820739"/>
                <a:gd name="connsiteY6-68" fmla="*/ 623710 h 1253820"/>
                <a:gd name="connsiteX7-69" fmla="*/ 326799 w 820739"/>
                <a:gd name="connsiteY7-70" fmla="*/ 76979 h 1253820"/>
                <a:gd name="connsiteX8-71" fmla="*/ 433275 w 820739"/>
                <a:gd name="connsiteY8-72" fmla="*/ 0 h 1253820"/>
                <a:gd name="connsiteX0-73" fmla="*/ 433275 w 820821"/>
                <a:gd name="connsiteY0-74" fmla="*/ 0 h 1253820"/>
                <a:gd name="connsiteX1-75" fmla="*/ 493730 w 820821"/>
                <a:gd name="connsiteY1-76" fmla="*/ 52155 h 1253820"/>
                <a:gd name="connsiteX2-77" fmla="*/ 820739 w 820821"/>
                <a:gd name="connsiteY2-78" fmla="*/ 623710 h 1253820"/>
                <a:gd name="connsiteX3-79" fmla="*/ 516276 w 820821"/>
                <a:gd name="connsiteY3-80" fmla="*/ 1196336 h 1253820"/>
                <a:gd name="connsiteX4-81" fmla="*/ 410370 w 820821"/>
                <a:gd name="connsiteY4-82" fmla="*/ 1253820 h 1253820"/>
                <a:gd name="connsiteX5-83" fmla="*/ 310332 w 820821"/>
                <a:gd name="connsiteY5-84" fmla="*/ 1193062 h 1253820"/>
                <a:gd name="connsiteX6-85" fmla="*/ 0 w 820821"/>
                <a:gd name="connsiteY6-86" fmla="*/ 623710 h 1253820"/>
                <a:gd name="connsiteX7-87" fmla="*/ 326799 w 820821"/>
                <a:gd name="connsiteY7-88" fmla="*/ 76979 h 1253820"/>
                <a:gd name="connsiteX8-89" fmla="*/ 433275 w 820821"/>
                <a:gd name="connsiteY8-90" fmla="*/ 0 h 1253820"/>
                <a:gd name="connsiteX0-91" fmla="*/ 433275 w 820868"/>
                <a:gd name="connsiteY0-92" fmla="*/ 0 h 1253820"/>
                <a:gd name="connsiteX1-93" fmla="*/ 487862 w 820868"/>
                <a:gd name="connsiteY1-94" fmla="*/ 55429 h 1253820"/>
                <a:gd name="connsiteX2-95" fmla="*/ 820739 w 820868"/>
                <a:gd name="connsiteY2-96" fmla="*/ 623710 h 1253820"/>
                <a:gd name="connsiteX3-97" fmla="*/ 516276 w 820868"/>
                <a:gd name="connsiteY3-98" fmla="*/ 1196336 h 1253820"/>
                <a:gd name="connsiteX4-99" fmla="*/ 410370 w 820868"/>
                <a:gd name="connsiteY4-100" fmla="*/ 1253820 h 1253820"/>
                <a:gd name="connsiteX5-101" fmla="*/ 310332 w 820868"/>
                <a:gd name="connsiteY5-102" fmla="*/ 1193062 h 1253820"/>
                <a:gd name="connsiteX6-103" fmla="*/ 0 w 820868"/>
                <a:gd name="connsiteY6-104" fmla="*/ 623710 h 1253820"/>
                <a:gd name="connsiteX7-105" fmla="*/ 326799 w 820868"/>
                <a:gd name="connsiteY7-106" fmla="*/ 76979 h 1253820"/>
                <a:gd name="connsiteX8-107" fmla="*/ 433275 w 820868"/>
                <a:gd name="connsiteY8-108" fmla="*/ 0 h 1253820"/>
                <a:gd name="connsiteX0-109" fmla="*/ 433275 w 820868"/>
                <a:gd name="connsiteY0-110" fmla="*/ 0 h 1253820"/>
                <a:gd name="connsiteX1-111" fmla="*/ 487862 w 820868"/>
                <a:gd name="connsiteY1-112" fmla="*/ 55429 h 1253820"/>
                <a:gd name="connsiteX2-113" fmla="*/ 820739 w 820868"/>
                <a:gd name="connsiteY2-114" fmla="*/ 623710 h 1253820"/>
                <a:gd name="connsiteX3-115" fmla="*/ 516276 w 820868"/>
                <a:gd name="connsiteY3-116" fmla="*/ 1196336 h 1253820"/>
                <a:gd name="connsiteX4-117" fmla="*/ 410370 w 820868"/>
                <a:gd name="connsiteY4-118" fmla="*/ 1253820 h 1253820"/>
                <a:gd name="connsiteX5-119" fmla="*/ 310332 w 820868"/>
                <a:gd name="connsiteY5-120" fmla="*/ 1193062 h 1253820"/>
                <a:gd name="connsiteX6-121" fmla="*/ 0 w 820868"/>
                <a:gd name="connsiteY6-122" fmla="*/ 623710 h 1253820"/>
                <a:gd name="connsiteX7-123" fmla="*/ 307906 w 820868"/>
                <a:gd name="connsiteY7-124" fmla="*/ 91355 h 1253820"/>
                <a:gd name="connsiteX8-125" fmla="*/ 433275 w 820868"/>
                <a:gd name="connsiteY8-126" fmla="*/ 0 h 1253820"/>
                <a:gd name="connsiteX0-127" fmla="*/ 433275 w 820868"/>
                <a:gd name="connsiteY0-128" fmla="*/ 0 h 1253820"/>
                <a:gd name="connsiteX1-129" fmla="*/ 487862 w 820868"/>
                <a:gd name="connsiteY1-130" fmla="*/ 55429 h 1253820"/>
                <a:gd name="connsiteX2-131" fmla="*/ 820739 w 820868"/>
                <a:gd name="connsiteY2-132" fmla="*/ 623710 h 1253820"/>
                <a:gd name="connsiteX3-133" fmla="*/ 516276 w 820868"/>
                <a:gd name="connsiteY3-134" fmla="*/ 1196336 h 1253820"/>
                <a:gd name="connsiteX4-135" fmla="*/ 410370 w 820868"/>
                <a:gd name="connsiteY4-136" fmla="*/ 1253820 h 1253820"/>
                <a:gd name="connsiteX5-137" fmla="*/ 310332 w 820868"/>
                <a:gd name="connsiteY5-138" fmla="*/ 1193062 h 1253820"/>
                <a:gd name="connsiteX6-139" fmla="*/ 0 w 820868"/>
                <a:gd name="connsiteY6-140" fmla="*/ 623710 h 1253820"/>
                <a:gd name="connsiteX7-141" fmla="*/ 307906 w 820868"/>
                <a:gd name="connsiteY7-142" fmla="*/ 91355 h 1253820"/>
                <a:gd name="connsiteX8-143" fmla="*/ 433275 w 820868"/>
                <a:gd name="connsiteY8-144" fmla="*/ 0 h 1253820"/>
                <a:gd name="connsiteX0-145" fmla="*/ 433275 w 821563"/>
                <a:gd name="connsiteY0-146" fmla="*/ 0 h 1253820"/>
                <a:gd name="connsiteX1-147" fmla="*/ 487862 w 821563"/>
                <a:gd name="connsiteY1-148" fmla="*/ 55429 h 1253820"/>
                <a:gd name="connsiteX2-149" fmla="*/ 820739 w 821563"/>
                <a:gd name="connsiteY2-150" fmla="*/ 623710 h 1253820"/>
                <a:gd name="connsiteX3-151" fmla="*/ 516276 w 821563"/>
                <a:gd name="connsiteY3-152" fmla="*/ 1196336 h 1253820"/>
                <a:gd name="connsiteX4-153" fmla="*/ 410370 w 821563"/>
                <a:gd name="connsiteY4-154" fmla="*/ 1253820 h 1253820"/>
                <a:gd name="connsiteX5-155" fmla="*/ 310332 w 821563"/>
                <a:gd name="connsiteY5-156" fmla="*/ 1193062 h 1253820"/>
                <a:gd name="connsiteX6-157" fmla="*/ 0 w 821563"/>
                <a:gd name="connsiteY6-158" fmla="*/ 623710 h 1253820"/>
                <a:gd name="connsiteX7-159" fmla="*/ 307906 w 821563"/>
                <a:gd name="connsiteY7-160" fmla="*/ 91355 h 1253820"/>
                <a:gd name="connsiteX8-161" fmla="*/ 433275 w 821563"/>
                <a:gd name="connsiteY8-162" fmla="*/ 0 h 1253820"/>
                <a:gd name="connsiteX0-163" fmla="*/ 433275 w 821554"/>
                <a:gd name="connsiteY0-164" fmla="*/ 0 h 1253820"/>
                <a:gd name="connsiteX1-165" fmla="*/ 487862 w 821554"/>
                <a:gd name="connsiteY1-166" fmla="*/ 55429 h 1253820"/>
                <a:gd name="connsiteX2-167" fmla="*/ 820739 w 821554"/>
                <a:gd name="connsiteY2-168" fmla="*/ 623710 h 1253820"/>
                <a:gd name="connsiteX3-169" fmla="*/ 516276 w 821554"/>
                <a:gd name="connsiteY3-170" fmla="*/ 1196336 h 1253820"/>
                <a:gd name="connsiteX4-171" fmla="*/ 410370 w 821554"/>
                <a:gd name="connsiteY4-172" fmla="*/ 1253820 h 1253820"/>
                <a:gd name="connsiteX5-173" fmla="*/ 310332 w 821554"/>
                <a:gd name="connsiteY5-174" fmla="*/ 1193062 h 1253820"/>
                <a:gd name="connsiteX6-175" fmla="*/ 0 w 821554"/>
                <a:gd name="connsiteY6-176" fmla="*/ 623710 h 1253820"/>
                <a:gd name="connsiteX7-177" fmla="*/ 307906 w 821554"/>
                <a:gd name="connsiteY7-178" fmla="*/ 91355 h 1253820"/>
                <a:gd name="connsiteX8-179" fmla="*/ 433275 w 821554"/>
                <a:gd name="connsiteY8-180" fmla="*/ 0 h 1253820"/>
                <a:gd name="connsiteX0-181" fmla="*/ 433275 w 821554"/>
                <a:gd name="connsiteY0-182" fmla="*/ 0 h 1253820"/>
                <a:gd name="connsiteX1-183" fmla="*/ 487862 w 821554"/>
                <a:gd name="connsiteY1-184" fmla="*/ 55429 h 1253820"/>
                <a:gd name="connsiteX2-185" fmla="*/ 820739 w 821554"/>
                <a:gd name="connsiteY2-186" fmla="*/ 623710 h 1253820"/>
                <a:gd name="connsiteX3-187" fmla="*/ 516276 w 821554"/>
                <a:gd name="connsiteY3-188" fmla="*/ 1196336 h 1253820"/>
                <a:gd name="connsiteX4-189" fmla="*/ 410370 w 821554"/>
                <a:gd name="connsiteY4-190" fmla="*/ 1253820 h 1253820"/>
                <a:gd name="connsiteX5-191" fmla="*/ 310332 w 821554"/>
                <a:gd name="connsiteY5-192" fmla="*/ 1193062 h 1253820"/>
                <a:gd name="connsiteX6-193" fmla="*/ 0 w 821554"/>
                <a:gd name="connsiteY6-194" fmla="*/ 623710 h 1253820"/>
                <a:gd name="connsiteX7-195" fmla="*/ 307906 w 821554"/>
                <a:gd name="connsiteY7-196" fmla="*/ 91355 h 1253820"/>
                <a:gd name="connsiteX8-197" fmla="*/ 433275 w 821554"/>
                <a:gd name="connsiteY8-198" fmla="*/ 0 h 1253820"/>
                <a:gd name="connsiteX0-199" fmla="*/ 433290 w 821569"/>
                <a:gd name="connsiteY0-200" fmla="*/ 0 h 1253820"/>
                <a:gd name="connsiteX1-201" fmla="*/ 487877 w 821569"/>
                <a:gd name="connsiteY1-202" fmla="*/ 55429 h 1253820"/>
                <a:gd name="connsiteX2-203" fmla="*/ 820754 w 821569"/>
                <a:gd name="connsiteY2-204" fmla="*/ 623710 h 1253820"/>
                <a:gd name="connsiteX3-205" fmla="*/ 516291 w 821569"/>
                <a:gd name="connsiteY3-206" fmla="*/ 1196336 h 1253820"/>
                <a:gd name="connsiteX4-207" fmla="*/ 410385 w 821569"/>
                <a:gd name="connsiteY4-208" fmla="*/ 1253820 h 1253820"/>
                <a:gd name="connsiteX5-209" fmla="*/ 310347 w 821569"/>
                <a:gd name="connsiteY5-210" fmla="*/ 1193062 h 1253820"/>
                <a:gd name="connsiteX6-211" fmla="*/ 15 w 821569"/>
                <a:gd name="connsiteY6-212" fmla="*/ 623710 h 1253820"/>
                <a:gd name="connsiteX7-213" fmla="*/ 307921 w 821569"/>
                <a:gd name="connsiteY7-214" fmla="*/ 91355 h 1253820"/>
                <a:gd name="connsiteX8-215" fmla="*/ 433290 w 821569"/>
                <a:gd name="connsiteY8-216" fmla="*/ 0 h 1253820"/>
                <a:gd name="connsiteX0-217" fmla="*/ 459559 w 821569"/>
                <a:gd name="connsiteY0-218" fmla="*/ 0 h 1256861"/>
                <a:gd name="connsiteX1-219" fmla="*/ 487877 w 821569"/>
                <a:gd name="connsiteY1-220" fmla="*/ 58470 h 1256861"/>
                <a:gd name="connsiteX2-221" fmla="*/ 820754 w 821569"/>
                <a:gd name="connsiteY2-222" fmla="*/ 626751 h 1256861"/>
                <a:gd name="connsiteX3-223" fmla="*/ 516291 w 821569"/>
                <a:gd name="connsiteY3-224" fmla="*/ 1199377 h 1256861"/>
                <a:gd name="connsiteX4-225" fmla="*/ 410385 w 821569"/>
                <a:gd name="connsiteY4-226" fmla="*/ 1256861 h 1256861"/>
                <a:gd name="connsiteX5-227" fmla="*/ 310347 w 821569"/>
                <a:gd name="connsiteY5-228" fmla="*/ 1196103 h 1256861"/>
                <a:gd name="connsiteX6-229" fmla="*/ 15 w 821569"/>
                <a:gd name="connsiteY6-230" fmla="*/ 626751 h 1256861"/>
                <a:gd name="connsiteX7-231" fmla="*/ 307921 w 821569"/>
                <a:gd name="connsiteY7-232" fmla="*/ 94396 h 1256861"/>
                <a:gd name="connsiteX8-233" fmla="*/ 459559 w 821569"/>
                <a:gd name="connsiteY8-234" fmla="*/ 0 h 1256861"/>
                <a:gd name="connsiteX0-235" fmla="*/ 459559 w 820796"/>
                <a:gd name="connsiteY0-236" fmla="*/ 0 h 1256861"/>
                <a:gd name="connsiteX1-237" fmla="*/ 500409 w 820796"/>
                <a:gd name="connsiteY1-238" fmla="*/ 49306 h 1256861"/>
                <a:gd name="connsiteX2-239" fmla="*/ 820754 w 820796"/>
                <a:gd name="connsiteY2-240" fmla="*/ 626751 h 1256861"/>
                <a:gd name="connsiteX3-241" fmla="*/ 516291 w 820796"/>
                <a:gd name="connsiteY3-242" fmla="*/ 1199377 h 1256861"/>
                <a:gd name="connsiteX4-243" fmla="*/ 410385 w 820796"/>
                <a:gd name="connsiteY4-244" fmla="*/ 1256861 h 1256861"/>
                <a:gd name="connsiteX5-245" fmla="*/ 310347 w 820796"/>
                <a:gd name="connsiteY5-246" fmla="*/ 1196103 h 1256861"/>
                <a:gd name="connsiteX6-247" fmla="*/ 15 w 820796"/>
                <a:gd name="connsiteY6-248" fmla="*/ 626751 h 1256861"/>
                <a:gd name="connsiteX7-249" fmla="*/ 307921 w 820796"/>
                <a:gd name="connsiteY7-250" fmla="*/ 94396 h 1256861"/>
                <a:gd name="connsiteX8-251" fmla="*/ 459559 w 820796"/>
                <a:gd name="connsiteY8-252" fmla="*/ 0 h 1256861"/>
                <a:gd name="connsiteX0-253" fmla="*/ 459559 w 820795"/>
                <a:gd name="connsiteY0-254" fmla="*/ 0 h 1256861"/>
                <a:gd name="connsiteX1-255" fmla="*/ 500409 w 820795"/>
                <a:gd name="connsiteY1-256" fmla="*/ 49306 h 1256861"/>
                <a:gd name="connsiteX2-257" fmla="*/ 820754 w 820795"/>
                <a:gd name="connsiteY2-258" fmla="*/ 626751 h 1256861"/>
                <a:gd name="connsiteX3-259" fmla="*/ 516291 w 820795"/>
                <a:gd name="connsiteY3-260" fmla="*/ 1199377 h 1256861"/>
                <a:gd name="connsiteX4-261" fmla="*/ 410385 w 820795"/>
                <a:gd name="connsiteY4-262" fmla="*/ 1256861 h 1256861"/>
                <a:gd name="connsiteX5-263" fmla="*/ 310347 w 820795"/>
                <a:gd name="connsiteY5-264" fmla="*/ 1196103 h 1256861"/>
                <a:gd name="connsiteX6-265" fmla="*/ 15 w 820795"/>
                <a:gd name="connsiteY6-266" fmla="*/ 626751 h 1256861"/>
                <a:gd name="connsiteX7-267" fmla="*/ 318200 w 820795"/>
                <a:gd name="connsiteY7-268" fmla="*/ 101144 h 1256861"/>
                <a:gd name="connsiteX8-269" fmla="*/ 459559 w 820795"/>
                <a:gd name="connsiteY8-270" fmla="*/ 0 h 1256861"/>
                <a:gd name="connsiteX0-271" fmla="*/ 459558 w 820794"/>
                <a:gd name="connsiteY0-272" fmla="*/ 0 h 1256861"/>
                <a:gd name="connsiteX1-273" fmla="*/ 500408 w 820794"/>
                <a:gd name="connsiteY1-274" fmla="*/ 49306 h 1256861"/>
                <a:gd name="connsiteX2-275" fmla="*/ 820753 w 820794"/>
                <a:gd name="connsiteY2-276" fmla="*/ 626751 h 1256861"/>
                <a:gd name="connsiteX3-277" fmla="*/ 516290 w 820794"/>
                <a:gd name="connsiteY3-278" fmla="*/ 1199377 h 1256861"/>
                <a:gd name="connsiteX4-279" fmla="*/ 410384 w 820794"/>
                <a:gd name="connsiteY4-280" fmla="*/ 1256861 h 1256861"/>
                <a:gd name="connsiteX5-281" fmla="*/ 328293 w 820794"/>
                <a:gd name="connsiteY5-282" fmla="*/ 1196293 h 1256861"/>
                <a:gd name="connsiteX6-283" fmla="*/ 14 w 820794"/>
                <a:gd name="connsiteY6-284" fmla="*/ 626751 h 1256861"/>
                <a:gd name="connsiteX7-285" fmla="*/ 318199 w 820794"/>
                <a:gd name="connsiteY7-286" fmla="*/ 101144 h 1256861"/>
                <a:gd name="connsiteX8-287" fmla="*/ 459558 w 820794"/>
                <a:gd name="connsiteY8-288" fmla="*/ 0 h 1256861"/>
                <a:gd name="connsiteX0-289" fmla="*/ 459558 w 820865"/>
                <a:gd name="connsiteY0-290" fmla="*/ 0 h 1256861"/>
                <a:gd name="connsiteX1-291" fmla="*/ 500408 w 820865"/>
                <a:gd name="connsiteY1-292" fmla="*/ 49306 h 1256861"/>
                <a:gd name="connsiteX2-293" fmla="*/ 820753 w 820865"/>
                <a:gd name="connsiteY2-294" fmla="*/ 626751 h 1256861"/>
                <a:gd name="connsiteX3-295" fmla="*/ 525916 w 820865"/>
                <a:gd name="connsiteY3-296" fmla="*/ 1202798 h 1256861"/>
                <a:gd name="connsiteX4-297" fmla="*/ 410384 w 820865"/>
                <a:gd name="connsiteY4-298" fmla="*/ 1256861 h 1256861"/>
                <a:gd name="connsiteX5-299" fmla="*/ 328293 w 820865"/>
                <a:gd name="connsiteY5-300" fmla="*/ 1196293 h 1256861"/>
                <a:gd name="connsiteX6-301" fmla="*/ 14 w 820865"/>
                <a:gd name="connsiteY6-302" fmla="*/ 626751 h 1256861"/>
                <a:gd name="connsiteX7-303" fmla="*/ 318199 w 820865"/>
                <a:gd name="connsiteY7-304" fmla="*/ 101144 h 1256861"/>
                <a:gd name="connsiteX8-305" fmla="*/ 459558 w 820865"/>
                <a:gd name="connsiteY8-306" fmla="*/ 0 h 1256861"/>
                <a:gd name="connsiteX0-307" fmla="*/ 459558 w 820865"/>
                <a:gd name="connsiteY0-308" fmla="*/ 0 h 1256861"/>
                <a:gd name="connsiteX1-309" fmla="*/ 500408 w 820865"/>
                <a:gd name="connsiteY1-310" fmla="*/ 49306 h 1256861"/>
                <a:gd name="connsiteX2-311" fmla="*/ 820753 w 820865"/>
                <a:gd name="connsiteY2-312" fmla="*/ 626751 h 1256861"/>
                <a:gd name="connsiteX3-313" fmla="*/ 525916 w 820865"/>
                <a:gd name="connsiteY3-314" fmla="*/ 1202798 h 1256861"/>
                <a:gd name="connsiteX4-315" fmla="*/ 410384 w 820865"/>
                <a:gd name="connsiteY4-316" fmla="*/ 1256861 h 1256861"/>
                <a:gd name="connsiteX5-317" fmla="*/ 328293 w 820865"/>
                <a:gd name="connsiteY5-318" fmla="*/ 1196293 h 1256861"/>
                <a:gd name="connsiteX6-319" fmla="*/ 14 w 820865"/>
                <a:gd name="connsiteY6-320" fmla="*/ 626751 h 1256861"/>
                <a:gd name="connsiteX7-321" fmla="*/ 318199 w 820865"/>
                <a:gd name="connsiteY7-322" fmla="*/ 101144 h 1256861"/>
                <a:gd name="connsiteX8-323" fmla="*/ 459558 w 820865"/>
                <a:gd name="connsiteY8-324" fmla="*/ 0 h 1256861"/>
                <a:gd name="connsiteX0-325" fmla="*/ 459558 w 820865"/>
                <a:gd name="connsiteY0-326" fmla="*/ 0 h 1275566"/>
                <a:gd name="connsiteX1-327" fmla="*/ 500408 w 820865"/>
                <a:gd name="connsiteY1-328" fmla="*/ 49306 h 1275566"/>
                <a:gd name="connsiteX2-329" fmla="*/ 820753 w 820865"/>
                <a:gd name="connsiteY2-330" fmla="*/ 626751 h 1275566"/>
                <a:gd name="connsiteX3-331" fmla="*/ 525916 w 820865"/>
                <a:gd name="connsiteY3-332" fmla="*/ 1202798 h 1275566"/>
                <a:gd name="connsiteX4-333" fmla="*/ 421217 w 820865"/>
                <a:gd name="connsiteY4-334" fmla="*/ 1275566 h 1275566"/>
                <a:gd name="connsiteX5-335" fmla="*/ 328293 w 820865"/>
                <a:gd name="connsiteY5-336" fmla="*/ 1196293 h 1275566"/>
                <a:gd name="connsiteX6-337" fmla="*/ 14 w 820865"/>
                <a:gd name="connsiteY6-338" fmla="*/ 626751 h 1275566"/>
                <a:gd name="connsiteX7-339" fmla="*/ 318199 w 820865"/>
                <a:gd name="connsiteY7-340" fmla="*/ 101144 h 1275566"/>
                <a:gd name="connsiteX8-341" fmla="*/ 459558 w 820865"/>
                <a:gd name="connsiteY8-342" fmla="*/ 0 h 1275566"/>
                <a:gd name="connsiteX0-343" fmla="*/ 459558 w 820865"/>
                <a:gd name="connsiteY0-344" fmla="*/ 0 h 1275566"/>
                <a:gd name="connsiteX1-345" fmla="*/ 500408 w 820865"/>
                <a:gd name="connsiteY1-346" fmla="*/ 49306 h 1275566"/>
                <a:gd name="connsiteX2-347" fmla="*/ 820753 w 820865"/>
                <a:gd name="connsiteY2-348" fmla="*/ 626751 h 1275566"/>
                <a:gd name="connsiteX3-349" fmla="*/ 525916 w 820865"/>
                <a:gd name="connsiteY3-350" fmla="*/ 1202798 h 1275566"/>
                <a:gd name="connsiteX4-351" fmla="*/ 421217 w 820865"/>
                <a:gd name="connsiteY4-352" fmla="*/ 1275566 h 1275566"/>
                <a:gd name="connsiteX5-353" fmla="*/ 328293 w 820865"/>
                <a:gd name="connsiteY5-354" fmla="*/ 1196293 h 1275566"/>
                <a:gd name="connsiteX6-355" fmla="*/ 14 w 820865"/>
                <a:gd name="connsiteY6-356" fmla="*/ 626751 h 1275566"/>
                <a:gd name="connsiteX7-357" fmla="*/ 318199 w 820865"/>
                <a:gd name="connsiteY7-358" fmla="*/ 101144 h 1275566"/>
                <a:gd name="connsiteX8-359" fmla="*/ 459558 w 820865"/>
                <a:gd name="connsiteY8-360" fmla="*/ 0 h 127556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820865" h="1275566">
                  <a:moveTo>
                    <a:pt x="459558" y="0"/>
                  </a:moveTo>
                  <a:lnTo>
                    <a:pt x="500408" y="49306"/>
                  </a:lnTo>
                  <a:cubicBezTo>
                    <a:pt x="673856" y="189074"/>
                    <a:pt x="816502" y="434502"/>
                    <a:pt x="820753" y="626751"/>
                  </a:cubicBezTo>
                  <a:cubicBezTo>
                    <a:pt x="825004" y="819000"/>
                    <a:pt x="707960" y="1075782"/>
                    <a:pt x="525916" y="1202798"/>
                  </a:cubicBezTo>
                  <a:cubicBezTo>
                    <a:pt x="491016" y="1227054"/>
                    <a:pt x="470506" y="1260758"/>
                    <a:pt x="421217" y="1275566"/>
                  </a:cubicBezTo>
                  <a:lnTo>
                    <a:pt x="328293" y="1196293"/>
                  </a:lnTo>
                  <a:cubicBezTo>
                    <a:pt x="144602" y="1072194"/>
                    <a:pt x="-1633" y="862202"/>
                    <a:pt x="14" y="626751"/>
                  </a:cubicBezTo>
                  <a:cubicBezTo>
                    <a:pt x="32799" y="412285"/>
                    <a:pt x="156485" y="243668"/>
                    <a:pt x="318199" y="101144"/>
                  </a:cubicBezTo>
                  <a:lnTo>
                    <a:pt x="45955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solidFill>
                    <a:srgbClr val="FFFFFF"/>
                  </a:solidFill>
                  <a:latin typeface="+mn-ea"/>
                </a:rPr>
                <a:t>促销战</a:t>
              </a:r>
            </a:p>
          </p:txBody>
        </p:sp>
        <p:sp>
          <p:nvSpPr>
            <p:cNvPr id="6" name="任意多边形 5"/>
            <p:cNvSpPr/>
            <p:nvPr/>
          </p:nvSpPr>
          <p:spPr>
            <a:xfrm rot="2587076">
              <a:off x="4521188" y="1613957"/>
              <a:ext cx="934356" cy="1563066"/>
            </a:xfrm>
            <a:custGeom>
              <a:avLst/>
              <a:gdLst>
                <a:gd name="connsiteX0" fmla="*/ 410370 w 820739"/>
                <a:gd name="connsiteY0" fmla="*/ 0 h 1260220"/>
                <a:gd name="connsiteX1" fmla="*/ 516276 w 820739"/>
                <a:gd name="connsiteY1" fmla="*/ 57484 h 1260220"/>
                <a:gd name="connsiteX2" fmla="*/ 820739 w 820739"/>
                <a:gd name="connsiteY2" fmla="*/ 630110 h 1260220"/>
                <a:gd name="connsiteX3" fmla="*/ 516276 w 820739"/>
                <a:gd name="connsiteY3" fmla="*/ 1202736 h 1260220"/>
                <a:gd name="connsiteX4" fmla="*/ 410370 w 820739"/>
                <a:gd name="connsiteY4" fmla="*/ 1260220 h 1260220"/>
                <a:gd name="connsiteX5" fmla="*/ 304463 w 820739"/>
                <a:gd name="connsiteY5" fmla="*/ 1202736 h 1260220"/>
                <a:gd name="connsiteX6" fmla="*/ 0 w 820739"/>
                <a:gd name="connsiteY6" fmla="*/ 630110 h 1260220"/>
                <a:gd name="connsiteX7" fmla="*/ 304463 w 820739"/>
                <a:gd name="connsiteY7" fmla="*/ 57484 h 1260220"/>
                <a:gd name="connsiteX8" fmla="*/ 410370 w 820739"/>
                <a:gd name="connsiteY8" fmla="*/ 0 h 1260220"/>
                <a:gd name="connsiteX0-1" fmla="*/ 410370 w 820739"/>
                <a:gd name="connsiteY0-2" fmla="*/ 0 h 1260220"/>
                <a:gd name="connsiteX1-3" fmla="*/ 516276 w 820739"/>
                <a:gd name="connsiteY1-4" fmla="*/ 57484 h 1260220"/>
                <a:gd name="connsiteX2-5" fmla="*/ 820739 w 820739"/>
                <a:gd name="connsiteY2-6" fmla="*/ 630110 h 1260220"/>
                <a:gd name="connsiteX3-7" fmla="*/ 516276 w 820739"/>
                <a:gd name="connsiteY3-8" fmla="*/ 1202736 h 1260220"/>
                <a:gd name="connsiteX4-9" fmla="*/ 410370 w 820739"/>
                <a:gd name="connsiteY4-10" fmla="*/ 1260220 h 1260220"/>
                <a:gd name="connsiteX5-11" fmla="*/ 304463 w 820739"/>
                <a:gd name="connsiteY5-12" fmla="*/ 1202736 h 1260220"/>
                <a:gd name="connsiteX6-13" fmla="*/ 0 w 820739"/>
                <a:gd name="connsiteY6-14" fmla="*/ 630110 h 1260220"/>
                <a:gd name="connsiteX7-15" fmla="*/ 326799 w 820739"/>
                <a:gd name="connsiteY7-16" fmla="*/ 83379 h 1260220"/>
                <a:gd name="connsiteX8-17" fmla="*/ 410370 w 820739"/>
                <a:gd name="connsiteY8-18" fmla="*/ 0 h 1260220"/>
                <a:gd name="connsiteX0-19" fmla="*/ 433275 w 820739"/>
                <a:gd name="connsiteY0-20" fmla="*/ 0 h 1253820"/>
                <a:gd name="connsiteX1-21" fmla="*/ 516276 w 820739"/>
                <a:gd name="connsiteY1-22" fmla="*/ 51084 h 1253820"/>
                <a:gd name="connsiteX2-23" fmla="*/ 820739 w 820739"/>
                <a:gd name="connsiteY2-24" fmla="*/ 623710 h 1253820"/>
                <a:gd name="connsiteX3-25" fmla="*/ 516276 w 820739"/>
                <a:gd name="connsiteY3-26" fmla="*/ 1196336 h 1253820"/>
                <a:gd name="connsiteX4-27" fmla="*/ 410370 w 820739"/>
                <a:gd name="connsiteY4-28" fmla="*/ 1253820 h 1253820"/>
                <a:gd name="connsiteX5-29" fmla="*/ 304463 w 820739"/>
                <a:gd name="connsiteY5-30" fmla="*/ 1196336 h 1253820"/>
                <a:gd name="connsiteX6-31" fmla="*/ 0 w 820739"/>
                <a:gd name="connsiteY6-32" fmla="*/ 623710 h 1253820"/>
                <a:gd name="connsiteX7-33" fmla="*/ 326799 w 820739"/>
                <a:gd name="connsiteY7-34" fmla="*/ 76979 h 1253820"/>
                <a:gd name="connsiteX8-35" fmla="*/ 433275 w 820739"/>
                <a:gd name="connsiteY8-36" fmla="*/ 0 h 1253820"/>
                <a:gd name="connsiteX0-37" fmla="*/ 433275 w 820739"/>
                <a:gd name="connsiteY0-38" fmla="*/ 0 h 1253820"/>
                <a:gd name="connsiteX1-39" fmla="*/ 516276 w 820739"/>
                <a:gd name="connsiteY1-40" fmla="*/ 51084 h 1253820"/>
                <a:gd name="connsiteX2-41" fmla="*/ 820739 w 820739"/>
                <a:gd name="connsiteY2-42" fmla="*/ 623710 h 1253820"/>
                <a:gd name="connsiteX3-43" fmla="*/ 516276 w 820739"/>
                <a:gd name="connsiteY3-44" fmla="*/ 1196336 h 1253820"/>
                <a:gd name="connsiteX4-45" fmla="*/ 410370 w 820739"/>
                <a:gd name="connsiteY4-46" fmla="*/ 1253820 h 1253820"/>
                <a:gd name="connsiteX5-47" fmla="*/ 304463 w 820739"/>
                <a:gd name="connsiteY5-48" fmla="*/ 1196336 h 1253820"/>
                <a:gd name="connsiteX6-49" fmla="*/ 0 w 820739"/>
                <a:gd name="connsiteY6-50" fmla="*/ 623710 h 1253820"/>
                <a:gd name="connsiteX7-51" fmla="*/ 326799 w 820739"/>
                <a:gd name="connsiteY7-52" fmla="*/ 76979 h 1253820"/>
                <a:gd name="connsiteX8-53" fmla="*/ 433275 w 820739"/>
                <a:gd name="connsiteY8-54" fmla="*/ 0 h 1253820"/>
                <a:gd name="connsiteX0-55" fmla="*/ 433275 w 820739"/>
                <a:gd name="connsiteY0-56" fmla="*/ 0 h 1253820"/>
                <a:gd name="connsiteX1-57" fmla="*/ 516276 w 820739"/>
                <a:gd name="connsiteY1-58" fmla="*/ 51084 h 1253820"/>
                <a:gd name="connsiteX2-59" fmla="*/ 820739 w 820739"/>
                <a:gd name="connsiteY2-60" fmla="*/ 623710 h 1253820"/>
                <a:gd name="connsiteX3-61" fmla="*/ 516276 w 820739"/>
                <a:gd name="connsiteY3-62" fmla="*/ 1196336 h 1253820"/>
                <a:gd name="connsiteX4-63" fmla="*/ 410370 w 820739"/>
                <a:gd name="connsiteY4-64" fmla="*/ 1253820 h 1253820"/>
                <a:gd name="connsiteX5-65" fmla="*/ 310332 w 820739"/>
                <a:gd name="connsiteY5-66" fmla="*/ 1193062 h 1253820"/>
                <a:gd name="connsiteX6-67" fmla="*/ 0 w 820739"/>
                <a:gd name="connsiteY6-68" fmla="*/ 623710 h 1253820"/>
                <a:gd name="connsiteX7-69" fmla="*/ 326799 w 820739"/>
                <a:gd name="connsiteY7-70" fmla="*/ 76979 h 1253820"/>
                <a:gd name="connsiteX8-71" fmla="*/ 433275 w 820739"/>
                <a:gd name="connsiteY8-72" fmla="*/ 0 h 1253820"/>
                <a:gd name="connsiteX0-73" fmla="*/ 433275 w 820821"/>
                <a:gd name="connsiteY0-74" fmla="*/ 0 h 1253820"/>
                <a:gd name="connsiteX1-75" fmla="*/ 493730 w 820821"/>
                <a:gd name="connsiteY1-76" fmla="*/ 52155 h 1253820"/>
                <a:gd name="connsiteX2-77" fmla="*/ 820739 w 820821"/>
                <a:gd name="connsiteY2-78" fmla="*/ 623710 h 1253820"/>
                <a:gd name="connsiteX3-79" fmla="*/ 516276 w 820821"/>
                <a:gd name="connsiteY3-80" fmla="*/ 1196336 h 1253820"/>
                <a:gd name="connsiteX4-81" fmla="*/ 410370 w 820821"/>
                <a:gd name="connsiteY4-82" fmla="*/ 1253820 h 1253820"/>
                <a:gd name="connsiteX5-83" fmla="*/ 310332 w 820821"/>
                <a:gd name="connsiteY5-84" fmla="*/ 1193062 h 1253820"/>
                <a:gd name="connsiteX6-85" fmla="*/ 0 w 820821"/>
                <a:gd name="connsiteY6-86" fmla="*/ 623710 h 1253820"/>
                <a:gd name="connsiteX7-87" fmla="*/ 326799 w 820821"/>
                <a:gd name="connsiteY7-88" fmla="*/ 76979 h 1253820"/>
                <a:gd name="connsiteX8-89" fmla="*/ 433275 w 820821"/>
                <a:gd name="connsiteY8-90" fmla="*/ 0 h 1253820"/>
                <a:gd name="connsiteX0-91" fmla="*/ 433275 w 820868"/>
                <a:gd name="connsiteY0-92" fmla="*/ 0 h 1253820"/>
                <a:gd name="connsiteX1-93" fmla="*/ 487862 w 820868"/>
                <a:gd name="connsiteY1-94" fmla="*/ 55429 h 1253820"/>
                <a:gd name="connsiteX2-95" fmla="*/ 820739 w 820868"/>
                <a:gd name="connsiteY2-96" fmla="*/ 623710 h 1253820"/>
                <a:gd name="connsiteX3-97" fmla="*/ 516276 w 820868"/>
                <a:gd name="connsiteY3-98" fmla="*/ 1196336 h 1253820"/>
                <a:gd name="connsiteX4-99" fmla="*/ 410370 w 820868"/>
                <a:gd name="connsiteY4-100" fmla="*/ 1253820 h 1253820"/>
                <a:gd name="connsiteX5-101" fmla="*/ 310332 w 820868"/>
                <a:gd name="connsiteY5-102" fmla="*/ 1193062 h 1253820"/>
                <a:gd name="connsiteX6-103" fmla="*/ 0 w 820868"/>
                <a:gd name="connsiteY6-104" fmla="*/ 623710 h 1253820"/>
                <a:gd name="connsiteX7-105" fmla="*/ 326799 w 820868"/>
                <a:gd name="connsiteY7-106" fmla="*/ 76979 h 1253820"/>
                <a:gd name="connsiteX8-107" fmla="*/ 433275 w 820868"/>
                <a:gd name="connsiteY8-108" fmla="*/ 0 h 1253820"/>
                <a:gd name="connsiteX0-109" fmla="*/ 433275 w 820868"/>
                <a:gd name="connsiteY0-110" fmla="*/ 0 h 1253820"/>
                <a:gd name="connsiteX1-111" fmla="*/ 487862 w 820868"/>
                <a:gd name="connsiteY1-112" fmla="*/ 55429 h 1253820"/>
                <a:gd name="connsiteX2-113" fmla="*/ 820739 w 820868"/>
                <a:gd name="connsiteY2-114" fmla="*/ 623710 h 1253820"/>
                <a:gd name="connsiteX3-115" fmla="*/ 516276 w 820868"/>
                <a:gd name="connsiteY3-116" fmla="*/ 1196336 h 1253820"/>
                <a:gd name="connsiteX4-117" fmla="*/ 410370 w 820868"/>
                <a:gd name="connsiteY4-118" fmla="*/ 1253820 h 1253820"/>
                <a:gd name="connsiteX5-119" fmla="*/ 310332 w 820868"/>
                <a:gd name="connsiteY5-120" fmla="*/ 1193062 h 1253820"/>
                <a:gd name="connsiteX6-121" fmla="*/ 0 w 820868"/>
                <a:gd name="connsiteY6-122" fmla="*/ 623710 h 1253820"/>
                <a:gd name="connsiteX7-123" fmla="*/ 307906 w 820868"/>
                <a:gd name="connsiteY7-124" fmla="*/ 91355 h 1253820"/>
                <a:gd name="connsiteX8-125" fmla="*/ 433275 w 820868"/>
                <a:gd name="connsiteY8-126" fmla="*/ 0 h 1253820"/>
                <a:gd name="connsiteX0-127" fmla="*/ 433275 w 820868"/>
                <a:gd name="connsiteY0-128" fmla="*/ 0 h 1253820"/>
                <a:gd name="connsiteX1-129" fmla="*/ 487862 w 820868"/>
                <a:gd name="connsiteY1-130" fmla="*/ 55429 h 1253820"/>
                <a:gd name="connsiteX2-131" fmla="*/ 820739 w 820868"/>
                <a:gd name="connsiteY2-132" fmla="*/ 623710 h 1253820"/>
                <a:gd name="connsiteX3-133" fmla="*/ 516276 w 820868"/>
                <a:gd name="connsiteY3-134" fmla="*/ 1196336 h 1253820"/>
                <a:gd name="connsiteX4-135" fmla="*/ 410370 w 820868"/>
                <a:gd name="connsiteY4-136" fmla="*/ 1253820 h 1253820"/>
                <a:gd name="connsiteX5-137" fmla="*/ 310332 w 820868"/>
                <a:gd name="connsiteY5-138" fmla="*/ 1193062 h 1253820"/>
                <a:gd name="connsiteX6-139" fmla="*/ 0 w 820868"/>
                <a:gd name="connsiteY6-140" fmla="*/ 623710 h 1253820"/>
                <a:gd name="connsiteX7-141" fmla="*/ 307906 w 820868"/>
                <a:gd name="connsiteY7-142" fmla="*/ 91355 h 1253820"/>
                <a:gd name="connsiteX8-143" fmla="*/ 433275 w 820868"/>
                <a:gd name="connsiteY8-144" fmla="*/ 0 h 1253820"/>
                <a:gd name="connsiteX0-145" fmla="*/ 433275 w 821563"/>
                <a:gd name="connsiteY0-146" fmla="*/ 0 h 1253820"/>
                <a:gd name="connsiteX1-147" fmla="*/ 487862 w 821563"/>
                <a:gd name="connsiteY1-148" fmla="*/ 55429 h 1253820"/>
                <a:gd name="connsiteX2-149" fmla="*/ 820739 w 821563"/>
                <a:gd name="connsiteY2-150" fmla="*/ 623710 h 1253820"/>
                <a:gd name="connsiteX3-151" fmla="*/ 516276 w 821563"/>
                <a:gd name="connsiteY3-152" fmla="*/ 1196336 h 1253820"/>
                <a:gd name="connsiteX4-153" fmla="*/ 410370 w 821563"/>
                <a:gd name="connsiteY4-154" fmla="*/ 1253820 h 1253820"/>
                <a:gd name="connsiteX5-155" fmla="*/ 310332 w 821563"/>
                <a:gd name="connsiteY5-156" fmla="*/ 1193062 h 1253820"/>
                <a:gd name="connsiteX6-157" fmla="*/ 0 w 821563"/>
                <a:gd name="connsiteY6-158" fmla="*/ 623710 h 1253820"/>
                <a:gd name="connsiteX7-159" fmla="*/ 307906 w 821563"/>
                <a:gd name="connsiteY7-160" fmla="*/ 91355 h 1253820"/>
                <a:gd name="connsiteX8-161" fmla="*/ 433275 w 821563"/>
                <a:gd name="connsiteY8-162" fmla="*/ 0 h 1253820"/>
                <a:gd name="connsiteX0-163" fmla="*/ 433275 w 821554"/>
                <a:gd name="connsiteY0-164" fmla="*/ 0 h 1253820"/>
                <a:gd name="connsiteX1-165" fmla="*/ 487862 w 821554"/>
                <a:gd name="connsiteY1-166" fmla="*/ 55429 h 1253820"/>
                <a:gd name="connsiteX2-167" fmla="*/ 820739 w 821554"/>
                <a:gd name="connsiteY2-168" fmla="*/ 623710 h 1253820"/>
                <a:gd name="connsiteX3-169" fmla="*/ 516276 w 821554"/>
                <a:gd name="connsiteY3-170" fmla="*/ 1196336 h 1253820"/>
                <a:gd name="connsiteX4-171" fmla="*/ 410370 w 821554"/>
                <a:gd name="connsiteY4-172" fmla="*/ 1253820 h 1253820"/>
                <a:gd name="connsiteX5-173" fmla="*/ 310332 w 821554"/>
                <a:gd name="connsiteY5-174" fmla="*/ 1193062 h 1253820"/>
                <a:gd name="connsiteX6-175" fmla="*/ 0 w 821554"/>
                <a:gd name="connsiteY6-176" fmla="*/ 623710 h 1253820"/>
                <a:gd name="connsiteX7-177" fmla="*/ 307906 w 821554"/>
                <a:gd name="connsiteY7-178" fmla="*/ 91355 h 1253820"/>
                <a:gd name="connsiteX8-179" fmla="*/ 433275 w 821554"/>
                <a:gd name="connsiteY8-180" fmla="*/ 0 h 1253820"/>
                <a:gd name="connsiteX0-181" fmla="*/ 433275 w 821554"/>
                <a:gd name="connsiteY0-182" fmla="*/ 0 h 1253820"/>
                <a:gd name="connsiteX1-183" fmla="*/ 487862 w 821554"/>
                <a:gd name="connsiteY1-184" fmla="*/ 55429 h 1253820"/>
                <a:gd name="connsiteX2-185" fmla="*/ 820739 w 821554"/>
                <a:gd name="connsiteY2-186" fmla="*/ 623710 h 1253820"/>
                <a:gd name="connsiteX3-187" fmla="*/ 516276 w 821554"/>
                <a:gd name="connsiteY3-188" fmla="*/ 1196336 h 1253820"/>
                <a:gd name="connsiteX4-189" fmla="*/ 410370 w 821554"/>
                <a:gd name="connsiteY4-190" fmla="*/ 1253820 h 1253820"/>
                <a:gd name="connsiteX5-191" fmla="*/ 310332 w 821554"/>
                <a:gd name="connsiteY5-192" fmla="*/ 1193062 h 1253820"/>
                <a:gd name="connsiteX6-193" fmla="*/ 0 w 821554"/>
                <a:gd name="connsiteY6-194" fmla="*/ 623710 h 1253820"/>
                <a:gd name="connsiteX7-195" fmla="*/ 307906 w 821554"/>
                <a:gd name="connsiteY7-196" fmla="*/ 91355 h 1253820"/>
                <a:gd name="connsiteX8-197" fmla="*/ 433275 w 821554"/>
                <a:gd name="connsiteY8-198" fmla="*/ 0 h 1253820"/>
                <a:gd name="connsiteX0-199" fmla="*/ 433290 w 821569"/>
                <a:gd name="connsiteY0-200" fmla="*/ 0 h 1253820"/>
                <a:gd name="connsiteX1-201" fmla="*/ 487877 w 821569"/>
                <a:gd name="connsiteY1-202" fmla="*/ 55429 h 1253820"/>
                <a:gd name="connsiteX2-203" fmla="*/ 820754 w 821569"/>
                <a:gd name="connsiteY2-204" fmla="*/ 623710 h 1253820"/>
                <a:gd name="connsiteX3-205" fmla="*/ 516291 w 821569"/>
                <a:gd name="connsiteY3-206" fmla="*/ 1196336 h 1253820"/>
                <a:gd name="connsiteX4-207" fmla="*/ 410385 w 821569"/>
                <a:gd name="connsiteY4-208" fmla="*/ 1253820 h 1253820"/>
                <a:gd name="connsiteX5-209" fmla="*/ 310347 w 821569"/>
                <a:gd name="connsiteY5-210" fmla="*/ 1193062 h 1253820"/>
                <a:gd name="connsiteX6-211" fmla="*/ 15 w 821569"/>
                <a:gd name="connsiteY6-212" fmla="*/ 623710 h 1253820"/>
                <a:gd name="connsiteX7-213" fmla="*/ 307921 w 821569"/>
                <a:gd name="connsiteY7-214" fmla="*/ 91355 h 1253820"/>
                <a:gd name="connsiteX8-215" fmla="*/ 433290 w 821569"/>
                <a:gd name="connsiteY8-216" fmla="*/ 0 h 1253820"/>
                <a:gd name="connsiteX0-217" fmla="*/ 433290 w 821403"/>
                <a:gd name="connsiteY0-218" fmla="*/ 0 h 1253820"/>
                <a:gd name="connsiteX1-219" fmla="*/ 487877 w 821403"/>
                <a:gd name="connsiteY1-220" fmla="*/ 55429 h 1253820"/>
                <a:gd name="connsiteX2-221" fmla="*/ 820754 w 821403"/>
                <a:gd name="connsiteY2-222" fmla="*/ 623710 h 1253820"/>
                <a:gd name="connsiteX3-223" fmla="*/ 516291 w 821403"/>
                <a:gd name="connsiteY3-224" fmla="*/ 1196336 h 1253820"/>
                <a:gd name="connsiteX4-225" fmla="*/ 410385 w 821403"/>
                <a:gd name="connsiteY4-226" fmla="*/ 1253820 h 1253820"/>
                <a:gd name="connsiteX5-227" fmla="*/ 310347 w 821403"/>
                <a:gd name="connsiteY5-228" fmla="*/ 1193062 h 1253820"/>
                <a:gd name="connsiteX6-229" fmla="*/ 15 w 821403"/>
                <a:gd name="connsiteY6-230" fmla="*/ 623710 h 1253820"/>
                <a:gd name="connsiteX7-231" fmla="*/ 307921 w 821403"/>
                <a:gd name="connsiteY7-232" fmla="*/ 91355 h 1253820"/>
                <a:gd name="connsiteX8-233" fmla="*/ 433290 w 821403"/>
                <a:gd name="connsiteY8-234" fmla="*/ 0 h 1253820"/>
                <a:gd name="connsiteX0-235" fmla="*/ 433290 w 811275"/>
                <a:gd name="connsiteY0-236" fmla="*/ 0 h 1253820"/>
                <a:gd name="connsiteX1-237" fmla="*/ 487877 w 811275"/>
                <a:gd name="connsiteY1-238" fmla="*/ 55429 h 1253820"/>
                <a:gd name="connsiteX2-239" fmla="*/ 810588 w 811275"/>
                <a:gd name="connsiteY2-240" fmla="*/ 620654 h 1253820"/>
                <a:gd name="connsiteX3-241" fmla="*/ 516291 w 811275"/>
                <a:gd name="connsiteY3-242" fmla="*/ 1196336 h 1253820"/>
                <a:gd name="connsiteX4-243" fmla="*/ 410385 w 811275"/>
                <a:gd name="connsiteY4-244" fmla="*/ 1253820 h 1253820"/>
                <a:gd name="connsiteX5-245" fmla="*/ 310347 w 811275"/>
                <a:gd name="connsiteY5-246" fmla="*/ 1193062 h 1253820"/>
                <a:gd name="connsiteX6-247" fmla="*/ 15 w 811275"/>
                <a:gd name="connsiteY6-248" fmla="*/ 623710 h 1253820"/>
                <a:gd name="connsiteX7-249" fmla="*/ 307921 w 811275"/>
                <a:gd name="connsiteY7-250" fmla="*/ 91355 h 1253820"/>
                <a:gd name="connsiteX8-251" fmla="*/ 433290 w 811275"/>
                <a:gd name="connsiteY8-252" fmla="*/ 0 h 1253820"/>
                <a:gd name="connsiteX0-253" fmla="*/ 433290 w 811275"/>
                <a:gd name="connsiteY0-254" fmla="*/ 0 h 1253820"/>
                <a:gd name="connsiteX1-255" fmla="*/ 487877 w 811275"/>
                <a:gd name="connsiteY1-256" fmla="*/ 55429 h 1253820"/>
                <a:gd name="connsiteX2-257" fmla="*/ 810588 w 811275"/>
                <a:gd name="connsiteY2-258" fmla="*/ 620654 h 1253820"/>
                <a:gd name="connsiteX3-259" fmla="*/ 516291 w 811275"/>
                <a:gd name="connsiteY3-260" fmla="*/ 1196336 h 1253820"/>
                <a:gd name="connsiteX4-261" fmla="*/ 410385 w 811275"/>
                <a:gd name="connsiteY4-262" fmla="*/ 1253820 h 1253820"/>
                <a:gd name="connsiteX5-263" fmla="*/ 310347 w 811275"/>
                <a:gd name="connsiteY5-264" fmla="*/ 1193062 h 1253820"/>
                <a:gd name="connsiteX6-265" fmla="*/ 15 w 811275"/>
                <a:gd name="connsiteY6-266" fmla="*/ 623710 h 1253820"/>
                <a:gd name="connsiteX7-267" fmla="*/ 307921 w 811275"/>
                <a:gd name="connsiteY7-268" fmla="*/ 91355 h 1253820"/>
                <a:gd name="connsiteX8-269" fmla="*/ 433290 w 811275"/>
                <a:gd name="connsiteY8-270" fmla="*/ 0 h 1253820"/>
                <a:gd name="connsiteX0-271" fmla="*/ 433290 w 810847"/>
                <a:gd name="connsiteY0-272" fmla="*/ 0 h 1253820"/>
                <a:gd name="connsiteX1-273" fmla="*/ 487877 w 810847"/>
                <a:gd name="connsiteY1-274" fmla="*/ 55429 h 1253820"/>
                <a:gd name="connsiteX2-275" fmla="*/ 810588 w 810847"/>
                <a:gd name="connsiteY2-276" fmla="*/ 620654 h 1253820"/>
                <a:gd name="connsiteX3-277" fmla="*/ 516291 w 810847"/>
                <a:gd name="connsiteY3-278" fmla="*/ 1196336 h 1253820"/>
                <a:gd name="connsiteX4-279" fmla="*/ 410385 w 810847"/>
                <a:gd name="connsiteY4-280" fmla="*/ 1253820 h 1253820"/>
                <a:gd name="connsiteX5-281" fmla="*/ 310347 w 810847"/>
                <a:gd name="connsiteY5-282" fmla="*/ 1193062 h 1253820"/>
                <a:gd name="connsiteX6-283" fmla="*/ 15 w 810847"/>
                <a:gd name="connsiteY6-284" fmla="*/ 623710 h 1253820"/>
                <a:gd name="connsiteX7-285" fmla="*/ 307921 w 810847"/>
                <a:gd name="connsiteY7-286" fmla="*/ 91355 h 1253820"/>
                <a:gd name="connsiteX8-287" fmla="*/ 433290 w 810847"/>
                <a:gd name="connsiteY8-288" fmla="*/ 0 h 1253820"/>
                <a:gd name="connsiteX0-289" fmla="*/ 450824 w 828381"/>
                <a:gd name="connsiteY0-290" fmla="*/ 0 h 1253820"/>
                <a:gd name="connsiteX1-291" fmla="*/ 505411 w 828381"/>
                <a:gd name="connsiteY1-292" fmla="*/ 55429 h 1253820"/>
                <a:gd name="connsiteX2-293" fmla="*/ 828122 w 828381"/>
                <a:gd name="connsiteY2-294" fmla="*/ 620654 h 1253820"/>
                <a:gd name="connsiteX3-295" fmla="*/ 533825 w 828381"/>
                <a:gd name="connsiteY3-296" fmla="*/ 1196336 h 1253820"/>
                <a:gd name="connsiteX4-297" fmla="*/ 427919 w 828381"/>
                <a:gd name="connsiteY4-298" fmla="*/ 1253820 h 1253820"/>
                <a:gd name="connsiteX5-299" fmla="*/ 327881 w 828381"/>
                <a:gd name="connsiteY5-300" fmla="*/ 1193062 h 1253820"/>
                <a:gd name="connsiteX6-301" fmla="*/ 13 w 828381"/>
                <a:gd name="connsiteY6-302" fmla="*/ 629890 h 1253820"/>
                <a:gd name="connsiteX7-303" fmla="*/ 325455 w 828381"/>
                <a:gd name="connsiteY7-304" fmla="*/ 91355 h 1253820"/>
                <a:gd name="connsiteX8-305" fmla="*/ 450824 w 828381"/>
                <a:gd name="connsiteY8-306" fmla="*/ 0 h 1253820"/>
                <a:gd name="connsiteX0-307" fmla="*/ 451487 w 829044"/>
                <a:gd name="connsiteY0-308" fmla="*/ 0 h 1253820"/>
                <a:gd name="connsiteX1-309" fmla="*/ 506074 w 829044"/>
                <a:gd name="connsiteY1-310" fmla="*/ 55429 h 1253820"/>
                <a:gd name="connsiteX2-311" fmla="*/ 828785 w 829044"/>
                <a:gd name="connsiteY2-312" fmla="*/ 620654 h 1253820"/>
                <a:gd name="connsiteX3-313" fmla="*/ 534488 w 829044"/>
                <a:gd name="connsiteY3-314" fmla="*/ 1196336 h 1253820"/>
                <a:gd name="connsiteX4-315" fmla="*/ 428582 w 829044"/>
                <a:gd name="connsiteY4-316" fmla="*/ 1253820 h 1253820"/>
                <a:gd name="connsiteX5-317" fmla="*/ 328544 w 829044"/>
                <a:gd name="connsiteY5-318" fmla="*/ 1193062 h 1253820"/>
                <a:gd name="connsiteX6-319" fmla="*/ 676 w 829044"/>
                <a:gd name="connsiteY6-320" fmla="*/ 629890 h 1253820"/>
                <a:gd name="connsiteX7-321" fmla="*/ 326118 w 829044"/>
                <a:gd name="connsiteY7-322" fmla="*/ 91355 h 1253820"/>
                <a:gd name="connsiteX8-323" fmla="*/ 451487 w 829044"/>
                <a:gd name="connsiteY8-324" fmla="*/ 0 h 1253820"/>
                <a:gd name="connsiteX0-325" fmla="*/ 451487 w 829044"/>
                <a:gd name="connsiteY0-326" fmla="*/ 0 h 1253820"/>
                <a:gd name="connsiteX1-327" fmla="*/ 506074 w 829044"/>
                <a:gd name="connsiteY1-328" fmla="*/ 55429 h 1253820"/>
                <a:gd name="connsiteX2-329" fmla="*/ 828785 w 829044"/>
                <a:gd name="connsiteY2-330" fmla="*/ 620654 h 1253820"/>
                <a:gd name="connsiteX3-331" fmla="*/ 534488 w 829044"/>
                <a:gd name="connsiteY3-332" fmla="*/ 1196336 h 1253820"/>
                <a:gd name="connsiteX4-333" fmla="*/ 428582 w 829044"/>
                <a:gd name="connsiteY4-334" fmla="*/ 1253820 h 1253820"/>
                <a:gd name="connsiteX5-335" fmla="*/ 328544 w 829044"/>
                <a:gd name="connsiteY5-336" fmla="*/ 1193062 h 1253820"/>
                <a:gd name="connsiteX6-337" fmla="*/ 676 w 829044"/>
                <a:gd name="connsiteY6-338" fmla="*/ 629890 h 1253820"/>
                <a:gd name="connsiteX7-339" fmla="*/ 326118 w 829044"/>
                <a:gd name="connsiteY7-340" fmla="*/ 91355 h 1253820"/>
                <a:gd name="connsiteX8-341" fmla="*/ 451487 w 829044"/>
                <a:gd name="connsiteY8-342" fmla="*/ 0 h 1253820"/>
                <a:gd name="connsiteX0-343" fmla="*/ 451487 w 829044"/>
                <a:gd name="connsiteY0-344" fmla="*/ 0 h 1265247"/>
                <a:gd name="connsiteX1-345" fmla="*/ 506074 w 829044"/>
                <a:gd name="connsiteY1-346" fmla="*/ 55429 h 1265247"/>
                <a:gd name="connsiteX2-347" fmla="*/ 828785 w 829044"/>
                <a:gd name="connsiteY2-348" fmla="*/ 620654 h 1265247"/>
                <a:gd name="connsiteX3-349" fmla="*/ 534488 w 829044"/>
                <a:gd name="connsiteY3-350" fmla="*/ 1196336 h 1265247"/>
                <a:gd name="connsiteX4-351" fmla="*/ 423064 w 829044"/>
                <a:gd name="connsiteY4-352" fmla="*/ 1265247 h 1265247"/>
                <a:gd name="connsiteX5-353" fmla="*/ 328544 w 829044"/>
                <a:gd name="connsiteY5-354" fmla="*/ 1193062 h 1265247"/>
                <a:gd name="connsiteX6-355" fmla="*/ 676 w 829044"/>
                <a:gd name="connsiteY6-356" fmla="*/ 629890 h 1265247"/>
                <a:gd name="connsiteX7-357" fmla="*/ 326118 w 829044"/>
                <a:gd name="connsiteY7-358" fmla="*/ 91355 h 1265247"/>
                <a:gd name="connsiteX8-359" fmla="*/ 451487 w 829044"/>
                <a:gd name="connsiteY8-360" fmla="*/ 0 h 1265247"/>
                <a:gd name="connsiteX0-361" fmla="*/ 451513 w 829070"/>
                <a:gd name="connsiteY0-362" fmla="*/ 0 h 1265247"/>
                <a:gd name="connsiteX1-363" fmla="*/ 506100 w 829070"/>
                <a:gd name="connsiteY1-364" fmla="*/ 55429 h 1265247"/>
                <a:gd name="connsiteX2-365" fmla="*/ 828811 w 829070"/>
                <a:gd name="connsiteY2-366" fmla="*/ 620654 h 1265247"/>
                <a:gd name="connsiteX3-367" fmla="*/ 534514 w 829070"/>
                <a:gd name="connsiteY3-368" fmla="*/ 1196336 h 1265247"/>
                <a:gd name="connsiteX4-369" fmla="*/ 423090 w 829070"/>
                <a:gd name="connsiteY4-370" fmla="*/ 1265247 h 1265247"/>
                <a:gd name="connsiteX5-371" fmla="*/ 322108 w 829070"/>
                <a:gd name="connsiteY5-372" fmla="*/ 1194392 h 1265247"/>
                <a:gd name="connsiteX6-373" fmla="*/ 702 w 829070"/>
                <a:gd name="connsiteY6-374" fmla="*/ 629890 h 1265247"/>
                <a:gd name="connsiteX7-375" fmla="*/ 326144 w 829070"/>
                <a:gd name="connsiteY7-376" fmla="*/ 91355 h 1265247"/>
                <a:gd name="connsiteX8-377" fmla="*/ 451513 w 829070"/>
                <a:gd name="connsiteY8-378" fmla="*/ 0 h 1265247"/>
                <a:gd name="connsiteX0-379" fmla="*/ 451513 w 829070"/>
                <a:gd name="connsiteY0-380" fmla="*/ 0 h 1271823"/>
                <a:gd name="connsiteX1-381" fmla="*/ 506100 w 829070"/>
                <a:gd name="connsiteY1-382" fmla="*/ 55429 h 1271823"/>
                <a:gd name="connsiteX2-383" fmla="*/ 828811 w 829070"/>
                <a:gd name="connsiteY2-384" fmla="*/ 620654 h 1271823"/>
                <a:gd name="connsiteX3-385" fmla="*/ 534514 w 829070"/>
                <a:gd name="connsiteY3-386" fmla="*/ 1196336 h 1271823"/>
                <a:gd name="connsiteX4-387" fmla="*/ 428644 w 829070"/>
                <a:gd name="connsiteY4-388" fmla="*/ 1271823 h 1271823"/>
                <a:gd name="connsiteX5-389" fmla="*/ 322108 w 829070"/>
                <a:gd name="connsiteY5-390" fmla="*/ 1194392 h 1271823"/>
                <a:gd name="connsiteX6-391" fmla="*/ 702 w 829070"/>
                <a:gd name="connsiteY6-392" fmla="*/ 629890 h 1271823"/>
                <a:gd name="connsiteX7-393" fmla="*/ 326144 w 829070"/>
                <a:gd name="connsiteY7-394" fmla="*/ 91355 h 1271823"/>
                <a:gd name="connsiteX8-395" fmla="*/ 451513 w 829070"/>
                <a:gd name="connsiteY8-396" fmla="*/ 0 h 1271823"/>
                <a:gd name="connsiteX0-397" fmla="*/ 451513 w 829057"/>
                <a:gd name="connsiteY0-398" fmla="*/ 0 h 1271823"/>
                <a:gd name="connsiteX1-399" fmla="*/ 506100 w 829057"/>
                <a:gd name="connsiteY1-400" fmla="*/ 55429 h 1271823"/>
                <a:gd name="connsiteX2-401" fmla="*/ 828811 w 829057"/>
                <a:gd name="connsiteY2-402" fmla="*/ 620654 h 1271823"/>
                <a:gd name="connsiteX3-403" fmla="*/ 548216 w 829057"/>
                <a:gd name="connsiteY3-404" fmla="*/ 1202432 h 1271823"/>
                <a:gd name="connsiteX4-405" fmla="*/ 428644 w 829057"/>
                <a:gd name="connsiteY4-406" fmla="*/ 1271823 h 1271823"/>
                <a:gd name="connsiteX5-407" fmla="*/ 322108 w 829057"/>
                <a:gd name="connsiteY5-408" fmla="*/ 1194392 h 1271823"/>
                <a:gd name="connsiteX6-409" fmla="*/ 702 w 829057"/>
                <a:gd name="connsiteY6-410" fmla="*/ 629890 h 1271823"/>
                <a:gd name="connsiteX7-411" fmla="*/ 326144 w 829057"/>
                <a:gd name="connsiteY7-412" fmla="*/ 91355 h 1271823"/>
                <a:gd name="connsiteX8-413" fmla="*/ 451513 w 829057"/>
                <a:gd name="connsiteY8-414" fmla="*/ 0 h 1271823"/>
                <a:gd name="connsiteX0-415" fmla="*/ 451513 w 828855"/>
                <a:gd name="connsiteY0-416" fmla="*/ 0 h 1271823"/>
                <a:gd name="connsiteX1-417" fmla="*/ 530705 w 828855"/>
                <a:gd name="connsiteY1-418" fmla="*/ 33520 h 1271823"/>
                <a:gd name="connsiteX2-419" fmla="*/ 828811 w 828855"/>
                <a:gd name="connsiteY2-420" fmla="*/ 620654 h 1271823"/>
                <a:gd name="connsiteX3-421" fmla="*/ 548216 w 828855"/>
                <a:gd name="connsiteY3-422" fmla="*/ 1202432 h 1271823"/>
                <a:gd name="connsiteX4-423" fmla="*/ 428644 w 828855"/>
                <a:gd name="connsiteY4-424" fmla="*/ 1271823 h 1271823"/>
                <a:gd name="connsiteX5-425" fmla="*/ 322108 w 828855"/>
                <a:gd name="connsiteY5-426" fmla="*/ 1194392 h 1271823"/>
                <a:gd name="connsiteX6-427" fmla="*/ 702 w 828855"/>
                <a:gd name="connsiteY6-428" fmla="*/ 629890 h 1271823"/>
                <a:gd name="connsiteX7-429" fmla="*/ 326144 w 828855"/>
                <a:gd name="connsiteY7-430" fmla="*/ 91355 h 1271823"/>
                <a:gd name="connsiteX8-431" fmla="*/ 451513 w 828855"/>
                <a:gd name="connsiteY8-432" fmla="*/ 0 h 1271823"/>
                <a:gd name="connsiteX0-433" fmla="*/ 478039 w 828855"/>
                <a:gd name="connsiteY0-434" fmla="*/ 0 h 1291781"/>
                <a:gd name="connsiteX1-435" fmla="*/ 530705 w 828855"/>
                <a:gd name="connsiteY1-436" fmla="*/ 53478 h 1291781"/>
                <a:gd name="connsiteX2-437" fmla="*/ 828811 w 828855"/>
                <a:gd name="connsiteY2-438" fmla="*/ 640612 h 1291781"/>
                <a:gd name="connsiteX3-439" fmla="*/ 548216 w 828855"/>
                <a:gd name="connsiteY3-440" fmla="*/ 1222390 h 1291781"/>
                <a:gd name="connsiteX4-441" fmla="*/ 428644 w 828855"/>
                <a:gd name="connsiteY4-442" fmla="*/ 1291781 h 1291781"/>
                <a:gd name="connsiteX5-443" fmla="*/ 322108 w 828855"/>
                <a:gd name="connsiteY5-444" fmla="*/ 1214350 h 1291781"/>
                <a:gd name="connsiteX6-445" fmla="*/ 702 w 828855"/>
                <a:gd name="connsiteY6-446" fmla="*/ 649848 h 1291781"/>
                <a:gd name="connsiteX7-447" fmla="*/ 326144 w 828855"/>
                <a:gd name="connsiteY7-448" fmla="*/ 111313 h 1291781"/>
                <a:gd name="connsiteX8-449" fmla="*/ 478039 w 828855"/>
                <a:gd name="connsiteY8-450" fmla="*/ 0 h 1291781"/>
                <a:gd name="connsiteX0-451" fmla="*/ 477999 w 828815"/>
                <a:gd name="connsiteY0-452" fmla="*/ 0 h 1291781"/>
                <a:gd name="connsiteX1-453" fmla="*/ 530665 w 828815"/>
                <a:gd name="connsiteY1-454" fmla="*/ 53478 h 1291781"/>
                <a:gd name="connsiteX2-455" fmla="*/ 828771 w 828815"/>
                <a:gd name="connsiteY2-456" fmla="*/ 640612 h 1291781"/>
                <a:gd name="connsiteX3-457" fmla="*/ 548176 w 828815"/>
                <a:gd name="connsiteY3-458" fmla="*/ 1222390 h 1291781"/>
                <a:gd name="connsiteX4-459" fmla="*/ 428604 w 828815"/>
                <a:gd name="connsiteY4-460" fmla="*/ 1291781 h 1291781"/>
                <a:gd name="connsiteX5-461" fmla="*/ 322068 w 828815"/>
                <a:gd name="connsiteY5-462" fmla="*/ 1214350 h 1291781"/>
                <a:gd name="connsiteX6-463" fmla="*/ 662 w 828815"/>
                <a:gd name="connsiteY6-464" fmla="*/ 649848 h 1291781"/>
                <a:gd name="connsiteX7-465" fmla="*/ 326104 w 828815"/>
                <a:gd name="connsiteY7-466" fmla="*/ 111313 h 1291781"/>
                <a:gd name="connsiteX8-467" fmla="*/ 477999 w 828815"/>
                <a:gd name="connsiteY8-468" fmla="*/ 0 h 1291781"/>
                <a:gd name="connsiteX0-469" fmla="*/ 477999 w 828815"/>
                <a:gd name="connsiteY0-470" fmla="*/ 0 h 1291781"/>
                <a:gd name="connsiteX1-471" fmla="*/ 530665 w 828815"/>
                <a:gd name="connsiteY1-472" fmla="*/ 53478 h 1291781"/>
                <a:gd name="connsiteX2-473" fmla="*/ 828771 w 828815"/>
                <a:gd name="connsiteY2-474" fmla="*/ 640612 h 1291781"/>
                <a:gd name="connsiteX3-475" fmla="*/ 548176 w 828815"/>
                <a:gd name="connsiteY3-476" fmla="*/ 1222390 h 1291781"/>
                <a:gd name="connsiteX4-477" fmla="*/ 428604 w 828815"/>
                <a:gd name="connsiteY4-478" fmla="*/ 1291781 h 1291781"/>
                <a:gd name="connsiteX5-479" fmla="*/ 322068 w 828815"/>
                <a:gd name="connsiteY5-480" fmla="*/ 1214350 h 1291781"/>
                <a:gd name="connsiteX6-481" fmla="*/ 662 w 828815"/>
                <a:gd name="connsiteY6-482" fmla="*/ 649848 h 1291781"/>
                <a:gd name="connsiteX7-483" fmla="*/ 326104 w 828815"/>
                <a:gd name="connsiteY7-484" fmla="*/ 111313 h 1291781"/>
                <a:gd name="connsiteX8-485" fmla="*/ 477999 w 828815"/>
                <a:gd name="connsiteY8-486" fmla="*/ 0 h 1291781"/>
                <a:gd name="connsiteX0-487" fmla="*/ 477999 w 828815"/>
                <a:gd name="connsiteY0-488" fmla="*/ 0 h 1317004"/>
                <a:gd name="connsiteX1-489" fmla="*/ 530665 w 828815"/>
                <a:gd name="connsiteY1-490" fmla="*/ 53478 h 1317004"/>
                <a:gd name="connsiteX2-491" fmla="*/ 828771 w 828815"/>
                <a:gd name="connsiteY2-492" fmla="*/ 640612 h 1317004"/>
                <a:gd name="connsiteX3-493" fmla="*/ 548176 w 828815"/>
                <a:gd name="connsiteY3-494" fmla="*/ 1222390 h 1317004"/>
                <a:gd name="connsiteX4-495" fmla="*/ 449594 w 828815"/>
                <a:gd name="connsiteY4-496" fmla="*/ 1317004 h 1317004"/>
                <a:gd name="connsiteX5-497" fmla="*/ 322068 w 828815"/>
                <a:gd name="connsiteY5-498" fmla="*/ 1214350 h 1317004"/>
                <a:gd name="connsiteX6-499" fmla="*/ 662 w 828815"/>
                <a:gd name="connsiteY6-500" fmla="*/ 649848 h 1317004"/>
                <a:gd name="connsiteX7-501" fmla="*/ 326104 w 828815"/>
                <a:gd name="connsiteY7-502" fmla="*/ 111313 h 1317004"/>
                <a:gd name="connsiteX8-503" fmla="*/ 477999 w 828815"/>
                <a:gd name="connsiteY8-504" fmla="*/ 0 h 1317004"/>
                <a:gd name="connsiteX0-505" fmla="*/ 477999 w 828790"/>
                <a:gd name="connsiteY0-506" fmla="*/ 0 h 1317004"/>
                <a:gd name="connsiteX1-507" fmla="*/ 530665 w 828790"/>
                <a:gd name="connsiteY1-508" fmla="*/ 53478 h 1317004"/>
                <a:gd name="connsiteX2-509" fmla="*/ 828771 w 828790"/>
                <a:gd name="connsiteY2-510" fmla="*/ 640612 h 1317004"/>
                <a:gd name="connsiteX3-511" fmla="*/ 542416 w 828790"/>
                <a:gd name="connsiteY3-512" fmla="*/ 1216541 h 1317004"/>
                <a:gd name="connsiteX4-513" fmla="*/ 449594 w 828790"/>
                <a:gd name="connsiteY4-514" fmla="*/ 1317004 h 1317004"/>
                <a:gd name="connsiteX5-515" fmla="*/ 322068 w 828790"/>
                <a:gd name="connsiteY5-516" fmla="*/ 1214350 h 1317004"/>
                <a:gd name="connsiteX6-517" fmla="*/ 662 w 828790"/>
                <a:gd name="connsiteY6-518" fmla="*/ 649848 h 1317004"/>
                <a:gd name="connsiteX7-519" fmla="*/ 326104 w 828790"/>
                <a:gd name="connsiteY7-520" fmla="*/ 111313 h 1317004"/>
                <a:gd name="connsiteX8-521" fmla="*/ 477999 w 828790"/>
                <a:gd name="connsiteY8-522" fmla="*/ 0 h 131700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828790" h="1317004">
                  <a:moveTo>
                    <a:pt x="477999" y="0"/>
                  </a:moveTo>
                  <a:lnTo>
                    <a:pt x="530665" y="53478"/>
                  </a:lnTo>
                  <a:cubicBezTo>
                    <a:pt x="715101" y="192801"/>
                    <a:pt x="826813" y="446768"/>
                    <a:pt x="828771" y="640612"/>
                  </a:cubicBezTo>
                  <a:cubicBezTo>
                    <a:pt x="830729" y="834456"/>
                    <a:pt x="686064" y="1057540"/>
                    <a:pt x="542416" y="1216541"/>
                  </a:cubicBezTo>
                  <a:lnTo>
                    <a:pt x="449594" y="1317004"/>
                  </a:lnTo>
                  <a:lnTo>
                    <a:pt x="322068" y="1214350"/>
                  </a:lnTo>
                  <a:cubicBezTo>
                    <a:pt x="148630" y="1081123"/>
                    <a:pt x="-11606" y="886197"/>
                    <a:pt x="662" y="649848"/>
                  </a:cubicBezTo>
                  <a:cubicBezTo>
                    <a:pt x="27893" y="428805"/>
                    <a:pt x="164390" y="253837"/>
                    <a:pt x="326104" y="111313"/>
                  </a:cubicBezTo>
                  <a:lnTo>
                    <a:pt x="47799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900" dirty="0">
                  <a:solidFill>
                    <a:srgbClr val="FFFFFF"/>
                  </a:solidFill>
                  <a:latin typeface="+mn-ea"/>
                </a:rPr>
                <a:t>新技术</a:t>
              </a:r>
            </a:p>
          </p:txBody>
        </p:sp>
        <p:sp>
          <p:nvSpPr>
            <p:cNvPr id="7" name="任意多边形 6"/>
            <p:cNvSpPr/>
            <p:nvPr/>
          </p:nvSpPr>
          <p:spPr>
            <a:xfrm rot="314826">
              <a:off x="4027087" y="915566"/>
              <a:ext cx="755403" cy="1214662"/>
            </a:xfrm>
            <a:custGeom>
              <a:avLst/>
              <a:gdLst>
                <a:gd name="connsiteX0" fmla="*/ 410370 w 820739"/>
                <a:gd name="connsiteY0" fmla="*/ 0 h 1260220"/>
                <a:gd name="connsiteX1" fmla="*/ 516276 w 820739"/>
                <a:gd name="connsiteY1" fmla="*/ 57484 h 1260220"/>
                <a:gd name="connsiteX2" fmla="*/ 820739 w 820739"/>
                <a:gd name="connsiteY2" fmla="*/ 630110 h 1260220"/>
                <a:gd name="connsiteX3" fmla="*/ 516276 w 820739"/>
                <a:gd name="connsiteY3" fmla="*/ 1202736 h 1260220"/>
                <a:gd name="connsiteX4" fmla="*/ 410370 w 820739"/>
                <a:gd name="connsiteY4" fmla="*/ 1260220 h 1260220"/>
                <a:gd name="connsiteX5" fmla="*/ 304463 w 820739"/>
                <a:gd name="connsiteY5" fmla="*/ 1202736 h 1260220"/>
                <a:gd name="connsiteX6" fmla="*/ 0 w 820739"/>
                <a:gd name="connsiteY6" fmla="*/ 630110 h 1260220"/>
                <a:gd name="connsiteX7" fmla="*/ 304463 w 820739"/>
                <a:gd name="connsiteY7" fmla="*/ 57484 h 1260220"/>
                <a:gd name="connsiteX8" fmla="*/ 410370 w 820739"/>
                <a:gd name="connsiteY8" fmla="*/ 0 h 1260220"/>
                <a:gd name="connsiteX0-1" fmla="*/ 410370 w 820739"/>
                <a:gd name="connsiteY0-2" fmla="*/ 0 h 1260220"/>
                <a:gd name="connsiteX1-3" fmla="*/ 516276 w 820739"/>
                <a:gd name="connsiteY1-4" fmla="*/ 57484 h 1260220"/>
                <a:gd name="connsiteX2-5" fmla="*/ 820739 w 820739"/>
                <a:gd name="connsiteY2-6" fmla="*/ 630110 h 1260220"/>
                <a:gd name="connsiteX3-7" fmla="*/ 516276 w 820739"/>
                <a:gd name="connsiteY3-8" fmla="*/ 1202736 h 1260220"/>
                <a:gd name="connsiteX4-9" fmla="*/ 410370 w 820739"/>
                <a:gd name="connsiteY4-10" fmla="*/ 1260220 h 1260220"/>
                <a:gd name="connsiteX5-11" fmla="*/ 304463 w 820739"/>
                <a:gd name="connsiteY5-12" fmla="*/ 1202736 h 1260220"/>
                <a:gd name="connsiteX6-13" fmla="*/ 0 w 820739"/>
                <a:gd name="connsiteY6-14" fmla="*/ 630110 h 1260220"/>
                <a:gd name="connsiteX7-15" fmla="*/ 326799 w 820739"/>
                <a:gd name="connsiteY7-16" fmla="*/ 83379 h 1260220"/>
                <a:gd name="connsiteX8-17" fmla="*/ 410370 w 820739"/>
                <a:gd name="connsiteY8-18" fmla="*/ 0 h 1260220"/>
                <a:gd name="connsiteX0-19" fmla="*/ 433275 w 820739"/>
                <a:gd name="connsiteY0-20" fmla="*/ 0 h 1253820"/>
                <a:gd name="connsiteX1-21" fmla="*/ 516276 w 820739"/>
                <a:gd name="connsiteY1-22" fmla="*/ 51084 h 1253820"/>
                <a:gd name="connsiteX2-23" fmla="*/ 820739 w 820739"/>
                <a:gd name="connsiteY2-24" fmla="*/ 623710 h 1253820"/>
                <a:gd name="connsiteX3-25" fmla="*/ 516276 w 820739"/>
                <a:gd name="connsiteY3-26" fmla="*/ 1196336 h 1253820"/>
                <a:gd name="connsiteX4-27" fmla="*/ 410370 w 820739"/>
                <a:gd name="connsiteY4-28" fmla="*/ 1253820 h 1253820"/>
                <a:gd name="connsiteX5-29" fmla="*/ 304463 w 820739"/>
                <a:gd name="connsiteY5-30" fmla="*/ 1196336 h 1253820"/>
                <a:gd name="connsiteX6-31" fmla="*/ 0 w 820739"/>
                <a:gd name="connsiteY6-32" fmla="*/ 623710 h 1253820"/>
                <a:gd name="connsiteX7-33" fmla="*/ 326799 w 820739"/>
                <a:gd name="connsiteY7-34" fmla="*/ 76979 h 1253820"/>
                <a:gd name="connsiteX8-35" fmla="*/ 433275 w 820739"/>
                <a:gd name="connsiteY8-36" fmla="*/ 0 h 1253820"/>
                <a:gd name="connsiteX0-37" fmla="*/ 433275 w 820739"/>
                <a:gd name="connsiteY0-38" fmla="*/ 0 h 1253820"/>
                <a:gd name="connsiteX1-39" fmla="*/ 516276 w 820739"/>
                <a:gd name="connsiteY1-40" fmla="*/ 51084 h 1253820"/>
                <a:gd name="connsiteX2-41" fmla="*/ 820739 w 820739"/>
                <a:gd name="connsiteY2-42" fmla="*/ 623710 h 1253820"/>
                <a:gd name="connsiteX3-43" fmla="*/ 516276 w 820739"/>
                <a:gd name="connsiteY3-44" fmla="*/ 1196336 h 1253820"/>
                <a:gd name="connsiteX4-45" fmla="*/ 410370 w 820739"/>
                <a:gd name="connsiteY4-46" fmla="*/ 1253820 h 1253820"/>
                <a:gd name="connsiteX5-47" fmla="*/ 304463 w 820739"/>
                <a:gd name="connsiteY5-48" fmla="*/ 1196336 h 1253820"/>
                <a:gd name="connsiteX6-49" fmla="*/ 0 w 820739"/>
                <a:gd name="connsiteY6-50" fmla="*/ 623710 h 1253820"/>
                <a:gd name="connsiteX7-51" fmla="*/ 326799 w 820739"/>
                <a:gd name="connsiteY7-52" fmla="*/ 76979 h 1253820"/>
                <a:gd name="connsiteX8-53" fmla="*/ 433275 w 820739"/>
                <a:gd name="connsiteY8-54" fmla="*/ 0 h 1253820"/>
                <a:gd name="connsiteX0-55" fmla="*/ 433275 w 820739"/>
                <a:gd name="connsiteY0-56" fmla="*/ 0 h 1253820"/>
                <a:gd name="connsiteX1-57" fmla="*/ 516276 w 820739"/>
                <a:gd name="connsiteY1-58" fmla="*/ 51084 h 1253820"/>
                <a:gd name="connsiteX2-59" fmla="*/ 820739 w 820739"/>
                <a:gd name="connsiteY2-60" fmla="*/ 623710 h 1253820"/>
                <a:gd name="connsiteX3-61" fmla="*/ 516276 w 820739"/>
                <a:gd name="connsiteY3-62" fmla="*/ 1196336 h 1253820"/>
                <a:gd name="connsiteX4-63" fmla="*/ 410370 w 820739"/>
                <a:gd name="connsiteY4-64" fmla="*/ 1253820 h 1253820"/>
                <a:gd name="connsiteX5-65" fmla="*/ 310332 w 820739"/>
                <a:gd name="connsiteY5-66" fmla="*/ 1193062 h 1253820"/>
                <a:gd name="connsiteX6-67" fmla="*/ 0 w 820739"/>
                <a:gd name="connsiteY6-68" fmla="*/ 623710 h 1253820"/>
                <a:gd name="connsiteX7-69" fmla="*/ 326799 w 820739"/>
                <a:gd name="connsiteY7-70" fmla="*/ 76979 h 1253820"/>
                <a:gd name="connsiteX8-71" fmla="*/ 433275 w 820739"/>
                <a:gd name="connsiteY8-72" fmla="*/ 0 h 1253820"/>
                <a:gd name="connsiteX0-73" fmla="*/ 433275 w 820821"/>
                <a:gd name="connsiteY0-74" fmla="*/ 0 h 1253820"/>
                <a:gd name="connsiteX1-75" fmla="*/ 493730 w 820821"/>
                <a:gd name="connsiteY1-76" fmla="*/ 52155 h 1253820"/>
                <a:gd name="connsiteX2-77" fmla="*/ 820739 w 820821"/>
                <a:gd name="connsiteY2-78" fmla="*/ 623710 h 1253820"/>
                <a:gd name="connsiteX3-79" fmla="*/ 516276 w 820821"/>
                <a:gd name="connsiteY3-80" fmla="*/ 1196336 h 1253820"/>
                <a:gd name="connsiteX4-81" fmla="*/ 410370 w 820821"/>
                <a:gd name="connsiteY4-82" fmla="*/ 1253820 h 1253820"/>
                <a:gd name="connsiteX5-83" fmla="*/ 310332 w 820821"/>
                <a:gd name="connsiteY5-84" fmla="*/ 1193062 h 1253820"/>
                <a:gd name="connsiteX6-85" fmla="*/ 0 w 820821"/>
                <a:gd name="connsiteY6-86" fmla="*/ 623710 h 1253820"/>
                <a:gd name="connsiteX7-87" fmla="*/ 326799 w 820821"/>
                <a:gd name="connsiteY7-88" fmla="*/ 76979 h 1253820"/>
                <a:gd name="connsiteX8-89" fmla="*/ 433275 w 820821"/>
                <a:gd name="connsiteY8-90" fmla="*/ 0 h 1253820"/>
                <a:gd name="connsiteX0-91" fmla="*/ 433275 w 820868"/>
                <a:gd name="connsiteY0-92" fmla="*/ 0 h 1253820"/>
                <a:gd name="connsiteX1-93" fmla="*/ 487862 w 820868"/>
                <a:gd name="connsiteY1-94" fmla="*/ 55429 h 1253820"/>
                <a:gd name="connsiteX2-95" fmla="*/ 820739 w 820868"/>
                <a:gd name="connsiteY2-96" fmla="*/ 623710 h 1253820"/>
                <a:gd name="connsiteX3-97" fmla="*/ 516276 w 820868"/>
                <a:gd name="connsiteY3-98" fmla="*/ 1196336 h 1253820"/>
                <a:gd name="connsiteX4-99" fmla="*/ 410370 w 820868"/>
                <a:gd name="connsiteY4-100" fmla="*/ 1253820 h 1253820"/>
                <a:gd name="connsiteX5-101" fmla="*/ 310332 w 820868"/>
                <a:gd name="connsiteY5-102" fmla="*/ 1193062 h 1253820"/>
                <a:gd name="connsiteX6-103" fmla="*/ 0 w 820868"/>
                <a:gd name="connsiteY6-104" fmla="*/ 623710 h 1253820"/>
                <a:gd name="connsiteX7-105" fmla="*/ 326799 w 820868"/>
                <a:gd name="connsiteY7-106" fmla="*/ 76979 h 1253820"/>
                <a:gd name="connsiteX8-107" fmla="*/ 433275 w 820868"/>
                <a:gd name="connsiteY8-108" fmla="*/ 0 h 1253820"/>
                <a:gd name="connsiteX0-109" fmla="*/ 433275 w 820868"/>
                <a:gd name="connsiteY0-110" fmla="*/ 0 h 1253820"/>
                <a:gd name="connsiteX1-111" fmla="*/ 487862 w 820868"/>
                <a:gd name="connsiteY1-112" fmla="*/ 55429 h 1253820"/>
                <a:gd name="connsiteX2-113" fmla="*/ 820739 w 820868"/>
                <a:gd name="connsiteY2-114" fmla="*/ 623710 h 1253820"/>
                <a:gd name="connsiteX3-115" fmla="*/ 516276 w 820868"/>
                <a:gd name="connsiteY3-116" fmla="*/ 1196336 h 1253820"/>
                <a:gd name="connsiteX4-117" fmla="*/ 410370 w 820868"/>
                <a:gd name="connsiteY4-118" fmla="*/ 1253820 h 1253820"/>
                <a:gd name="connsiteX5-119" fmla="*/ 310332 w 820868"/>
                <a:gd name="connsiteY5-120" fmla="*/ 1193062 h 1253820"/>
                <a:gd name="connsiteX6-121" fmla="*/ 0 w 820868"/>
                <a:gd name="connsiteY6-122" fmla="*/ 623710 h 1253820"/>
                <a:gd name="connsiteX7-123" fmla="*/ 307906 w 820868"/>
                <a:gd name="connsiteY7-124" fmla="*/ 91355 h 1253820"/>
                <a:gd name="connsiteX8-125" fmla="*/ 433275 w 820868"/>
                <a:gd name="connsiteY8-126" fmla="*/ 0 h 1253820"/>
                <a:gd name="connsiteX0-127" fmla="*/ 433275 w 820868"/>
                <a:gd name="connsiteY0-128" fmla="*/ 0 h 1253820"/>
                <a:gd name="connsiteX1-129" fmla="*/ 487862 w 820868"/>
                <a:gd name="connsiteY1-130" fmla="*/ 55429 h 1253820"/>
                <a:gd name="connsiteX2-131" fmla="*/ 820739 w 820868"/>
                <a:gd name="connsiteY2-132" fmla="*/ 623710 h 1253820"/>
                <a:gd name="connsiteX3-133" fmla="*/ 516276 w 820868"/>
                <a:gd name="connsiteY3-134" fmla="*/ 1196336 h 1253820"/>
                <a:gd name="connsiteX4-135" fmla="*/ 410370 w 820868"/>
                <a:gd name="connsiteY4-136" fmla="*/ 1253820 h 1253820"/>
                <a:gd name="connsiteX5-137" fmla="*/ 310332 w 820868"/>
                <a:gd name="connsiteY5-138" fmla="*/ 1193062 h 1253820"/>
                <a:gd name="connsiteX6-139" fmla="*/ 0 w 820868"/>
                <a:gd name="connsiteY6-140" fmla="*/ 623710 h 1253820"/>
                <a:gd name="connsiteX7-141" fmla="*/ 307906 w 820868"/>
                <a:gd name="connsiteY7-142" fmla="*/ 91355 h 1253820"/>
                <a:gd name="connsiteX8-143" fmla="*/ 433275 w 820868"/>
                <a:gd name="connsiteY8-144" fmla="*/ 0 h 1253820"/>
                <a:gd name="connsiteX0-145" fmla="*/ 433275 w 821563"/>
                <a:gd name="connsiteY0-146" fmla="*/ 0 h 1253820"/>
                <a:gd name="connsiteX1-147" fmla="*/ 487862 w 821563"/>
                <a:gd name="connsiteY1-148" fmla="*/ 55429 h 1253820"/>
                <a:gd name="connsiteX2-149" fmla="*/ 820739 w 821563"/>
                <a:gd name="connsiteY2-150" fmla="*/ 623710 h 1253820"/>
                <a:gd name="connsiteX3-151" fmla="*/ 516276 w 821563"/>
                <a:gd name="connsiteY3-152" fmla="*/ 1196336 h 1253820"/>
                <a:gd name="connsiteX4-153" fmla="*/ 410370 w 821563"/>
                <a:gd name="connsiteY4-154" fmla="*/ 1253820 h 1253820"/>
                <a:gd name="connsiteX5-155" fmla="*/ 310332 w 821563"/>
                <a:gd name="connsiteY5-156" fmla="*/ 1193062 h 1253820"/>
                <a:gd name="connsiteX6-157" fmla="*/ 0 w 821563"/>
                <a:gd name="connsiteY6-158" fmla="*/ 623710 h 1253820"/>
                <a:gd name="connsiteX7-159" fmla="*/ 307906 w 821563"/>
                <a:gd name="connsiteY7-160" fmla="*/ 91355 h 1253820"/>
                <a:gd name="connsiteX8-161" fmla="*/ 433275 w 821563"/>
                <a:gd name="connsiteY8-162" fmla="*/ 0 h 1253820"/>
                <a:gd name="connsiteX0-163" fmla="*/ 433275 w 821554"/>
                <a:gd name="connsiteY0-164" fmla="*/ 0 h 1253820"/>
                <a:gd name="connsiteX1-165" fmla="*/ 487862 w 821554"/>
                <a:gd name="connsiteY1-166" fmla="*/ 55429 h 1253820"/>
                <a:gd name="connsiteX2-167" fmla="*/ 820739 w 821554"/>
                <a:gd name="connsiteY2-168" fmla="*/ 623710 h 1253820"/>
                <a:gd name="connsiteX3-169" fmla="*/ 516276 w 821554"/>
                <a:gd name="connsiteY3-170" fmla="*/ 1196336 h 1253820"/>
                <a:gd name="connsiteX4-171" fmla="*/ 410370 w 821554"/>
                <a:gd name="connsiteY4-172" fmla="*/ 1253820 h 1253820"/>
                <a:gd name="connsiteX5-173" fmla="*/ 310332 w 821554"/>
                <a:gd name="connsiteY5-174" fmla="*/ 1193062 h 1253820"/>
                <a:gd name="connsiteX6-175" fmla="*/ 0 w 821554"/>
                <a:gd name="connsiteY6-176" fmla="*/ 623710 h 1253820"/>
                <a:gd name="connsiteX7-177" fmla="*/ 307906 w 821554"/>
                <a:gd name="connsiteY7-178" fmla="*/ 91355 h 1253820"/>
                <a:gd name="connsiteX8-179" fmla="*/ 433275 w 821554"/>
                <a:gd name="connsiteY8-180" fmla="*/ 0 h 1253820"/>
                <a:gd name="connsiteX0-181" fmla="*/ 433275 w 821554"/>
                <a:gd name="connsiteY0-182" fmla="*/ 0 h 1253820"/>
                <a:gd name="connsiteX1-183" fmla="*/ 487862 w 821554"/>
                <a:gd name="connsiteY1-184" fmla="*/ 55429 h 1253820"/>
                <a:gd name="connsiteX2-185" fmla="*/ 820739 w 821554"/>
                <a:gd name="connsiteY2-186" fmla="*/ 623710 h 1253820"/>
                <a:gd name="connsiteX3-187" fmla="*/ 516276 w 821554"/>
                <a:gd name="connsiteY3-188" fmla="*/ 1196336 h 1253820"/>
                <a:gd name="connsiteX4-189" fmla="*/ 410370 w 821554"/>
                <a:gd name="connsiteY4-190" fmla="*/ 1253820 h 1253820"/>
                <a:gd name="connsiteX5-191" fmla="*/ 310332 w 821554"/>
                <a:gd name="connsiteY5-192" fmla="*/ 1193062 h 1253820"/>
                <a:gd name="connsiteX6-193" fmla="*/ 0 w 821554"/>
                <a:gd name="connsiteY6-194" fmla="*/ 623710 h 1253820"/>
                <a:gd name="connsiteX7-195" fmla="*/ 307906 w 821554"/>
                <a:gd name="connsiteY7-196" fmla="*/ 91355 h 1253820"/>
                <a:gd name="connsiteX8-197" fmla="*/ 433275 w 821554"/>
                <a:gd name="connsiteY8-198" fmla="*/ 0 h 1253820"/>
                <a:gd name="connsiteX0-199" fmla="*/ 433290 w 821569"/>
                <a:gd name="connsiteY0-200" fmla="*/ 0 h 1253820"/>
                <a:gd name="connsiteX1-201" fmla="*/ 487877 w 821569"/>
                <a:gd name="connsiteY1-202" fmla="*/ 55429 h 1253820"/>
                <a:gd name="connsiteX2-203" fmla="*/ 820754 w 821569"/>
                <a:gd name="connsiteY2-204" fmla="*/ 623710 h 1253820"/>
                <a:gd name="connsiteX3-205" fmla="*/ 516291 w 821569"/>
                <a:gd name="connsiteY3-206" fmla="*/ 1196336 h 1253820"/>
                <a:gd name="connsiteX4-207" fmla="*/ 410385 w 821569"/>
                <a:gd name="connsiteY4-208" fmla="*/ 1253820 h 1253820"/>
                <a:gd name="connsiteX5-209" fmla="*/ 310347 w 821569"/>
                <a:gd name="connsiteY5-210" fmla="*/ 1193062 h 1253820"/>
                <a:gd name="connsiteX6-211" fmla="*/ 15 w 821569"/>
                <a:gd name="connsiteY6-212" fmla="*/ 623710 h 1253820"/>
                <a:gd name="connsiteX7-213" fmla="*/ 307921 w 821569"/>
                <a:gd name="connsiteY7-214" fmla="*/ 91355 h 1253820"/>
                <a:gd name="connsiteX8-215" fmla="*/ 433290 w 821569"/>
                <a:gd name="connsiteY8-216" fmla="*/ 0 h 1253820"/>
                <a:gd name="connsiteX0-217" fmla="*/ 459559 w 821569"/>
                <a:gd name="connsiteY0-218" fmla="*/ 0 h 1256861"/>
                <a:gd name="connsiteX1-219" fmla="*/ 487877 w 821569"/>
                <a:gd name="connsiteY1-220" fmla="*/ 58470 h 1256861"/>
                <a:gd name="connsiteX2-221" fmla="*/ 820754 w 821569"/>
                <a:gd name="connsiteY2-222" fmla="*/ 626751 h 1256861"/>
                <a:gd name="connsiteX3-223" fmla="*/ 516291 w 821569"/>
                <a:gd name="connsiteY3-224" fmla="*/ 1199377 h 1256861"/>
                <a:gd name="connsiteX4-225" fmla="*/ 410385 w 821569"/>
                <a:gd name="connsiteY4-226" fmla="*/ 1256861 h 1256861"/>
                <a:gd name="connsiteX5-227" fmla="*/ 310347 w 821569"/>
                <a:gd name="connsiteY5-228" fmla="*/ 1196103 h 1256861"/>
                <a:gd name="connsiteX6-229" fmla="*/ 15 w 821569"/>
                <a:gd name="connsiteY6-230" fmla="*/ 626751 h 1256861"/>
                <a:gd name="connsiteX7-231" fmla="*/ 307921 w 821569"/>
                <a:gd name="connsiteY7-232" fmla="*/ 94396 h 1256861"/>
                <a:gd name="connsiteX8-233" fmla="*/ 459559 w 821569"/>
                <a:gd name="connsiteY8-234" fmla="*/ 0 h 1256861"/>
                <a:gd name="connsiteX0-235" fmla="*/ 459559 w 820796"/>
                <a:gd name="connsiteY0-236" fmla="*/ 0 h 1256861"/>
                <a:gd name="connsiteX1-237" fmla="*/ 500409 w 820796"/>
                <a:gd name="connsiteY1-238" fmla="*/ 49306 h 1256861"/>
                <a:gd name="connsiteX2-239" fmla="*/ 820754 w 820796"/>
                <a:gd name="connsiteY2-240" fmla="*/ 626751 h 1256861"/>
                <a:gd name="connsiteX3-241" fmla="*/ 516291 w 820796"/>
                <a:gd name="connsiteY3-242" fmla="*/ 1199377 h 1256861"/>
                <a:gd name="connsiteX4-243" fmla="*/ 410385 w 820796"/>
                <a:gd name="connsiteY4-244" fmla="*/ 1256861 h 1256861"/>
                <a:gd name="connsiteX5-245" fmla="*/ 310347 w 820796"/>
                <a:gd name="connsiteY5-246" fmla="*/ 1196103 h 1256861"/>
                <a:gd name="connsiteX6-247" fmla="*/ 15 w 820796"/>
                <a:gd name="connsiteY6-248" fmla="*/ 626751 h 1256861"/>
                <a:gd name="connsiteX7-249" fmla="*/ 307921 w 820796"/>
                <a:gd name="connsiteY7-250" fmla="*/ 94396 h 1256861"/>
                <a:gd name="connsiteX8-251" fmla="*/ 459559 w 820796"/>
                <a:gd name="connsiteY8-252" fmla="*/ 0 h 1256861"/>
                <a:gd name="connsiteX0-253" fmla="*/ 459559 w 820795"/>
                <a:gd name="connsiteY0-254" fmla="*/ 0 h 1256861"/>
                <a:gd name="connsiteX1-255" fmla="*/ 500409 w 820795"/>
                <a:gd name="connsiteY1-256" fmla="*/ 49306 h 1256861"/>
                <a:gd name="connsiteX2-257" fmla="*/ 820754 w 820795"/>
                <a:gd name="connsiteY2-258" fmla="*/ 626751 h 1256861"/>
                <a:gd name="connsiteX3-259" fmla="*/ 516291 w 820795"/>
                <a:gd name="connsiteY3-260" fmla="*/ 1199377 h 1256861"/>
                <a:gd name="connsiteX4-261" fmla="*/ 410385 w 820795"/>
                <a:gd name="connsiteY4-262" fmla="*/ 1256861 h 1256861"/>
                <a:gd name="connsiteX5-263" fmla="*/ 310347 w 820795"/>
                <a:gd name="connsiteY5-264" fmla="*/ 1196103 h 1256861"/>
                <a:gd name="connsiteX6-265" fmla="*/ 15 w 820795"/>
                <a:gd name="connsiteY6-266" fmla="*/ 626751 h 1256861"/>
                <a:gd name="connsiteX7-267" fmla="*/ 318200 w 820795"/>
                <a:gd name="connsiteY7-268" fmla="*/ 101144 h 1256861"/>
                <a:gd name="connsiteX8-269" fmla="*/ 459559 w 820795"/>
                <a:gd name="connsiteY8-270" fmla="*/ 0 h 1256861"/>
                <a:gd name="connsiteX0-271" fmla="*/ 459558 w 820794"/>
                <a:gd name="connsiteY0-272" fmla="*/ 0 h 1256861"/>
                <a:gd name="connsiteX1-273" fmla="*/ 500408 w 820794"/>
                <a:gd name="connsiteY1-274" fmla="*/ 49306 h 1256861"/>
                <a:gd name="connsiteX2-275" fmla="*/ 820753 w 820794"/>
                <a:gd name="connsiteY2-276" fmla="*/ 626751 h 1256861"/>
                <a:gd name="connsiteX3-277" fmla="*/ 516290 w 820794"/>
                <a:gd name="connsiteY3-278" fmla="*/ 1199377 h 1256861"/>
                <a:gd name="connsiteX4-279" fmla="*/ 410384 w 820794"/>
                <a:gd name="connsiteY4-280" fmla="*/ 1256861 h 1256861"/>
                <a:gd name="connsiteX5-281" fmla="*/ 328293 w 820794"/>
                <a:gd name="connsiteY5-282" fmla="*/ 1196293 h 1256861"/>
                <a:gd name="connsiteX6-283" fmla="*/ 14 w 820794"/>
                <a:gd name="connsiteY6-284" fmla="*/ 626751 h 1256861"/>
                <a:gd name="connsiteX7-285" fmla="*/ 318199 w 820794"/>
                <a:gd name="connsiteY7-286" fmla="*/ 101144 h 1256861"/>
                <a:gd name="connsiteX8-287" fmla="*/ 459558 w 820794"/>
                <a:gd name="connsiteY8-288" fmla="*/ 0 h 1256861"/>
                <a:gd name="connsiteX0-289" fmla="*/ 459558 w 820865"/>
                <a:gd name="connsiteY0-290" fmla="*/ 0 h 1256861"/>
                <a:gd name="connsiteX1-291" fmla="*/ 500408 w 820865"/>
                <a:gd name="connsiteY1-292" fmla="*/ 49306 h 1256861"/>
                <a:gd name="connsiteX2-293" fmla="*/ 820753 w 820865"/>
                <a:gd name="connsiteY2-294" fmla="*/ 626751 h 1256861"/>
                <a:gd name="connsiteX3-295" fmla="*/ 525916 w 820865"/>
                <a:gd name="connsiteY3-296" fmla="*/ 1202798 h 1256861"/>
                <a:gd name="connsiteX4-297" fmla="*/ 410384 w 820865"/>
                <a:gd name="connsiteY4-298" fmla="*/ 1256861 h 1256861"/>
                <a:gd name="connsiteX5-299" fmla="*/ 328293 w 820865"/>
                <a:gd name="connsiteY5-300" fmla="*/ 1196293 h 1256861"/>
                <a:gd name="connsiteX6-301" fmla="*/ 14 w 820865"/>
                <a:gd name="connsiteY6-302" fmla="*/ 626751 h 1256861"/>
                <a:gd name="connsiteX7-303" fmla="*/ 318199 w 820865"/>
                <a:gd name="connsiteY7-304" fmla="*/ 101144 h 1256861"/>
                <a:gd name="connsiteX8-305" fmla="*/ 459558 w 820865"/>
                <a:gd name="connsiteY8-306" fmla="*/ 0 h 1256861"/>
                <a:gd name="connsiteX0-307" fmla="*/ 459558 w 820865"/>
                <a:gd name="connsiteY0-308" fmla="*/ 0 h 1256861"/>
                <a:gd name="connsiteX1-309" fmla="*/ 500408 w 820865"/>
                <a:gd name="connsiteY1-310" fmla="*/ 49306 h 1256861"/>
                <a:gd name="connsiteX2-311" fmla="*/ 820753 w 820865"/>
                <a:gd name="connsiteY2-312" fmla="*/ 626751 h 1256861"/>
                <a:gd name="connsiteX3-313" fmla="*/ 525916 w 820865"/>
                <a:gd name="connsiteY3-314" fmla="*/ 1202798 h 1256861"/>
                <a:gd name="connsiteX4-315" fmla="*/ 410384 w 820865"/>
                <a:gd name="connsiteY4-316" fmla="*/ 1256861 h 1256861"/>
                <a:gd name="connsiteX5-317" fmla="*/ 328293 w 820865"/>
                <a:gd name="connsiteY5-318" fmla="*/ 1196293 h 1256861"/>
                <a:gd name="connsiteX6-319" fmla="*/ 14 w 820865"/>
                <a:gd name="connsiteY6-320" fmla="*/ 626751 h 1256861"/>
                <a:gd name="connsiteX7-321" fmla="*/ 318199 w 820865"/>
                <a:gd name="connsiteY7-322" fmla="*/ 101144 h 1256861"/>
                <a:gd name="connsiteX8-323" fmla="*/ 459558 w 820865"/>
                <a:gd name="connsiteY8-324" fmla="*/ 0 h 1256861"/>
                <a:gd name="connsiteX0-325" fmla="*/ 459558 w 820865"/>
                <a:gd name="connsiteY0-326" fmla="*/ 0 h 1275566"/>
                <a:gd name="connsiteX1-327" fmla="*/ 500408 w 820865"/>
                <a:gd name="connsiteY1-328" fmla="*/ 49306 h 1275566"/>
                <a:gd name="connsiteX2-329" fmla="*/ 820753 w 820865"/>
                <a:gd name="connsiteY2-330" fmla="*/ 626751 h 1275566"/>
                <a:gd name="connsiteX3-331" fmla="*/ 525916 w 820865"/>
                <a:gd name="connsiteY3-332" fmla="*/ 1202798 h 1275566"/>
                <a:gd name="connsiteX4-333" fmla="*/ 421217 w 820865"/>
                <a:gd name="connsiteY4-334" fmla="*/ 1275566 h 1275566"/>
                <a:gd name="connsiteX5-335" fmla="*/ 328293 w 820865"/>
                <a:gd name="connsiteY5-336" fmla="*/ 1196293 h 1275566"/>
                <a:gd name="connsiteX6-337" fmla="*/ 14 w 820865"/>
                <a:gd name="connsiteY6-338" fmla="*/ 626751 h 1275566"/>
                <a:gd name="connsiteX7-339" fmla="*/ 318199 w 820865"/>
                <a:gd name="connsiteY7-340" fmla="*/ 101144 h 1275566"/>
                <a:gd name="connsiteX8-341" fmla="*/ 459558 w 820865"/>
                <a:gd name="connsiteY8-342" fmla="*/ 0 h 1275566"/>
                <a:gd name="connsiteX0-343" fmla="*/ 459558 w 820865"/>
                <a:gd name="connsiteY0-344" fmla="*/ 0 h 1275566"/>
                <a:gd name="connsiteX1-345" fmla="*/ 500408 w 820865"/>
                <a:gd name="connsiteY1-346" fmla="*/ 49306 h 1275566"/>
                <a:gd name="connsiteX2-347" fmla="*/ 820753 w 820865"/>
                <a:gd name="connsiteY2-348" fmla="*/ 626751 h 1275566"/>
                <a:gd name="connsiteX3-349" fmla="*/ 525916 w 820865"/>
                <a:gd name="connsiteY3-350" fmla="*/ 1202798 h 1275566"/>
                <a:gd name="connsiteX4-351" fmla="*/ 421217 w 820865"/>
                <a:gd name="connsiteY4-352" fmla="*/ 1275566 h 1275566"/>
                <a:gd name="connsiteX5-353" fmla="*/ 328293 w 820865"/>
                <a:gd name="connsiteY5-354" fmla="*/ 1196293 h 1275566"/>
                <a:gd name="connsiteX6-355" fmla="*/ 14 w 820865"/>
                <a:gd name="connsiteY6-356" fmla="*/ 626751 h 1275566"/>
                <a:gd name="connsiteX7-357" fmla="*/ 318199 w 820865"/>
                <a:gd name="connsiteY7-358" fmla="*/ 101144 h 1275566"/>
                <a:gd name="connsiteX8-359" fmla="*/ 459558 w 820865"/>
                <a:gd name="connsiteY8-360" fmla="*/ 0 h 1275566"/>
                <a:gd name="connsiteX0-361" fmla="*/ 438815 w 820865"/>
                <a:gd name="connsiteY0-362" fmla="*/ 0 h 1276220"/>
                <a:gd name="connsiteX1-363" fmla="*/ 500408 w 820865"/>
                <a:gd name="connsiteY1-364" fmla="*/ 49960 h 1276220"/>
                <a:gd name="connsiteX2-365" fmla="*/ 820753 w 820865"/>
                <a:gd name="connsiteY2-366" fmla="*/ 627405 h 1276220"/>
                <a:gd name="connsiteX3-367" fmla="*/ 525916 w 820865"/>
                <a:gd name="connsiteY3-368" fmla="*/ 1203452 h 1276220"/>
                <a:gd name="connsiteX4-369" fmla="*/ 421217 w 820865"/>
                <a:gd name="connsiteY4-370" fmla="*/ 1276220 h 1276220"/>
                <a:gd name="connsiteX5-371" fmla="*/ 328293 w 820865"/>
                <a:gd name="connsiteY5-372" fmla="*/ 1196947 h 1276220"/>
                <a:gd name="connsiteX6-373" fmla="*/ 14 w 820865"/>
                <a:gd name="connsiteY6-374" fmla="*/ 627405 h 1276220"/>
                <a:gd name="connsiteX7-375" fmla="*/ 318199 w 820865"/>
                <a:gd name="connsiteY7-376" fmla="*/ 101798 h 1276220"/>
                <a:gd name="connsiteX8-377" fmla="*/ 438815 w 820865"/>
                <a:gd name="connsiteY8-378" fmla="*/ 0 h 1276220"/>
                <a:gd name="connsiteX0-379" fmla="*/ 438815 w 820865"/>
                <a:gd name="connsiteY0-380" fmla="*/ 0 h 1266560"/>
                <a:gd name="connsiteX1-381" fmla="*/ 500408 w 820865"/>
                <a:gd name="connsiteY1-382" fmla="*/ 49960 h 1266560"/>
                <a:gd name="connsiteX2-383" fmla="*/ 820753 w 820865"/>
                <a:gd name="connsiteY2-384" fmla="*/ 627405 h 1266560"/>
                <a:gd name="connsiteX3-385" fmla="*/ 525916 w 820865"/>
                <a:gd name="connsiteY3-386" fmla="*/ 1203452 h 1266560"/>
                <a:gd name="connsiteX4-387" fmla="*/ 446146 w 820865"/>
                <a:gd name="connsiteY4-388" fmla="*/ 1266560 h 1266560"/>
                <a:gd name="connsiteX5-389" fmla="*/ 328293 w 820865"/>
                <a:gd name="connsiteY5-390" fmla="*/ 1196947 h 1266560"/>
                <a:gd name="connsiteX6-391" fmla="*/ 14 w 820865"/>
                <a:gd name="connsiteY6-392" fmla="*/ 627405 h 1266560"/>
                <a:gd name="connsiteX7-393" fmla="*/ 318199 w 820865"/>
                <a:gd name="connsiteY7-394" fmla="*/ 101798 h 1266560"/>
                <a:gd name="connsiteX8-395" fmla="*/ 438815 w 820865"/>
                <a:gd name="connsiteY8-396" fmla="*/ 0 h 1266560"/>
                <a:gd name="connsiteX0-397" fmla="*/ 438815 w 821234"/>
                <a:gd name="connsiteY0-398" fmla="*/ 0 h 1266560"/>
                <a:gd name="connsiteX1-399" fmla="*/ 500408 w 821234"/>
                <a:gd name="connsiteY1-400" fmla="*/ 49960 h 1266560"/>
                <a:gd name="connsiteX2-401" fmla="*/ 820753 w 821234"/>
                <a:gd name="connsiteY2-402" fmla="*/ 627405 h 1266560"/>
                <a:gd name="connsiteX3-403" fmla="*/ 549693 w 821234"/>
                <a:gd name="connsiteY3-404" fmla="*/ 1208811 h 1266560"/>
                <a:gd name="connsiteX4-405" fmla="*/ 446146 w 821234"/>
                <a:gd name="connsiteY4-406" fmla="*/ 1266560 h 1266560"/>
                <a:gd name="connsiteX5-407" fmla="*/ 328293 w 821234"/>
                <a:gd name="connsiteY5-408" fmla="*/ 1196947 h 1266560"/>
                <a:gd name="connsiteX6-409" fmla="*/ 14 w 821234"/>
                <a:gd name="connsiteY6-410" fmla="*/ 627405 h 1266560"/>
                <a:gd name="connsiteX7-411" fmla="*/ 318199 w 821234"/>
                <a:gd name="connsiteY7-412" fmla="*/ 101798 h 1266560"/>
                <a:gd name="connsiteX8-413" fmla="*/ 438815 w 821234"/>
                <a:gd name="connsiteY8-414" fmla="*/ 0 h 1266560"/>
                <a:gd name="connsiteX0-415" fmla="*/ 438815 w 821148"/>
                <a:gd name="connsiteY0-416" fmla="*/ 0 h 1266560"/>
                <a:gd name="connsiteX1-417" fmla="*/ 500408 w 821148"/>
                <a:gd name="connsiteY1-418" fmla="*/ 49960 h 1266560"/>
                <a:gd name="connsiteX2-419" fmla="*/ 820753 w 821148"/>
                <a:gd name="connsiteY2-420" fmla="*/ 627405 h 1266560"/>
                <a:gd name="connsiteX3-421" fmla="*/ 549693 w 821148"/>
                <a:gd name="connsiteY3-422" fmla="*/ 1208811 h 1266560"/>
                <a:gd name="connsiteX4-423" fmla="*/ 446146 w 821148"/>
                <a:gd name="connsiteY4-424" fmla="*/ 1266560 h 1266560"/>
                <a:gd name="connsiteX5-425" fmla="*/ 328293 w 821148"/>
                <a:gd name="connsiteY5-426" fmla="*/ 1196947 h 1266560"/>
                <a:gd name="connsiteX6-427" fmla="*/ 14 w 821148"/>
                <a:gd name="connsiteY6-428" fmla="*/ 627405 h 1266560"/>
                <a:gd name="connsiteX7-429" fmla="*/ 318199 w 821148"/>
                <a:gd name="connsiteY7-430" fmla="*/ 101798 h 1266560"/>
                <a:gd name="connsiteX8-431" fmla="*/ 438815 w 821148"/>
                <a:gd name="connsiteY8-432" fmla="*/ 0 h 1266560"/>
                <a:gd name="connsiteX0-433" fmla="*/ 438815 w 821263"/>
                <a:gd name="connsiteY0-434" fmla="*/ 0 h 1266560"/>
                <a:gd name="connsiteX1-435" fmla="*/ 500408 w 821263"/>
                <a:gd name="connsiteY1-436" fmla="*/ 49960 h 1266560"/>
                <a:gd name="connsiteX2-437" fmla="*/ 820753 w 821263"/>
                <a:gd name="connsiteY2-438" fmla="*/ 627405 h 1266560"/>
                <a:gd name="connsiteX3-439" fmla="*/ 555529 w 821263"/>
                <a:gd name="connsiteY3-440" fmla="*/ 1215755 h 1266560"/>
                <a:gd name="connsiteX4-441" fmla="*/ 446146 w 821263"/>
                <a:gd name="connsiteY4-442" fmla="*/ 1266560 h 1266560"/>
                <a:gd name="connsiteX5-443" fmla="*/ 328293 w 821263"/>
                <a:gd name="connsiteY5-444" fmla="*/ 1196947 h 1266560"/>
                <a:gd name="connsiteX6-445" fmla="*/ 14 w 821263"/>
                <a:gd name="connsiteY6-446" fmla="*/ 627405 h 1266560"/>
                <a:gd name="connsiteX7-447" fmla="*/ 318199 w 821263"/>
                <a:gd name="connsiteY7-448" fmla="*/ 101798 h 1266560"/>
                <a:gd name="connsiteX8-449" fmla="*/ 438815 w 821263"/>
                <a:gd name="connsiteY8-450" fmla="*/ 0 h 1266560"/>
                <a:gd name="connsiteX0-451" fmla="*/ 438815 w 818475"/>
                <a:gd name="connsiteY0-452" fmla="*/ 0 h 1266560"/>
                <a:gd name="connsiteX1-453" fmla="*/ 500408 w 818475"/>
                <a:gd name="connsiteY1-454" fmla="*/ 49960 h 1266560"/>
                <a:gd name="connsiteX2-455" fmla="*/ 817954 w 818475"/>
                <a:gd name="connsiteY2-456" fmla="*/ 625166 h 1266560"/>
                <a:gd name="connsiteX3-457" fmla="*/ 555529 w 818475"/>
                <a:gd name="connsiteY3-458" fmla="*/ 1215755 h 1266560"/>
                <a:gd name="connsiteX4-459" fmla="*/ 446146 w 818475"/>
                <a:gd name="connsiteY4-460" fmla="*/ 1266560 h 1266560"/>
                <a:gd name="connsiteX5-461" fmla="*/ 328293 w 818475"/>
                <a:gd name="connsiteY5-462" fmla="*/ 1196947 h 1266560"/>
                <a:gd name="connsiteX6-463" fmla="*/ 14 w 818475"/>
                <a:gd name="connsiteY6-464" fmla="*/ 627405 h 1266560"/>
                <a:gd name="connsiteX7-465" fmla="*/ 318199 w 818475"/>
                <a:gd name="connsiteY7-466" fmla="*/ 101798 h 1266560"/>
                <a:gd name="connsiteX8-467" fmla="*/ 438815 w 818475"/>
                <a:gd name="connsiteY8-468" fmla="*/ 0 h 126656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818475" h="1266560">
                  <a:moveTo>
                    <a:pt x="438815" y="0"/>
                  </a:moveTo>
                  <a:lnTo>
                    <a:pt x="500408" y="49960"/>
                  </a:lnTo>
                  <a:cubicBezTo>
                    <a:pt x="673856" y="189728"/>
                    <a:pt x="808767" y="430867"/>
                    <a:pt x="817954" y="625166"/>
                  </a:cubicBezTo>
                  <a:cubicBezTo>
                    <a:pt x="827141" y="819465"/>
                    <a:pt x="714031" y="1085845"/>
                    <a:pt x="555529" y="1215755"/>
                  </a:cubicBezTo>
                  <a:cubicBezTo>
                    <a:pt x="520629" y="1240011"/>
                    <a:pt x="495435" y="1251752"/>
                    <a:pt x="446146" y="1266560"/>
                  </a:cubicBezTo>
                  <a:lnTo>
                    <a:pt x="328293" y="1196947"/>
                  </a:lnTo>
                  <a:cubicBezTo>
                    <a:pt x="144602" y="1072848"/>
                    <a:pt x="-1633" y="862856"/>
                    <a:pt x="14" y="627405"/>
                  </a:cubicBezTo>
                  <a:cubicBezTo>
                    <a:pt x="32799" y="412939"/>
                    <a:pt x="156485" y="244322"/>
                    <a:pt x="318199" y="101798"/>
                  </a:cubicBezTo>
                  <a:lnTo>
                    <a:pt x="438815"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900" dirty="0">
                  <a:solidFill>
                    <a:srgbClr val="FFFFFF"/>
                  </a:solidFill>
                  <a:latin typeface="+mn-ea"/>
                </a:rPr>
                <a:t>新产品</a:t>
              </a:r>
            </a:p>
          </p:txBody>
        </p:sp>
        <p:sp>
          <p:nvSpPr>
            <p:cNvPr id="8" name="任意多边形 7"/>
            <p:cNvSpPr/>
            <p:nvPr/>
          </p:nvSpPr>
          <p:spPr>
            <a:xfrm>
              <a:off x="3941570" y="2044710"/>
              <a:ext cx="969196" cy="3113463"/>
            </a:xfrm>
            <a:custGeom>
              <a:avLst/>
              <a:gdLst>
                <a:gd name="connsiteX0" fmla="*/ 540542 w 971549"/>
                <a:gd name="connsiteY0" fmla="*/ 0 h 3121025"/>
                <a:gd name="connsiteX1" fmla="*/ 447674 w 971549"/>
                <a:gd name="connsiteY1" fmla="*/ 916781 h 3121025"/>
                <a:gd name="connsiteX2" fmla="*/ 440997 w 971549"/>
                <a:gd name="connsiteY2" fmla="*/ 913656 h 3121025"/>
                <a:gd name="connsiteX3" fmla="*/ 417204 w 971549"/>
                <a:gd name="connsiteY3" fmla="*/ 1251512 h 3121025"/>
                <a:gd name="connsiteX4" fmla="*/ 470694 w 971549"/>
                <a:gd name="connsiteY4" fmla="*/ 1046163 h 3121025"/>
                <a:gd name="connsiteX5" fmla="*/ 554037 w 971549"/>
                <a:gd name="connsiteY5" fmla="*/ 781050 h 3121025"/>
                <a:gd name="connsiteX6" fmla="*/ 617537 w 971549"/>
                <a:gd name="connsiteY6" fmla="*/ 876300 h 3121025"/>
                <a:gd name="connsiteX7" fmla="*/ 506412 w 971549"/>
                <a:gd name="connsiteY7" fmla="*/ 1419225 h 3121025"/>
                <a:gd name="connsiteX8" fmla="*/ 503554 w 971549"/>
                <a:gd name="connsiteY8" fmla="*/ 1416281 h 3121025"/>
                <a:gd name="connsiteX9" fmla="*/ 510877 w 971549"/>
                <a:gd name="connsiteY9" fmla="*/ 1641475 h 3121025"/>
                <a:gd name="connsiteX10" fmla="*/ 554037 w 971549"/>
                <a:gd name="connsiteY10" fmla="*/ 2346325 h 3121025"/>
                <a:gd name="connsiteX11" fmla="*/ 651669 w 971549"/>
                <a:gd name="connsiteY11" fmla="*/ 2726531 h 3121025"/>
                <a:gd name="connsiteX12" fmla="*/ 694279 w 971549"/>
                <a:gd name="connsiteY12" fmla="*/ 2836944 h 3121025"/>
                <a:gd name="connsiteX13" fmla="*/ 709612 w 971549"/>
                <a:gd name="connsiteY13" fmla="*/ 2771775 h 3121025"/>
                <a:gd name="connsiteX14" fmla="*/ 814387 w 971549"/>
                <a:gd name="connsiteY14" fmla="*/ 2471738 h 3121025"/>
                <a:gd name="connsiteX15" fmla="*/ 971549 w 971549"/>
                <a:gd name="connsiteY15" fmla="*/ 2512219 h 3121025"/>
                <a:gd name="connsiteX16" fmla="*/ 928687 w 971549"/>
                <a:gd name="connsiteY16" fmla="*/ 2543175 h 3121025"/>
                <a:gd name="connsiteX17" fmla="*/ 812006 w 971549"/>
                <a:gd name="connsiteY17" fmla="*/ 2883693 h 3121025"/>
                <a:gd name="connsiteX18" fmla="*/ 787597 w 971549"/>
                <a:gd name="connsiteY18" fmla="*/ 3067874 h 3121025"/>
                <a:gd name="connsiteX19" fmla="*/ 801687 w 971549"/>
                <a:gd name="connsiteY19" fmla="*/ 3101975 h 3121025"/>
                <a:gd name="connsiteX20" fmla="*/ 420687 w 971549"/>
                <a:gd name="connsiteY20" fmla="*/ 3121025 h 3121025"/>
                <a:gd name="connsiteX21" fmla="*/ 230187 w 971549"/>
                <a:gd name="connsiteY21" fmla="*/ 2219325 h 3121025"/>
                <a:gd name="connsiteX22" fmla="*/ 230269 w 971549"/>
                <a:gd name="connsiteY22" fmla="*/ 2219256 h 3121025"/>
                <a:gd name="connsiteX23" fmla="*/ 90487 w 971549"/>
                <a:gd name="connsiteY23" fmla="*/ 2085975 h 3121025"/>
                <a:gd name="connsiteX24" fmla="*/ 0 w 971549"/>
                <a:gd name="connsiteY24" fmla="*/ 2043113 h 3121025"/>
                <a:gd name="connsiteX25" fmla="*/ 104775 w 971549"/>
                <a:gd name="connsiteY25" fmla="*/ 1938338 h 3121025"/>
                <a:gd name="connsiteX26" fmla="*/ 311975 w 971549"/>
                <a:gd name="connsiteY26" fmla="*/ 2141393 h 3121025"/>
                <a:gd name="connsiteX27" fmla="*/ 298958 w 971549"/>
                <a:gd name="connsiteY27" fmla="*/ 2003425 h 3121025"/>
                <a:gd name="connsiteX28" fmla="*/ 325437 w 971549"/>
                <a:gd name="connsiteY28" fmla="*/ 981075 h 3121025"/>
                <a:gd name="connsiteX29" fmla="*/ 328381 w 971549"/>
                <a:gd name="connsiteY29" fmla="*/ 961942 h 3121025"/>
                <a:gd name="connsiteX30" fmla="*/ 264021 w 971549"/>
                <a:gd name="connsiteY30" fmla="*/ 839391 h 3121025"/>
                <a:gd name="connsiteX31" fmla="*/ 176212 w 971549"/>
                <a:gd name="connsiteY31" fmla="*/ 661987 h 3121025"/>
                <a:gd name="connsiteX32" fmla="*/ 219075 w 971549"/>
                <a:gd name="connsiteY32" fmla="*/ 614363 h 3121025"/>
                <a:gd name="connsiteX33" fmla="*/ 340076 w 971549"/>
                <a:gd name="connsiteY33" fmla="*/ 822986 h 3121025"/>
                <a:gd name="connsiteX34" fmla="*/ 421480 w 971549"/>
                <a:gd name="connsiteY34" fmla="*/ 42863 h 3121025"/>
                <a:gd name="connsiteX0-1" fmla="*/ 540542 w 971549"/>
                <a:gd name="connsiteY0-2" fmla="*/ 0 h 3121025"/>
                <a:gd name="connsiteX1-3" fmla="*/ 447674 w 971549"/>
                <a:gd name="connsiteY1-4" fmla="*/ 916781 h 3121025"/>
                <a:gd name="connsiteX2-5" fmla="*/ 440997 w 971549"/>
                <a:gd name="connsiteY2-6" fmla="*/ 913656 h 3121025"/>
                <a:gd name="connsiteX3-7" fmla="*/ 417204 w 971549"/>
                <a:gd name="connsiteY3-8" fmla="*/ 1251512 h 3121025"/>
                <a:gd name="connsiteX4-9" fmla="*/ 470694 w 971549"/>
                <a:gd name="connsiteY4-10" fmla="*/ 1046163 h 3121025"/>
                <a:gd name="connsiteX5-11" fmla="*/ 554037 w 971549"/>
                <a:gd name="connsiteY5-12" fmla="*/ 781050 h 3121025"/>
                <a:gd name="connsiteX6-13" fmla="*/ 617537 w 971549"/>
                <a:gd name="connsiteY6-14" fmla="*/ 876300 h 3121025"/>
                <a:gd name="connsiteX7-15" fmla="*/ 506412 w 971549"/>
                <a:gd name="connsiteY7-16" fmla="*/ 1419225 h 3121025"/>
                <a:gd name="connsiteX8-17" fmla="*/ 503554 w 971549"/>
                <a:gd name="connsiteY8-18" fmla="*/ 1416281 h 3121025"/>
                <a:gd name="connsiteX9-19" fmla="*/ 510877 w 971549"/>
                <a:gd name="connsiteY9-20" fmla="*/ 1641475 h 3121025"/>
                <a:gd name="connsiteX10-21" fmla="*/ 554037 w 971549"/>
                <a:gd name="connsiteY10-22" fmla="*/ 2346325 h 3121025"/>
                <a:gd name="connsiteX11-23" fmla="*/ 651669 w 971549"/>
                <a:gd name="connsiteY11-24" fmla="*/ 2726531 h 3121025"/>
                <a:gd name="connsiteX12-25" fmla="*/ 694279 w 971549"/>
                <a:gd name="connsiteY12-26" fmla="*/ 2836944 h 3121025"/>
                <a:gd name="connsiteX13-27" fmla="*/ 709612 w 971549"/>
                <a:gd name="connsiteY13-28" fmla="*/ 2771775 h 3121025"/>
                <a:gd name="connsiteX14-29" fmla="*/ 814387 w 971549"/>
                <a:gd name="connsiteY14-30" fmla="*/ 2471738 h 3121025"/>
                <a:gd name="connsiteX15-31" fmla="*/ 971549 w 971549"/>
                <a:gd name="connsiteY15-32" fmla="*/ 2512219 h 3121025"/>
                <a:gd name="connsiteX16-33" fmla="*/ 928687 w 971549"/>
                <a:gd name="connsiteY16-34" fmla="*/ 2543175 h 3121025"/>
                <a:gd name="connsiteX17-35" fmla="*/ 812006 w 971549"/>
                <a:gd name="connsiteY17-36" fmla="*/ 2883693 h 3121025"/>
                <a:gd name="connsiteX18-37" fmla="*/ 787597 w 971549"/>
                <a:gd name="connsiteY18-38" fmla="*/ 3067874 h 3121025"/>
                <a:gd name="connsiteX19-39" fmla="*/ 801687 w 971549"/>
                <a:gd name="connsiteY19-40" fmla="*/ 3101975 h 3121025"/>
                <a:gd name="connsiteX20-41" fmla="*/ 420687 w 971549"/>
                <a:gd name="connsiteY20-42" fmla="*/ 3121025 h 3121025"/>
                <a:gd name="connsiteX21-43" fmla="*/ 230187 w 971549"/>
                <a:gd name="connsiteY21-44" fmla="*/ 2219325 h 3121025"/>
                <a:gd name="connsiteX22-45" fmla="*/ 230269 w 971549"/>
                <a:gd name="connsiteY22-46" fmla="*/ 2219256 h 3121025"/>
                <a:gd name="connsiteX23-47" fmla="*/ 90487 w 971549"/>
                <a:gd name="connsiteY23-48" fmla="*/ 2085975 h 3121025"/>
                <a:gd name="connsiteX24-49" fmla="*/ 0 w 971549"/>
                <a:gd name="connsiteY24-50" fmla="*/ 2043113 h 3121025"/>
                <a:gd name="connsiteX25-51" fmla="*/ 104775 w 971549"/>
                <a:gd name="connsiteY25-52" fmla="*/ 1938338 h 3121025"/>
                <a:gd name="connsiteX26-53" fmla="*/ 311975 w 971549"/>
                <a:gd name="connsiteY26-54" fmla="*/ 2141393 h 3121025"/>
                <a:gd name="connsiteX27-55" fmla="*/ 298958 w 971549"/>
                <a:gd name="connsiteY27-56" fmla="*/ 2003425 h 3121025"/>
                <a:gd name="connsiteX28-57" fmla="*/ 325437 w 971549"/>
                <a:gd name="connsiteY28-58" fmla="*/ 981075 h 3121025"/>
                <a:gd name="connsiteX29-59" fmla="*/ 328381 w 971549"/>
                <a:gd name="connsiteY29-60" fmla="*/ 961942 h 3121025"/>
                <a:gd name="connsiteX30-61" fmla="*/ 264021 w 971549"/>
                <a:gd name="connsiteY30-62" fmla="*/ 839391 h 3121025"/>
                <a:gd name="connsiteX31-63" fmla="*/ 176212 w 971549"/>
                <a:gd name="connsiteY31-64" fmla="*/ 661987 h 3121025"/>
                <a:gd name="connsiteX32-65" fmla="*/ 219075 w 971549"/>
                <a:gd name="connsiteY32-66" fmla="*/ 614363 h 3121025"/>
                <a:gd name="connsiteX33-67" fmla="*/ 340076 w 971549"/>
                <a:gd name="connsiteY33-68" fmla="*/ 822986 h 3121025"/>
                <a:gd name="connsiteX34-69" fmla="*/ 421480 w 971549"/>
                <a:gd name="connsiteY34-70" fmla="*/ 42863 h 3121025"/>
                <a:gd name="connsiteX35" fmla="*/ 540542 w 971549"/>
                <a:gd name="connsiteY35" fmla="*/ 0 h 3121025"/>
                <a:gd name="connsiteX0-71" fmla="*/ 540542 w 971549"/>
                <a:gd name="connsiteY0-72" fmla="*/ 0 h 3121025"/>
                <a:gd name="connsiteX1-73" fmla="*/ 447674 w 971549"/>
                <a:gd name="connsiteY1-74" fmla="*/ 916781 h 3121025"/>
                <a:gd name="connsiteX2-75" fmla="*/ 440997 w 971549"/>
                <a:gd name="connsiteY2-76" fmla="*/ 913656 h 3121025"/>
                <a:gd name="connsiteX3-77" fmla="*/ 417204 w 971549"/>
                <a:gd name="connsiteY3-78" fmla="*/ 1251512 h 3121025"/>
                <a:gd name="connsiteX4-79" fmla="*/ 470694 w 971549"/>
                <a:gd name="connsiteY4-80" fmla="*/ 1046163 h 3121025"/>
                <a:gd name="connsiteX5-81" fmla="*/ 554037 w 971549"/>
                <a:gd name="connsiteY5-82" fmla="*/ 781050 h 3121025"/>
                <a:gd name="connsiteX6-83" fmla="*/ 617537 w 971549"/>
                <a:gd name="connsiteY6-84" fmla="*/ 876300 h 3121025"/>
                <a:gd name="connsiteX7-85" fmla="*/ 506412 w 971549"/>
                <a:gd name="connsiteY7-86" fmla="*/ 1419225 h 3121025"/>
                <a:gd name="connsiteX8-87" fmla="*/ 503554 w 971549"/>
                <a:gd name="connsiteY8-88" fmla="*/ 1416281 h 3121025"/>
                <a:gd name="connsiteX9-89" fmla="*/ 510877 w 971549"/>
                <a:gd name="connsiteY9-90" fmla="*/ 1641475 h 3121025"/>
                <a:gd name="connsiteX10-91" fmla="*/ 554037 w 971549"/>
                <a:gd name="connsiteY10-92" fmla="*/ 2346325 h 3121025"/>
                <a:gd name="connsiteX11-93" fmla="*/ 651669 w 971549"/>
                <a:gd name="connsiteY11-94" fmla="*/ 2726531 h 3121025"/>
                <a:gd name="connsiteX12-95" fmla="*/ 694279 w 971549"/>
                <a:gd name="connsiteY12-96" fmla="*/ 2836944 h 3121025"/>
                <a:gd name="connsiteX13-97" fmla="*/ 709612 w 971549"/>
                <a:gd name="connsiteY13-98" fmla="*/ 2771775 h 3121025"/>
                <a:gd name="connsiteX14-99" fmla="*/ 814387 w 971549"/>
                <a:gd name="connsiteY14-100" fmla="*/ 2471738 h 3121025"/>
                <a:gd name="connsiteX15-101" fmla="*/ 971549 w 971549"/>
                <a:gd name="connsiteY15-102" fmla="*/ 2512219 h 3121025"/>
                <a:gd name="connsiteX16-103" fmla="*/ 928687 w 971549"/>
                <a:gd name="connsiteY16-104" fmla="*/ 2543175 h 3121025"/>
                <a:gd name="connsiteX17-105" fmla="*/ 812006 w 971549"/>
                <a:gd name="connsiteY17-106" fmla="*/ 2883693 h 3121025"/>
                <a:gd name="connsiteX18-107" fmla="*/ 787597 w 971549"/>
                <a:gd name="connsiteY18-108" fmla="*/ 3067874 h 3121025"/>
                <a:gd name="connsiteX19-109" fmla="*/ 801687 w 971549"/>
                <a:gd name="connsiteY19-110" fmla="*/ 3101975 h 3121025"/>
                <a:gd name="connsiteX20-111" fmla="*/ 420687 w 971549"/>
                <a:gd name="connsiteY20-112" fmla="*/ 3121025 h 3121025"/>
                <a:gd name="connsiteX21-113" fmla="*/ 230187 w 971549"/>
                <a:gd name="connsiteY21-114" fmla="*/ 2219325 h 3121025"/>
                <a:gd name="connsiteX22-115" fmla="*/ 230269 w 971549"/>
                <a:gd name="connsiteY22-116" fmla="*/ 2219256 h 3121025"/>
                <a:gd name="connsiteX23-117" fmla="*/ 90487 w 971549"/>
                <a:gd name="connsiteY23-118" fmla="*/ 2085975 h 3121025"/>
                <a:gd name="connsiteX24-119" fmla="*/ 0 w 971549"/>
                <a:gd name="connsiteY24-120" fmla="*/ 2043113 h 3121025"/>
                <a:gd name="connsiteX25-121" fmla="*/ 104775 w 971549"/>
                <a:gd name="connsiteY25-122" fmla="*/ 1938338 h 3121025"/>
                <a:gd name="connsiteX26-123" fmla="*/ 311975 w 971549"/>
                <a:gd name="connsiteY26-124" fmla="*/ 2141393 h 3121025"/>
                <a:gd name="connsiteX27-125" fmla="*/ 298958 w 971549"/>
                <a:gd name="connsiteY27-126" fmla="*/ 2003425 h 3121025"/>
                <a:gd name="connsiteX28-127" fmla="*/ 325437 w 971549"/>
                <a:gd name="connsiteY28-128" fmla="*/ 981075 h 3121025"/>
                <a:gd name="connsiteX29-129" fmla="*/ 328381 w 971549"/>
                <a:gd name="connsiteY29-130" fmla="*/ 961942 h 3121025"/>
                <a:gd name="connsiteX30-131" fmla="*/ 264021 w 971549"/>
                <a:gd name="connsiteY30-132" fmla="*/ 839391 h 3121025"/>
                <a:gd name="connsiteX31-133" fmla="*/ 176212 w 971549"/>
                <a:gd name="connsiteY31-134" fmla="*/ 661987 h 3121025"/>
                <a:gd name="connsiteX32-135" fmla="*/ 219075 w 971549"/>
                <a:gd name="connsiteY32-136" fmla="*/ 614363 h 3121025"/>
                <a:gd name="connsiteX33-137" fmla="*/ 340076 w 971549"/>
                <a:gd name="connsiteY33-138" fmla="*/ 822986 h 3121025"/>
                <a:gd name="connsiteX34-139" fmla="*/ 421480 w 971549"/>
                <a:gd name="connsiteY34-140" fmla="*/ 42863 h 3121025"/>
                <a:gd name="connsiteX35-141" fmla="*/ 540542 w 971549"/>
                <a:gd name="connsiteY35-142" fmla="*/ 0 h 3121025"/>
                <a:gd name="connsiteX0-143" fmla="*/ 540542 w 971549"/>
                <a:gd name="connsiteY0-144" fmla="*/ 0 h 3121025"/>
                <a:gd name="connsiteX1-145" fmla="*/ 447674 w 971549"/>
                <a:gd name="connsiteY1-146" fmla="*/ 916781 h 3121025"/>
                <a:gd name="connsiteX2-147" fmla="*/ 450522 w 971549"/>
                <a:gd name="connsiteY2-148" fmla="*/ 913656 h 3121025"/>
                <a:gd name="connsiteX3-149" fmla="*/ 417204 w 971549"/>
                <a:gd name="connsiteY3-150" fmla="*/ 1251512 h 3121025"/>
                <a:gd name="connsiteX4-151" fmla="*/ 470694 w 971549"/>
                <a:gd name="connsiteY4-152" fmla="*/ 1046163 h 3121025"/>
                <a:gd name="connsiteX5-153" fmla="*/ 554037 w 971549"/>
                <a:gd name="connsiteY5-154" fmla="*/ 781050 h 3121025"/>
                <a:gd name="connsiteX6-155" fmla="*/ 617537 w 971549"/>
                <a:gd name="connsiteY6-156" fmla="*/ 876300 h 3121025"/>
                <a:gd name="connsiteX7-157" fmla="*/ 506412 w 971549"/>
                <a:gd name="connsiteY7-158" fmla="*/ 1419225 h 3121025"/>
                <a:gd name="connsiteX8-159" fmla="*/ 503554 w 971549"/>
                <a:gd name="connsiteY8-160" fmla="*/ 1416281 h 3121025"/>
                <a:gd name="connsiteX9-161" fmla="*/ 510877 w 971549"/>
                <a:gd name="connsiteY9-162" fmla="*/ 1641475 h 3121025"/>
                <a:gd name="connsiteX10-163" fmla="*/ 554037 w 971549"/>
                <a:gd name="connsiteY10-164" fmla="*/ 2346325 h 3121025"/>
                <a:gd name="connsiteX11-165" fmla="*/ 651669 w 971549"/>
                <a:gd name="connsiteY11-166" fmla="*/ 2726531 h 3121025"/>
                <a:gd name="connsiteX12-167" fmla="*/ 694279 w 971549"/>
                <a:gd name="connsiteY12-168" fmla="*/ 2836944 h 3121025"/>
                <a:gd name="connsiteX13-169" fmla="*/ 709612 w 971549"/>
                <a:gd name="connsiteY13-170" fmla="*/ 2771775 h 3121025"/>
                <a:gd name="connsiteX14-171" fmla="*/ 814387 w 971549"/>
                <a:gd name="connsiteY14-172" fmla="*/ 2471738 h 3121025"/>
                <a:gd name="connsiteX15-173" fmla="*/ 971549 w 971549"/>
                <a:gd name="connsiteY15-174" fmla="*/ 2512219 h 3121025"/>
                <a:gd name="connsiteX16-175" fmla="*/ 928687 w 971549"/>
                <a:gd name="connsiteY16-176" fmla="*/ 2543175 h 3121025"/>
                <a:gd name="connsiteX17-177" fmla="*/ 812006 w 971549"/>
                <a:gd name="connsiteY17-178" fmla="*/ 2883693 h 3121025"/>
                <a:gd name="connsiteX18-179" fmla="*/ 787597 w 971549"/>
                <a:gd name="connsiteY18-180" fmla="*/ 3067874 h 3121025"/>
                <a:gd name="connsiteX19-181" fmla="*/ 801687 w 971549"/>
                <a:gd name="connsiteY19-182" fmla="*/ 3101975 h 3121025"/>
                <a:gd name="connsiteX20-183" fmla="*/ 420687 w 971549"/>
                <a:gd name="connsiteY20-184" fmla="*/ 3121025 h 3121025"/>
                <a:gd name="connsiteX21-185" fmla="*/ 230187 w 971549"/>
                <a:gd name="connsiteY21-186" fmla="*/ 2219325 h 3121025"/>
                <a:gd name="connsiteX22-187" fmla="*/ 230269 w 971549"/>
                <a:gd name="connsiteY22-188" fmla="*/ 2219256 h 3121025"/>
                <a:gd name="connsiteX23-189" fmla="*/ 90487 w 971549"/>
                <a:gd name="connsiteY23-190" fmla="*/ 2085975 h 3121025"/>
                <a:gd name="connsiteX24-191" fmla="*/ 0 w 971549"/>
                <a:gd name="connsiteY24-192" fmla="*/ 2043113 h 3121025"/>
                <a:gd name="connsiteX25-193" fmla="*/ 104775 w 971549"/>
                <a:gd name="connsiteY25-194" fmla="*/ 1938338 h 3121025"/>
                <a:gd name="connsiteX26-195" fmla="*/ 311975 w 971549"/>
                <a:gd name="connsiteY26-196" fmla="*/ 2141393 h 3121025"/>
                <a:gd name="connsiteX27-197" fmla="*/ 298958 w 971549"/>
                <a:gd name="connsiteY27-198" fmla="*/ 2003425 h 3121025"/>
                <a:gd name="connsiteX28-199" fmla="*/ 325437 w 971549"/>
                <a:gd name="connsiteY28-200" fmla="*/ 981075 h 3121025"/>
                <a:gd name="connsiteX29-201" fmla="*/ 328381 w 971549"/>
                <a:gd name="connsiteY29-202" fmla="*/ 961942 h 3121025"/>
                <a:gd name="connsiteX30-203" fmla="*/ 264021 w 971549"/>
                <a:gd name="connsiteY30-204" fmla="*/ 839391 h 3121025"/>
                <a:gd name="connsiteX31-205" fmla="*/ 176212 w 971549"/>
                <a:gd name="connsiteY31-206" fmla="*/ 661987 h 3121025"/>
                <a:gd name="connsiteX32-207" fmla="*/ 219075 w 971549"/>
                <a:gd name="connsiteY32-208" fmla="*/ 614363 h 3121025"/>
                <a:gd name="connsiteX33-209" fmla="*/ 340076 w 971549"/>
                <a:gd name="connsiteY33-210" fmla="*/ 822986 h 3121025"/>
                <a:gd name="connsiteX34-211" fmla="*/ 421480 w 971549"/>
                <a:gd name="connsiteY34-212" fmla="*/ 42863 h 3121025"/>
                <a:gd name="connsiteX35-213" fmla="*/ 540542 w 971549"/>
                <a:gd name="connsiteY35-214" fmla="*/ 0 h 312102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141" y="connsiteY35-142"/>
                </a:cxn>
              </a:cxnLst>
              <a:rect l="l" t="t" r="r" b="b"/>
              <a:pathLst>
                <a:path w="971549" h="3121025">
                  <a:moveTo>
                    <a:pt x="540542" y="0"/>
                  </a:moveTo>
                  <a:cubicBezTo>
                    <a:pt x="497680" y="303213"/>
                    <a:pt x="478630" y="611187"/>
                    <a:pt x="447674" y="916781"/>
                  </a:cubicBezTo>
                  <a:lnTo>
                    <a:pt x="450522" y="913656"/>
                  </a:lnTo>
                  <a:cubicBezTo>
                    <a:pt x="442591" y="1026275"/>
                    <a:pt x="444185" y="1138893"/>
                    <a:pt x="417204" y="1251512"/>
                  </a:cubicBezTo>
                  <a:lnTo>
                    <a:pt x="470694" y="1046163"/>
                  </a:lnTo>
                  <a:cubicBezTo>
                    <a:pt x="493712" y="957792"/>
                    <a:pt x="519112" y="869421"/>
                    <a:pt x="554037" y="781050"/>
                  </a:cubicBezTo>
                  <a:lnTo>
                    <a:pt x="617537" y="876300"/>
                  </a:lnTo>
                  <a:cubicBezTo>
                    <a:pt x="567795" y="1057275"/>
                    <a:pt x="533929" y="1244600"/>
                    <a:pt x="506412" y="1419225"/>
                  </a:cubicBezTo>
                  <a:lnTo>
                    <a:pt x="503554" y="1416281"/>
                  </a:lnTo>
                  <a:lnTo>
                    <a:pt x="510877" y="1641475"/>
                  </a:lnTo>
                  <a:cubicBezTo>
                    <a:pt x="516334" y="1876425"/>
                    <a:pt x="519112" y="2111375"/>
                    <a:pt x="554037" y="2346325"/>
                  </a:cubicBezTo>
                  <a:cubicBezTo>
                    <a:pt x="570971" y="2475442"/>
                    <a:pt x="606954" y="2601383"/>
                    <a:pt x="651669" y="2726531"/>
                  </a:cubicBezTo>
                  <a:lnTo>
                    <a:pt x="694279" y="2836944"/>
                  </a:lnTo>
                  <a:lnTo>
                    <a:pt x="709612" y="2771775"/>
                  </a:lnTo>
                  <a:lnTo>
                    <a:pt x="814387" y="2471738"/>
                  </a:lnTo>
                  <a:lnTo>
                    <a:pt x="971549" y="2512219"/>
                  </a:lnTo>
                  <a:lnTo>
                    <a:pt x="928687" y="2543175"/>
                  </a:lnTo>
                  <a:cubicBezTo>
                    <a:pt x="882650" y="2654299"/>
                    <a:pt x="843757" y="2770187"/>
                    <a:pt x="812006" y="2883693"/>
                  </a:cubicBezTo>
                  <a:lnTo>
                    <a:pt x="787597" y="3067874"/>
                  </a:lnTo>
                  <a:lnTo>
                    <a:pt x="801687" y="3101975"/>
                  </a:lnTo>
                  <a:lnTo>
                    <a:pt x="420687" y="3121025"/>
                  </a:lnTo>
                  <a:cubicBezTo>
                    <a:pt x="319087" y="2833158"/>
                    <a:pt x="293687" y="2513542"/>
                    <a:pt x="230187" y="2219325"/>
                  </a:cubicBezTo>
                  <a:cubicBezTo>
                    <a:pt x="230214" y="2219302"/>
                    <a:pt x="230242" y="2219279"/>
                    <a:pt x="230269" y="2219256"/>
                  </a:cubicBezTo>
                  <a:lnTo>
                    <a:pt x="90487" y="2085975"/>
                  </a:lnTo>
                  <a:lnTo>
                    <a:pt x="0" y="2043113"/>
                  </a:lnTo>
                  <a:lnTo>
                    <a:pt x="104775" y="1938338"/>
                  </a:lnTo>
                  <a:lnTo>
                    <a:pt x="311975" y="2141393"/>
                  </a:lnTo>
                  <a:lnTo>
                    <a:pt x="298958" y="2003425"/>
                  </a:lnTo>
                  <a:cubicBezTo>
                    <a:pt x="274968" y="1662642"/>
                    <a:pt x="305065" y="1321859"/>
                    <a:pt x="325437" y="981075"/>
                  </a:cubicBezTo>
                  <a:lnTo>
                    <a:pt x="328381" y="961942"/>
                  </a:lnTo>
                  <a:lnTo>
                    <a:pt x="264021" y="839391"/>
                  </a:lnTo>
                  <a:cubicBezTo>
                    <a:pt x="232966" y="780256"/>
                    <a:pt x="202803" y="721121"/>
                    <a:pt x="176212" y="661987"/>
                  </a:cubicBezTo>
                  <a:lnTo>
                    <a:pt x="219075" y="614363"/>
                  </a:lnTo>
                  <a:lnTo>
                    <a:pt x="340076" y="822986"/>
                  </a:lnTo>
                  <a:lnTo>
                    <a:pt x="421480" y="42863"/>
                  </a:lnTo>
                  <a:lnTo>
                    <a:pt x="540542"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rgbClr val="FFFFFF"/>
                </a:solidFill>
                <a:latin typeface="+mn-ea"/>
              </a:endParaRPr>
            </a:p>
          </p:txBody>
        </p:sp>
      </p:grpSp>
      <p:sp>
        <p:nvSpPr>
          <p:cNvPr id="10" name="TextBox 9"/>
          <p:cNvSpPr txBox="1"/>
          <p:nvPr/>
        </p:nvSpPr>
        <p:spPr>
          <a:xfrm>
            <a:off x="1317124" y="4371623"/>
            <a:ext cx="1955836" cy="1046440"/>
          </a:xfrm>
          <a:prstGeom prst="rect">
            <a:avLst/>
          </a:prstGeom>
          <a:noFill/>
        </p:spPr>
        <p:txBody>
          <a:bodyPr wrap="none" lIns="121908" tIns="60954" rIns="121908" bIns="60954" rtlCol="0">
            <a:spAutoFit/>
          </a:bodyPr>
          <a:lstStyle/>
          <a:p>
            <a:pPr algn="ctr">
              <a:lnSpc>
                <a:spcPct val="150000"/>
              </a:lnSpc>
            </a:pPr>
            <a:r>
              <a:rPr lang="zh-CN" altLang="en-US" sz="1300" dirty="0">
                <a:solidFill>
                  <a:schemeClr val="tx1">
                    <a:lumMod val="50000"/>
                    <a:lumOff val="50000"/>
                  </a:schemeClr>
                </a:solidFill>
              </a:rPr>
              <a:t>单击此处添加段落文本</a:t>
            </a:r>
            <a:endParaRPr lang="en-US" altLang="zh-CN" sz="1300" dirty="0">
              <a:solidFill>
                <a:schemeClr val="tx1">
                  <a:lumMod val="50000"/>
                  <a:lumOff val="50000"/>
                </a:schemeClr>
              </a:solidFill>
            </a:endParaRPr>
          </a:p>
          <a:p>
            <a:pPr algn="ctr">
              <a:lnSpc>
                <a:spcPct val="150000"/>
              </a:lnSpc>
            </a:pPr>
            <a:r>
              <a:rPr lang="zh-CN" altLang="en-US" sz="1300" dirty="0">
                <a:solidFill>
                  <a:schemeClr val="tx1">
                    <a:lumMod val="50000"/>
                    <a:lumOff val="50000"/>
                  </a:schemeClr>
                </a:solidFill>
              </a:rPr>
              <a:t>单击此处添加段落文本</a:t>
            </a:r>
          </a:p>
          <a:p>
            <a:pPr algn="ctr">
              <a:lnSpc>
                <a:spcPct val="150000"/>
              </a:lnSpc>
            </a:pPr>
            <a:r>
              <a:rPr lang="zh-CN" altLang="en-US" sz="1300" dirty="0">
                <a:solidFill>
                  <a:schemeClr val="tx1">
                    <a:lumMod val="50000"/>
                    <a:lumOff val="50000"/>
                  </a:schemeClr>
                </a:solidFill>
              </a:rPr>
              <a:t>单击此处添加段落文本</a:t>
            </a:r>
          </a:p>
        </p:txBody>
      </p:sp>
      <p:sp>
        <p:nvSpPr>
          <p:cNvPr id="13" name="TextBox 12"/>
          <p:cNvSpPr txBox="1"/>
          <p:nvPr/>
        </p:nvSpPr>
        <p:spPr>
          <a:xfrm>
            <a:off x="2446750" y="2203060"/>
            <a:ext cx="1955836" cy="1046440"/>
          </a:xfrm>
          <a:prstGeom prst="rect">
            <a:avLst/>
          </a:prstGeom>
          <a:noFill/>
        </p:spPr>
        <p:txBody>
          <a:bodyPr wrap="none" lIns="121908" tIns="60954" rIns="121908" bIns="60954" rtlCol="0">
            <a:spAutoFit/>
          </a:bodyPr>
          <a:lstStyle/>
          <a:p>
            <a:pPr algn="ctr">
              <a:lnSpc>
                <a:spcPct val="150000"/>
              </a:lnSpc>
            </a:pPr>
            <a:r>
              <a:rPr lang="zh-CN" altLang="en-US" sz="1300" dirty="0">
                <a:solidFill>
                  <a:schemeClr val="tx1">
                    <a:lumMod val="50000"/>
                    <a:lumOff val="50000"/>
                  </a:schemeClr>
                </a:solidFill>
              </a:rPr>
              <a:t>单击此处添加段落文本</a:t>
            </a:r>
            <a:endParaRPr lang="en-US" altLang="zh-CN" sz="1300" dirty="0">
              <a:solidFill>
                <a:schemeClr val="tx1">
                  <a:lumMod val="50000"/>
                  <a:lumOff val="50000"/>
                </a:schemeClr>
              </a:solidFill>
            </a:endParaRPr>
          </a:p>
          <a:p>
            <a:pPr algn="ctr">
              <a:lnSpc>
                <a:spcPct val="150000"/>
              </a:lnSpc>
            </a:pPr>
            <a:r>
              <a:rPr lang="zh-CN" altLang="en-US" sz="1300" dirty="0">
                <a:solidFill>
                  <a:schemeClr val="tx1">
                    <a:lumMod val="50000"/>
                    <a:lumOff val="50000"/>
                  </a:schemeClr>
                </a:solidFill>
              </a:rPr>
              <a:t>单击此处添加段落文本</a:t>
            </a:r>
          </a:p>
          <a:p>
            <a:pPr algn="ctr">
              <a:lnSpc>
                <a:spcPct val="150000"/>
              </a:lnSpc>
            </a:pPr>
            <a:r>
              <a:rPr lang="zh-CN" altLang="en-US" sz="1300" dirty="0">
                <a:solidFill>
                  <a:schemeClr val="tx1">
                    <a:lumMod val="50000"/>
                    <a:lumOff val="50000"/>
                  </a:schemeClr>
                </a:solidFill>
              </a:rPr>
              <a:t>单击此处添加段落文本</a:t>
            </a:r>
          </a:p>
        </p:txBody>
      </p:sp>
      <p:sp>
        <p:nvSpPr>
          <p:cNvPr id="14" name="TextBox 13"/>
          <p:cNvSpPr txBox="1"/>
          <p:nvPr/>
        </p:nvSpPr>
        <p:spPr>
          <a:xfrm>
            <a:off x="6426748" y="984089"/>
            <a:ext cx="1955836" cy="1046440"/>
          </a:xfrm>
          <a:prstGeom prst="rect">
            <a:avLst/>
          </a:prstGeom>
          <a:noFill/>
        </p:spPr>
        <p:txBody>
          <a:bodyPr wrap="none" lIns="121908" tIns="60954" rIns="121908" bIns="60954" rtlCol="0">
            <a:spAutoFit/>
          </a:bodyPr>
          <a:lstStyle/>
          <a:p>
            <a:pPr algn="ctr">
              <a:lnSpc>
                <a:spcPct val="150000"/>
              </a:lnSpc>
            </a:pPr>
            <a:r>
              <a:rPr lang="zh-CN" altLang="en-US" sz="1300" dirty="0">
                <a:solidFill>
                  <a:schemeClr val="tx1">
                    <a:lumMod val="50000"/>
                    <a:lumOff val="50000"/>
                  </a:schemeClr>
                </a:solidFill>
              </a:rPr>
              <a:t>单击此处添加段落文本</a:t>
            </a:r>
            <a:endParaRPr lang="en-US" altLang="zh-CN" sz="1300" dirty="0">
              <a:solidFill>
                <a:schemeClr val="tx1">
                  <a:lumMod val="50000"/>
                  <a:lumOff val="50000"/>
                </a:schemeClr>
              </a:solidFill>
            </a:endParaRPr>
          </a:p>
          <a:p>
            <a:pPr algn="ctr">
              <a:lnSpc>
                <a:spcPct val="150000"/>
              </a:lnSpc>
            </a:pPr>
            <a:r>
              <a:rPr lang="zh-CN" altLang="en-US" sz="1300" dirty="0">
                <a:solidFill>
                  <a:schemeClr val="tx1">
                    <a:lumMod val="50000"/>
                    <a:lumOff val="50000"/>
                  </a:schemeClr>
                </a:solidFill>
              </a:rPr>
              <a:t>单击此处添加段落文本</a:t>
            </a:r>
          </a:p>
          <a:p>
            <a:pPr algn="ctr">
              <a:lnSpc>
                <a:spcPct val="150000"/>
              </a:lnSpc>
            </a:pPr>
            <a:r>
              <a:rPr lang="zh-CN" altLang="en-US" sz="1300" dirty="0">
                <a:solidFill>
                  <a:schemeClr val="tx1">
                    <a:lumMod val="50000"/>
                    <a:lumOff val="50000"/>
                  </a:schemeClr>
                </a:solidFill>
              </a:rPr>
              <a:t>单击此处添加段落文本</a:t>
            </a:r>
          </a:p>
        </p:txBody>
      </p:sp>
      <p:sp>
        <p:nvSpPr>
          <p:cNvPr id="15" name="TextBox 14"/>
          <p:cNvSpPr txBox="1"/>
          <p:nvPr/>
        </p:nvSpPr>
        <p:spPr>
          <a:xfrm>
            <a:off x="7535973" y="2277789"/>
            <a:ext cx="1955836" cy="1046440"/>
          </a:xfrm>
          <a:prstGeom prst="rect">
            <a:avLst/>
          </a:prstGeom>
          <a:noFill/>
        </p:spPr>
        <p:txBody>
          <a:bodyPr wrap="none" lIns="121908" tIns="60954" rIns="121908" bIns="60954" rtlCol="0">
            <a:spAutoFit/>
          </a:bodyPr>
          <a:lstStyle/>
          <a:p>
            <a:pPr algn="ctr">
              <a:lnSpc>
                <a:spcPct val="150000"/>
              </a:lnSpc>
            </a:pPr>
            <a:r>
              <a:rPr lang="zh-CN" altLang="en-US" sz="1300" dirty="0">
                <a:solidFill>
                  <a:schemeClr val="tx1">
                    <a:lumMod val="50000"/>
                    <a:lumOff val="50000"/>
                  </a:schemeClr>
                </a:solidFill>
              </a:rPr>
              <a:t>单击此处添加段落文本</a:t>
            </a:r>
            <a:endParaRPr lang="en-US" altLang="zh-CN" sz="1300" dirty="0">
              <a:solidFill>
                <a:schemeClr val="tx1">
                  <a:lumMod val="50000"/>
                  <a:lumOff val="50000"/>
                </a:schemeClr>
              </a:solidFill>
            </a:endParaRPr>
          </a:p>
          <a:p>
            <a:pPr algn="ctr">
              <a:lnSpc>
                <a:spcPct val="150000"/>
              </a:lnSpc>
            </a:pPr>
            <a:r>
              <a:rPr lang="zh-CN" altLang="en-US" sz="1300" dirty="0">
                <a:solidFill>
                  <a:schemeClr val="tx1">
                    <a:lumMod val="50000"/>
                    <a:lumOff val="50000"/>
                  </a:schemeClr>
                </a:solidFill>
              </a:rPr>
              <a:t>单击此处添加段落文本</a:t>
            </a:r>
          </a:p>
          <a:p>
            <a:pPr algn="ctr">
              <a:lnSpc>
                <a:spcPct val="150000"/>
              </a:lnSpc>
            </a:pPr>
            <a:r>
              <a:rPr lang="zh-CN" altLang="en-US" sz="1300" dirty="0">
                <a:solidFill>
                  <a:schemeClr val="tx1">
                    <a:lumMod val="50000"/>
                    <a:lumOff val="50000"/>
                  </a:schemeClr>
                </a:solidFill>
              </a:rPr>
              <a:t>单击此处添加段落文本</a:t>
            </a:r>
          </a:p>
        </p:txBody>
      </p:sp>
      <p:sp>
        <p:nvSpPr>
          <p:cNvPr id="16" name="TextBox 15"/>
          <p:cNvSpPr txBox="1"/>
          <p:nvPr/>
        </p:nvSpPr>
        <p:spPr>
          <a:xfrm>
            <a:off x="8336830" y="4197085"/>
            <a:ext cx="1955836" cy="1046440"/>
          </a:xfrm>
          <a:prstGeom prst="rect">
            <a:avLst/>
          </a:prstGeom>
          <a:noFill/>
        </p:spPr>
        <p:txBody>
          <a:bodyPr wrap="none" lIns="121908" tIns="60954" rIns="121908" bIns="60954" rtlCol="0">
            <a:spAutoFit/>
          </a:bodyPr>
          <a:lstStyle/>
          <a:p>
            <a:pPr algn="ctr">
              <a:lnSpc>
                <a:spcPct val="150000"/>
              </a:lnSpc>
            </a:pPr>
            <a:r>
              <a:rPr lang="zh-CN" altLang="en-US" sz="1300" dirty="0">
                <a:solidFill>
                  <a:schemeClr val="tx1">
                    <a:lumMod val="50000"/>
                    <a:lumOff val="50000"/>
                  </a:schemeClr>
                </a:solidFill>
              </a:rPr>
              <a:t>单击此处添加段落文本</a:t>
            </a:r>
            <a:endParaRPr lang="en-US" altLang="zh-CN" sz="1300" dirty="0">
              <a:solidFill>
                <a:schemeClr val="tx1">
                  <a:lumMod val="50000"/>
                  <a:lumOff val="50000"/>
                </a:schemeClr>
              </a:solidFill>
            </a:endParaRPr>
          </a:p>
          <a:p>
            <a:pPr algn="ctr">
              <a:lnSpc>
                <a:spcPct val="150000"/>
              </a:lnSpc>
            </a:pPr>
            <a:r>
              <a:rPr lang="zh-CN" altLang="en-US" sz="1300" dirty="0">
                <a:solidFill>
                  <a:schemeClr val="tx1">
                    <a:lumMod val="50000"/>
                    <a:lumOff val="50000"/>
                  </a:schemeClr>
                </a:solidFill>
              </a:rPr>
              <a:t>单击此处添加段落文本</a:t>
            </a:r>
          </a:p>
          <a:p>
            <a:pPr algn="ctr">
              <a:lnSpc>
                <a:spcPct val="150000"/>
              </a:lnSpc>
            </a:pPr>
            <a:r>
              <a:rPr lang="zh-CN" altLang="en-US" sz="1300" dirty="0">
                <a:solidFill>
                  <a:schemeClr val="tx1">
                    <a:lumMod val="50000"/>
                    <a:lumOff val="50000"/>
                  </a:schemeClr>
                </a:solidFill>
              </a:rPr>
              <a:t>单击此处添加段落文本</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wipe(left)">
                                      <p:cBhvr>
                                        <p:cTn id="14" dur="500"/>
                                        <p:tgtEl>
                                          <p:spTgt spid="15"/>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wipe(left)">
                                      <p:cBhvr>
                                        <p:cTn id="17" dur="500"/>
                                        <p:tgtEl>
                                          <p:spTgt spid="16"/>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wipe(right)">
                                      <p:cBhvr>
                                        <p:cTn id="20" dur="500"/>
                                        <p:tgtEl>
                                          <p:spTgt spid="13"/>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right)">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4" grpId="0"/>
      <p:bldP spid="15" grpId="0"/>
      <p:bldP spid="1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2"/>
          <p:cNvSpPr/>
          <p:nvPr/>
        </p:nvSpPr>
        <p:spPr bwMode="gray">
          <a:xfrm>
            <a:off x="4613185" y="3101679"/>
            <a:ext cx="2933318" cy="1960033"/>
          </a:xfrm>
          <a:custGeom>
            <a:avLst/>
            <a:gdLst>
              <a:gd name="T0" fmla="*/ 25233 w 918"/>
              <a:gd name="T1" fmla="*/ 5057 h 613"/>
              <a:gd name="T2" fmla="*/ 25233 w 918"/>
              <a:gd name="T3" fmla="*/ 5057 h 613"/>
              <a:gd name="T4" fmla="*/ 25137 w 918"/>
              <a:gd name="T5" fmla="*/ 5025 h 613"/>
              <a:gd name="T6" fmla="*/ 25137 w 918"/>
              <a:gd name="T7" fmla="*/ 5025 h 613"/>
              <a:gd name="T8" fmla="*/ 24261 w 918"/>
              <a:gd name="T9" fmla="*/ 4268 h 613"/>
              <a:gd name="T10" fmla="*/ 24261 w 918"/>
              <a:gd name="T11" fmla="*/ 4268 h 613"/>
              <a:gd name="T12" fmla="*/ 24228 w 918"/>
              <a:gd name="T13" fmla="*/ 4203 h 613"/>
              <a:gd name="T14" fmla="*/ 24228 w 918"/>
              <a:gd name="T15" fmla="*/ 4203 h 613"/>
              <a:gd name="T16" fmla="*/ 24228 w 918"/>
              <a:gd name="T17" fmla="*/ 4137 h 613"/>
              <a:gd name="T18" fmla="*/ 24194 w 918"/>
              <a:gd name="T19" fmla="*/ 4137 h 613"/>
              <a:gd name="T20" fmla="*/ 24194 w 918"/>
              <a:gd name="T21" fmla="*/ 4072 h 613"/>
              <a:gd name="T22" fmla="*/ 24194 w 918"/>
              <a:gd name="T23" fmla="*/ 4072 h 613"/>
              <a:gd name="T24" fmla="*/ 24162 w 918"/>
              <a:gd name="T25" fmla="*/ 4036 h 613"/>
              <a:gd name="T26" fmla="*/ 24162 w 918"/>
              <a:gd name="T27" fmla="*/ 4004 h 613"/>
              <a:gd name="T28" fmla="*/ 24389 w 918"/>
              <a:gd name="T29" fmla="*/ 3003 h 613"/>
              <a:gd name="T30" fmla="*/ 24637 w 918"/>
              <a:gd name="T31" fmla="*/ 2055 h 613"/>
              <a:gd name="T32" fmla="*/ 22577 w 918"/>
              <a:gd name="T33" fmla="*/ 0 h 613"/>
              <a:gd name="T34" fmla="*/ 20496 w 918"/>
              <a:gd name="T35" fmla="*/ 2088 h 613"/>
              <a:gd name="T36" fmla="*/ 20754 w 918"/>
              <a:gd name="T37" fmla="*/ 3036 h 613"/>
              <a:gd name="T38" fmla="*/ 20982 w 918"/>
              <a:gd name="T39" fmla="*/ 4004 h 613"/>
              <a:gd name="T40" fmla="*/ 19964 w 918"/>
              <a:gd name="T41" fmla="*/ 5057 h 613"/>
              <a:gd name="T42" fmla="*/ 19932 w 918"/>
              <a:gd name="T43" fmla="*/ 5057 h 613"/>
              <a:gd name="T44" fmla="*/ 17298 w 918"/>
              <a:gd name="T45" fmla="*/ 5417 h 613"/>
              <a:gd name="T46" fmla="*/ 14649 w 918"/>
              <a:gd name="T47" fmla="*/ 5089 h 613"/>
              <a:gd name="T48" fmla="*/ 14617 w 918"/>
              <a:gd name="T49" fmla="*/ 5089 h 613"/>
              <a:gd name="T50" fmla="*/ 11996 w 918"/>
              <a:gd name="T51" fmla="*/ 4765 h 613"/>
              <a:gd name="T52" fmla="*/ 9380 w 918"/>
              <a:gd name="T53" fmla="*/ 5089 h 613"/>
              <a:gd name="T54" fmla="*/ 9348 w 918"/>
              <a:gd name="T55" fmla="*/ 5089 h 613"/>
              <a:gd name="T56" fmla="*/ 8325 w 918"/>
              <a:gd name="T57" fmla="*/ 6176 h 613"/>
              <a:gd name="T58" fmla="*/ 8556 w 918"/>
              <a:gd name="T59" fmla="*/ 7144 h 613"/>
              <a:gd name="T60" fmla="*/ 8792 w 918"/>
              <a:gd name="T61" fmla="*/ 8092 h 613"/>
              <a:gd name="T62" fmla="*/ 6735 w 918"/>
              <a:gd name="T63" fmla="*/ 10148 h 613"/>
              <a:gd name="T64" fmla="*/ 4641 w 918"/>
              <a:gd name="T65" fmla="*/ 8092 h 613"/>
              <a:gd name="T66" fmla="*/ 4868 w 918"/>
              <a:gd name="T67" fmla="*/ 7144 h 613"/>
              <a:gd name="T68" fmla="*/ 5100 w 918"/>
              <a:gd name="T69" fmla="*/ 6176 h 613"/>
              <a:gd name="T70" fmla="*/ 4085 w 918"/>
              <a:gd name="T71" fmla="*/ 5121 h 613"/>
              <a:gd name="T72" fmla="*/ 4012 w 918"/>
              <a:gd name="T73" fmla="*/ 5089 h 613"/>
              <a:gd name="T74" fmla="*/ 1428 w 918"/>
              <a:gd name="T75" fmla="*/ 4797 h 613"/>
              <a:gd name="T76" fmla="*/ 0 w 918"/>
              <a:gd name="T77" fmla="*/ 4896 h 613"/>
              <a:gd name="T78" fmla="*/ 0 w 918"/>
              <a:gd name="T79" fmla="*/ 5089 h 613"/>
              <a:gd name="T80" fmla="*/ 15205 w 918"/>
              <a:gd name="T81" fmla="*/ 20261 h 613"/>
              <a:gd name="T82" fmla="*/ 30430 w 918"/>
              <a:gd name="T83" fmla="*/ 5089 h 613"/>
              <a:gd name="T84" fmla="*/ 30430 w 918"/>
              <a:gd name="T85" fmla="*/ 5057 h 613"/>
              <a:gd name="T86" fmla="*/ 27878 w 918"/>
              <a:gd name="T87" fmla="*/ 5385 h 613"/>
              <a:gd name="T88" fmla="*/ 25233 w 918"/>
              <a:gd name="T89" fmla="*/ 5057 h 61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18" h="613">
                <a:moveTo>
                  <a:pt x="761" y="153"/>
                </a:moveTo>
                <a:cubicBezTo>
                  <a:pt x="761" y="153"/>
                  <a:pt x="761" y="153"/>
                  <a:pt x="761" y="153"/>
                </a:cubicBezTo>
                <a:cubicBezTo>
                  <a:pt x="761" y="153"/>
                  <a:pt x="758" y="152"/>
                  <a:pt x="758" y="152"/>
                </a:cubicBezTo>
                <a:cubicBezTo>
                  <a:pt x="758" y="152"/>
                  <a:pt x="758" y="152"/>
                  <a:pt x="758" y="152"/>
                </a:cubicBezTo>
                <a:cubicBezTo>
                  <a:pt x="745" y="147"/>
                  <a:pt x="737" y="137"/>
                  <a:pt x="732" y="129"/>
                </a:cubicBezTo>
                <a:cubicBezTo>
                  <a:pt x="732" y="129"/>
                  <a:pt x="732" y="129"/>
                  <a:pt x="732" y="129"/>
                </a:cubicBezTo>
                <a:cubicBezTo>
                  <a:pt x="732" y="128"/>
                  <a:pt x="732" y="128"/>
                  <a:pt x="731" y="127"/>
                </a:cubicBezTo>
                <a:cubicBezTo>
                  <a:pt x="731" y="127"/>
                  <a:pt x="731" y="127"/>
                  <a:pt x="731" y="127"/>
                </a:cubicBezTo>
                <a:cubicBezTo>
                  <a:pt x="731" y="126"/>
                  <a:pt x="731" y="126"/>
                  <a:pt x="731" y="125"/>
                </a:cubicBezTo>
                <a:cubicBezTo>
                  <a:pt x="731" y="125"/>
                  <a:pt x="730" y="125"/>
                  <a:pt x="730" y="125"/>
                </a:cubicBezTo>
                <a:cubicBezTo>
                  <a:pt x="730" y="124"/>
                  <a:pt x="730" y="124"/>
                  <a:pt x="730" y="123"/>
                </a:cubicBezTo>
                <a:cubicBezTo>
                  <a:pt x="730" y="123"/>
                  <a:pt x="730" y="123"/>
                  <a:pt x="730" y="123"/>
                </a:cubicBezTo>
                <a:cubicBezTo>
                  <a:pt x="730" y="122"/>
                  <a:pt x="730" y="122"/>
                  <a:pt x="729" y="122"/>
                </a:cubicBezTo>
                <a:cubicBezTo>
                  <a:pt x="729" y="121"/>
                  <a:pt x="729" y="121"/>
                  <a:pt x="729" y="121"/>
                </a:cubicBezTo>
                <a:cubicBezTo>
                  <a:pt x="727" y="109"/>
                  <a:pt x="734" y="96"/>
                  <a:pt x="736" y="91"/>
                </a:cubicBezTo>
                <a:cubicBezTo>
                  <a:pt x="741" y="83"/>
                  <a:pt x="743" y="73"/>
                  <a:pt x="743" y="62"/>
                </a:cubicBezTo>
                <a:cubicBezTo>
                  <a:pt x="743" y="28"/>
                  <a:pt x="715" y="0"/>
                  <a:pt x="681" y="0"/>
                </a:cubicBezTo>
                <a:cubicBezTo>
                  <a:pt x="646" y="0"/>
                  <a:pt x="618" y="28"/>
                  <a:pt x="618" y="63"/>
                </a:cubicBezTo>
                <a:cubicBezTo>
                  <a:pt x="618" y="73"/>
                  <a:pt x="621" y="83"/>
                  <a:pt x="626" y="92"/>
                </a:cubicBezTo>
                <a:cubicBezTo>
                  <a:pt x="628" y="96"/>
                  <a:pt x="635" y="109"/>
                  <a:pt x="633" y="121"/>
                </a:cubicBezTo>
                <a:cubicBezTo>
                  <a:pt x="632" y="127"/>
                  <a:pt x="623" y="146"/>
                  <a:pt x="602" y="153"/>
                </a:cubicBezTo>
                <a:cubicBezTo>
                  <a:pt x="602" y="153"/>
                  <a:pt x="602" y="153"/>
                  <a:pt x="601" y="153"/>
                </a:cubicBezTo>
                <a:cubicBezTo>
                  <a:pt x="601" y="153"/>
                  <a:pt x="566" y="164"/>
                  <a:pt x="522" y="164"/>
                </a:cubicBezTo>
                <a:cubicBezTo>
                  <a:pt x="478" y="164"/>
                  <a:pt x="442" y="154"/>
                  <a:pt x="442" y="154"/>
                </a:cubicBezTo>
                <a:cubicBezTo>
                  <a:pt x="442" y="154"/>
                  <a:pt x="442" y="154"/>
                  <a:pt x="441" y="154"/>
                </a:cubicBezTo>
                <a:cubicBezTo>
                  <a:pt x="436" y="152"/>
                  <a:pt x="403" y="143"/>
                  <a:pt x="362" y="144"/>
                </a:cubicBezTo>
                <a:cubicBezTo>
                  <a:pt x="322" y="144"/>
                  <a:pt x="289" y="152"/>
                  <a:pt x="283" y="154"/>
                </a:cubicBezTo>
                <a:cubicBezTo>
                  <a:pt x="283" y="154"/>
                  <a:pt x="282" y="154"/>
                  <a:pt x="282" y="154"/>
                </a:cubicBezTo>
                <a:cubicBezTo>
                  <a:pt x="261" y="161"/>
                  <a:pt x="252" y="180"/>
                  <a:pt x="251" y="187"/>
                </a:cubicBezTo>
                <a:cubicBezTo>
                  <a:pt x="249" y="198"/>
                  <a:pt x="255" y="211"/>
                  <a:pt x="258" y="216"/>
                </a:cubicBezTo>
                <a:cubicBezTo>
                  <a:pt x="262" y="224"/>
                  <a:pt x="265" y="234"/>
                  <a:pt x="265" y="245"/>
                </a:cubicBezTo>
                <a:cubicBezTo>
                  <a:pt x="265" y="279"/>
                  <a:pt x="237" y="307"/>
                  <a:pt x="203" y="307"/>
                </a:cubicBezTo>
                <a:cubicBezTo>
                  <a:pt x="168" y="307"/>
                  <a:pt x="140" y="279"/>
                  <a:pt x="140" y="245"/>
                </a:cubicBezTo>
                <a:cubicBezTo>
                  <a:pt x="140" y="235"/>
                  <a:pt x="143" y="225"/>
                  <a:pt x="147" y="216"/>
                </a:cubicBezTo>
                <a:cubicBezTo>
                  <a:pt x="150" y="211"/>
                  <a:pt x="157" y="198"/>
                  <a:pt x="154" y="187"/>
                </a:cubicBezTo>
                <a:cubicBezTo>
                  <a:pt x="153" y="180"/>
                  <a:pt x="144" y="161"/>
                  <a:pt x="123" y="155"/>
                </a:cubicBezTo>
                <a:cubicBezTo>
                  <a:pt x="123" y="155"/>
                  <a:pt x="122" y="155"/>
                  <a:pt x="121" y="154"/>
                </a:cubicBezTo>
                <a:cubicBezTo>
                  <a:pt x="115" y="153"/>
                  <a:pt x="82" y="144"/>
                  <a:pt x="43" y="145"/>
                </a:cubicBezTo>
                <a:cubicBezTo>
                  <a:pt x="27" y="145"/>
                  <a:pt x="12" y="146"/>
                  <a:pt x="0" y="148"/>
                </a:cubicBezTo>
                <a:cubicBezTo>
                  <a:pt x="0" y="150"/>
                  <a:pt x="0" y="152"/>
                  <a:pt x="0" y="154"/>
                </a:cubicBezTo>
                <a:cubicBezTo>
                  <a:pt x="0" y="407"/>
                  <a:pt x="205" y="613"/>
                  <a:pt x="459" y="613"/>
                </a:cubicBezTo>
                <a:cubicBezTo>
                  <a:pt x="712" y="613"/>
                  <a:pt x="918" y="407"/>
                  <a:pt x="918" y="154"/>
                </a:cubicBezTo>
                <a:cubicBezTo>
                  <a:pt x="918" y="154"/>
                  <a:pt x="918" y="153"/>
                  <a:pt x="918" y="153"/>
                </a:cubicBezTo>
                <a:cubicBezTo>
                  <a:pt x="901" y="158"/>
                  <a:pt x="873" y="163"/>
                  <a:pt x="841" y="163"/>
                </a:cubicBezTo>
                <a:cubicBezTo>
                  <a:pt x="797" y="163"/>
                  <a:pt x="761" y="153"/>
                  <a:pt x="761" y="153"/>
                </a:cubicBezTo>
                <a:close/>
              </a:path>
            </a:pathLst>
          </a:custGeom>
          <a:solidFill>
            <a:schemeClr val="bg1">
              <a:lumMod val="50000"/>
            </a:schemeClr>
          </a:solidFill>
          <a:ln w="254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28" rIns="0" bIns="0" anchor="ctr"/>
          <a:lstStyle/>
          <a:p>
            <a:pPr algn="ctr">
              <a:lnSpc>
                <a:spcPct val="120000"/>
              </a:lnSpc>
              <a:spcBef>
                <a:spcPts val="590"/>
              </a:spcBef>
              <a:spcAft>
                <a:spcPts val="590"/>
              </a:spcAft>
              <a:defRPr/>
            </a:pPr>
            <a:r>
              <a:rPr lang="zh-CN" altLang="en-US" sz="2700" dirty="0">
                <a:solidFill>
                  <a:srgbClr val="FFFFFF"/>
                </a:solidFill>
                <a:latin typeface="+mn-ea"/>
              </a:rPr>
              <a:t>负面优势</a:t>
            </a:r>
          </a:p>
        </p:txBody>
      </p:sp>
      <p:sp>
        <p:nvSpPr>
          <p:cNvPr id="19" name="Freeform 13"/>
          <p:cNvSpPr/>
          <p:nvPr/>
        </p:nvSpPr>
        <p:spPr bwMode="gray">
          <a:xfrm>
            <a:off x="4613185" y="2128011"/>
            <a:ext cx="2933318" cy="1955800"/>
          </a:xfrm>
          <a:custGeom>
            <a:avLst/>
            <a:gdLst>
              <a:gd name="T0" fmla="*/ 15205 w 918"/>
              <a:gd name="T1" fmla="*/ 0 h 612"/>
              <a:gd name="T2" fmla="*/ 0 w 918"/>
              <a:gd name="T3" fmla="*/ 14909 h 612"/>
              <a:gd name="T4" fmla="*/ 1428 w 918"/>
              <a:gd name="T5" fmla="*/ 14812 h 612"/>
              <a:gd name="T6" fmla="*/ 4012 w 918"/>
              <a:gd name="T7" fmla="*/ 15112 h 612"/>
              <a:gd name="T8" fmla="*/ 4085 w 918"/>
              <a:gd name="T9" fmla="*/ 15144 h 612"/>
              <a:gd name="T10" fmla="*/ 5100 w 918"/>
              <a:gd name="T11" fmla="*/ 16204 h 612"/>
              <a:gd name="T12" fmla="*/ 4868 w 918"/>
              <a:gd name="T13" fmla="*/ 17154 h 612"/>
              <a:gd name="T14" fmla="*/ 4641 w 918"/>
              <a:gd name="T15" fmla="*/ 18105 h 612"/>
              <a:gd name="T16" fmla="*/ 6735 w 918"/>
              <a:gd name="T17" fmla="*/ 20149 h 612"/>
              <a:gd name="T18" fmla="*/ 8792 w 918"/>
              <a:gd name="T19" fmla="*/ 18105 h 612"/>
              <a:gd name="T20" fmla="*/ 8556 w 918"/>
              <a:gd name="T21" fmla="*/ 17154 h 612"/>
              <a:gd name="T22" fmla="*/ 8325 w 918"/>
              <a:gd name="T23" fmla="*/ 16204 h 612"/>
              <a:gd name="T24" fmla="*/ 9348 w 918"/>
              <a:gd name="T25" fmla="*/ 15112 h 612"/>
              <a:gd name="T26" fmla="*/ 9380 w 918"/>
              <a:gd name="T27" fmla="*/ 15112 h 612"/>
              <a:gd name="T28" fmla="*/ 11996 w 918"/>
              <a:gd name="T29" fmla="*/ 14780 h 612"/>
              <a:gd name="T30" fmla="*/ 14617 w 918"/>
              <a:gd name="T31" fmla="*/ 15112 h 612"/>
              <a:gd name="T32" fmla="*/ 14649 w 918"/>
              <a:gd name="T33" fmla="*/ 15112 h 612"/>
              <a:gd name="T34" fmla="*/ 17298 w 918"/>
              <a:gd name="T35" fmla="*/ 15440 h 612"/>
              <a:gd name="T36" fmla="*/ 19932 w 918"/>
              <a:gd name="T37" fmla="*/ 15080 h 612"/>
              <a:gd name="T38" fmla="*/ 19964 w 918"/>
              <a:gd name="T39" fmla="*/ 15080 h 612"/>
              <a:gd name="T40" fmla="*/ 20982 w 918"/>
              <a:gd name="T41" fmla="*/ 14032 h 612"/>
              <a:gd name="T42" fmla="*/ 20754 w 918"/>
              <a:gd name="T43" fmla="*/ 13076 h 612"/>
              <a:gd name="T44" fmla="*/ 20496 w 918"/>
              <a:gd name="T45" fmla="*/ 12109 h 612"/>
              <a:gd name="T46" fmla="*/ 22577 w 918"/>
              <a:gd name="T47" fmla="*/ 10033 h 612"/>
              <a:gd name="T48" fmla="*/ 24637 w 918"/>
              <a:gd name="T49" fmla="*/ 12077 h 612"/>
              <a:gd name="T50" fmla="*/ 24389 w 918"/>
              <a:gd name="T51" fmla="*/ 13044 h 612"/>
              <a:gd name="T52" fmla="*/ 24162 w 918"/>
              <a:gd name="T53" fmla="*/ 14032 h 612"/>
              <a:gd name="T54" fmla="*/ 24162 w 918"/>
              <a:gd name="T55" fmla="*/ 14064 h 612"/>
              <a:gd name="T56" fmla="*/ 24194 w 918"/>
              <a:gd name="T57" fmla="*/ 14096 h 612"/>
              <a:gd name="T58" fmla="*/ 24194 w 918"/>
              <a:gd name="T59" fmla="*/ 14096 h 612"/>
              <a:gd name="T60" fmla="*/ 24194 w 918"/>
              <a:gd name="T61" fmla="*/ 14161 h 612"/>
              <a:gd name="T62" fmla="*/ 24228 w 918"/>
              <a:gd name="T63" fmla="*/ 14161 h 612"/>
              <a:gd name="T64" fmla="*/ 24228 w 918"/>
              <a:gd name="T65" fmla="*/ 14225 h 612"/>
              <a:gd name="T66" fmla="*/ 24228 w 918"/>
              <a:gd name="T67" fmla="*/ 14225 h 612"/>
              <a:gd name="T68" fmla="*/ 24261 w 918"/>
              <a:gd name="T69" fmla="*/ 14289 h 612"/>
              <a:gd name="T70" fmla="*/ 24261 w 918"/>
              <a:gd name="T71" fmla="*/ 14289 h 612"/>
              <a:gd name="T72" fmla="*/ 25137 w 918"/>
              <a:gd name="T73" fmla="*/ 15048 h 612"/>
              <a:gd name="T74" fmla="*/ 25137 w 918"/>
              <a:gd name="T75" fmla="*/ 15048 h 612"/>
              <a:gd name="T76" fmla="*/ 25233 w 918"/>
              <a:gd name="T77" fmla="*/ 15080 h 612"/>
              <a:gd name="T78" fmla="*/ 25233 w 918"/>
              <a:gd name="T79" fmla="*/ 15080 h 612"/>
              <a:gd name="T80" fmla="*/ 27878 w 918"/>
              <a:gd name="T81" fmla="*/ 15408 h 612"/>
              <a:gd name="T82" fmla="*/ 30430 w 918"/>
              <a:gd name="T83" fmla="*/ 15080 h 612"/>
              <a:gd name="T84" fmla="*/ 15205 w 918"/>
              <a:gd name="T85" fmla="*/ 0 h 6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918" h="612">
                <a:moveTo>
                  <a:pt x="459" y="0"/>
                </a:moveTo>
                <a:cubicBezTo>
                  <a:pt x="207" y="0"/>
                  <a:pt x="3" y="202"/>
                  <a:pt x="0" y="453"/>
                </a:cubicBezTo>
                <a:cubicBezTo>
                  <a:pt x="12" y="451"/>
                  <a:pt x="27" y="450"/>
                  <a:pt x="43" y="450"/>
                </a:cubicBezTo>
                <a:cubicBezTo>
                  <a:pt x="82" y="449"/>
                  <a:pt x="115" y="458"/>
                  <a:pt x="121" y="459"/>
                </a:cubicBezTo>
                <a:cubicBezTo>
                  <a:pt x="122" y="460"/>
                  <a:pt x="123" y="460"/>
                  <a:pt x="123" y="460"/>
                </a:cubicBezTo>
                <a:cubicBezTo>
                  <a:pt x="144" y="466"/>
                  <a:pt x="153" y="485"/>
                  <a:pt x="154" y="492"/>
                </a:cubicBezTo>
                <a:cubicBezTo>
                  <a:pt x="157" y="503"/>
                  <a:pt x="150" y="516"/>
                  <a:pt x="147" y="521"/>
                </a:cubicBezTo>
                <a:cubicBezTo>
                  <a:pt x="143" y="530"/>
                  <a:pt x="140" y="540"/>
                  <a:pt x="140" y="550"/>
                </a:cubicBezTo>
                <a:cubicBezTo>
                  <a:pt x="140" y="584"/>
                  <a:pt x="168" y="612"/>
                  <a:pt x="203" y="612"/>
                </a:cubicBezTo>
                <a:cubicBezTo>
                  <a:pt x="237" y="612"/>
                  <a:pt x="265" y="584"/>
                  <a:pt x="265" y="550"/>
                </a:cubicBezTo>
                <a:cubicBezTo>
                  <a:pt x="265" y="539"/>
                  <a:pt x="262" y="529"/>
                  <a:pt x="258" y="521"/>
                </a:cubicBezTo>
                <a:cubicBezTo>
                  <a:pt x="255" y="516"/>
                  <a:pt x="249" y="503"/>
                  <a:pt x="251" y="492"/>
                </a:cubicBezTo>
                <a:cubicBezTo>
                  <a:pt x="252" y="485"/>
                  <a:pt x="261" y="466"/>
                  <a:pt x="282" y="459"/>
                </a:cubicBezTo>
                <a:cubicBezTo>
                  <a:pt x="282" y="459"/>
                  <a:pt x="283" y="459"/>
                  <a:pt x="283" y="459"/>
                </a:cubicBezTo>
                <a:cubicBezTo>
                  <a:pt x="289" y="457"/>
                  <a:pt x="322" y="449"/>
                  <a:pt x="362" y="449"/>
                </a:cubicBezTo>
                <a:cubicBezTo>
                  <a:pt x="403" y="448"/>
                  <a:pt x="436" y="457"/>
                  <a:pt x="441" y="459"/>
                </a:cubicBezTo>
                <a:cubicBezTo>
                  <a:pt x="442" y="459"/>
                  <a:pt x="442" y="459"/>
                  <a:pt x="442" y="459"/>
                </a:cubicBezTo>
                <a:cubicBezTo>
                  <a:pt x="442" y="459"/>
                  <a:pt x="478" y="469"/>
                  <a:pt x="522" y="469"/>
                </a:cubicBezTo>
                <a:cubicBezTo>
                  <a:pt x="566" y="469"/>
                  <a:pt x="601" y="458"/>
                  <a:pt x="601" y="458"/>
                </a:cubicBezTo>
                <a:cubicBezTo>
                  <a:pt x="602" y="458"/>
                  <a:pt x="602" y="458"/>
                  <a:pt x="602" y="458"/>
                </a:cubicBezTo>
                <a:cubicBezTo>
                  <a:pt x="623" y="451"/>
                  <a:pt x="632" y="432"/>
                  <a:pt x="633" y="426"/>
                </a:cubicBezTo>
                <a:cubicBezTo>
                  <a:pt x="635" y="414"/>
                  <a:pt x="628" y="401"/>
                  <a:pt x="626" y="397"/>
                </a:cubicBezTo>
                <a:cubicBezTo>
                  <a:pt x="621" y="388"/>
                  <a:pt x="618" y="378"/>
                  <a:pt x="618" y="368"/>
                </a:cubicBezTo>
                <a:cubicBezTo>
                  <a:pt x="618" y="333"/>
                  <a:pt x="646" y="305"/>
                  <a:pt x="681" y="305"/>
                </a:cubicBezTo>
                <a:cubicBezTo>
                  <a:pt x="715" y="305"/>
                  <a:pt x="743" y="333"/>
                  <a:pt x="743" y="367"/>
                </a:cubicBezTo>
                <a:cubicBezTo>
                  <a:pt x="743" y="378"/>
                  <a:pt x="741" y="388"/>
                  <a:pt x="736" y="396"/>
                </a:cubicBezTo>
                <a:cubicBezTo>
                  <a:pt x="734" y="401"/>
                  <a:pt x="727" y="414"/>
                  <a:pt x="729" y="426"/>
                </a:cubicBezTo>
                <a:cubicBezTo>
                  <a:pt x="729" y="426"/>
                  <a:pt x="729" y="426"/>
                  <a:pt x="729" y="427"/>
                </a:cubicBezTo>
                <a:cubicBezTo>
                  <a:pt x="730" y="427"/>
                  <a:pt x="730" y="427"/>
                  <a:pt x="730" y="428"/>
                </a:cubicBezTo>
                <a:cubicBezTo>
                  <a:pt x="730" y="428"/>
                  <a:pt x="730" y="428"/>
                  <a:pt x="730" y="428"/>
                </a:cubicBezTo>
                <a:cubicBezTo>
                  <a:pt x="730" y="429"/>
                  <a:pt x="730" y="429"/>
                  <a:pt x="730" y="430"/>
                </a:cubicBezTo>
                <a:cubicBezTo>
                  <a:pt x="730" y="430"/>
                  <a:pt x="731" y="430"/>
                  <a:pt x="731" y="430"/>
                </a:cubicBezTo>
                <a:cubicBezTo>
                  <a:pt x="731" y="431"/>
                  <a:pt x="731" y="431"/>
                  <a:pt x="731" y="432"/>
                </a:cubicBezTo>
                <a:cubicBezTo>
                  <a:pt x="731" y="432"/>
                  <a:pt x="731" y="432"/>
                  <a:pt x="731" y="432"/>
                </a:cubicBezTo>
                <a:cubicBezTo>
                  <a:pt x="732" y="433"/>
                  <a:pt x="732" y="433"/>
                  <a:pt x="732" y="434"/>
                </a:cubicBezTo>
                <a:cubicBezTo>
                  <a:pt x="732" y="434"/>
                  <a:pt x="732" y="434"/>
                  <a:pt x="732" y="434"/>
                </a:cubicBezTo>
                <a:cubicBezTo>
                  <a:pt x="737" y="442"/>
                  <a:pt x="745" y="452"/>
                  <a:pt x="758" y="457"/>
                </a:cubicBezTo>
                <a:cubicBezTo>
                  <a:pt x="758" y="457"/>
                  <a:pt x="758" y="457"/>
                  <a:pt x="758" y="457"/>
                </a:cubicBezTo>
                <a:cubicBezTo>
                  <a:pt x="758" y="457"/>
                  <a:pt x="761" y="458"/>
                  <a:pt x="761" y="458"/>
                </a:cubicBezTo>
                <a:cubicBezTo>
                  <a:pt x="761" y="458"/>
                  <a:pt x="761" y="458"/>
                  <a:pt x="761" y="458"/>
                </a:cubicBezTo>
                <a:cubicBezTo>
                  <a:pt x="761" y="458"/>
                  <a:pt x="797" y="468"/>
                  <a:pt x="841" y="468"/>
                </a:cubicBezTo>
                <a:cubicBezTo>
                  <a:pt x="873" y="468"/>
                  <a:pt x="901" y="463"/>
                  <a:pt x="918" y="458"/>
                </a:cubicBezTo>
                <a:cubicBezTo>
                  <a:pt x="917" y="205"/>
                  <a:pt x="712" y="0"/>
                  <a:pt x="459" y="0"/>
                </a:cubicBezTo>
                <a:close/>
              </a:path>
            </a:pathLst>
          </a:custGeom>
          <a:solidFill>
            <a:schemeClr val="accent1"/>
          </a:solidFill>
          <a:ln w="2540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719928" anchor="ctr"/>
          <a:lstStyle/>
          <a:p>
            <a:pPr algn="ctr">
              <a:lnSpc>
                <a:spcPct val="120000"/>
              </a:lnSpc>
              <a:spcBef>
                <a:spcPts val="590"/>
              </a:spcBef>
              <a:spcAft>
                <a:spcPts val="590"/>
              </a:spcAft>
              <a:defRPr/>
            </a:pPr>
            <a:r>
              <a:rPr lang="zh-CN" altLang="en-US" sz="2700" dirty="0">
                <a:solidFill>
                  <a:srgbClr val="FFFFFF"/>
                </a:solidFill>
                <a:latin typeface="+mn-ea"/>
              </a:rPr>
              <a:t>正面优势</a:t>
            </a:r>
          </a:p>
        </p:txBody>
      </p:sp>
      <p:grpSp>
        <p:nvGrpSpPr>
          <p:cNvPr id="3" name="组合 2"/>
          <p:cNvGrpSpPr/>
          <p:nvPr/>
        </p:nvGrpSpPr>
        <p:grpSpPr>
          <a:xfrm>
            <a:off x="6437514" y="1892829"/>
            <a:ext cx="5034385" cy="872546"/>
            <a:chOff x="4828168" y="1419622"/>
            <a:chExt cx="3776280" cy="654410"/>
          </a:xfrm>
        </p:grpSpPr>
        <p:cxnSp>
          <p:nvCxnSpPr>
            <p:cNvPr id="20" name="直接连接符 19"/>
            <p:cNvCxnSpPr/>
            <p:nvPr/>
          </p:nvCxnSpPr>
          <p:spPr>
            <a:xfrm>
              <a:off x="4828168" y="1765871"/>
              <a:ext cx="1103313" cy="0"/>
            </a:xfrm>
            <a:prstGeom prst="line">
              <a:avLst/>
            </a:prstGeom>
            <a:ln>
              <a:solidFill>
                <a:srgbClr val="BCBCBC"/>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26" name="矩形 67"/>
            <p:cNvSpPr>
              <a:spLocks noChangeArrowheads="1"/>
            </p:cNvSpPr>
            <p:nvPr/>
          </p:nvSpPr>
          <p:spPr bwMode="auto">
            <a:xfrm>
              <a:off x="5958885" y="1419622"/>
              <a:ext cx="2645563" cy="6544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nSpc>
                  <a:spcPct val="130000"/>
                </a:lnSpc>
              </a:pPr>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单击此处添加段落文本</a:t>
              </a:r>
            </a:p>
          </p:txBody>
        </p:sp>
      </p:grpSp>
      <p:grpSp>
        <p:nvGrpSpPr>
          <p:cNvPr id="4" name="组合 3"/>
          <p:cNvGrpSpPr/>
          <p:nvPr/>
        </p:nvGrpSpPr>
        <p:grpSpPr>
          <a:xfrm>
            <a:off x="720104" y="4409544"/>
            <a:ext cx="4944928" cy="872546"/>
            <a:chOff x="539552" y="3307159"/>
            <a:chExt cx="3709179" cy="654410"/>
          </a:xfrm>
        </p:grpSpPr>
        <p:cxnSp>
          <p:nvCxnSpPr>
            <p:cNvPr id="22" name="直接连接符 21"/>
            <p:cNvCxnSpPr/>
            <p:nvPr/>
          </p:nvCxnSpPr>
          <p:spPr>
            <a:xfrm>
              <a:off x="3143831" y="3653408"/>
              <a:ext cx="1104900" cy="0"/>
            </a:xfrm>
            <a:prstGeom prst="line">
              <a:avLst/>
            </a:prstGeom>
            <a:ln>
              <a:solidFill>
                <a:srgbClr val="BCBCBC"/>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27" name="矩形 67"/>
            <p:cNvSpPr>
              <a:spLocks noChangeArrowheads="1"/>
            </p:cNvSpPr>
            <p:nvPr/>
          </p:nvSpPr>
          <p:spPr bwMode="auto">
            <a:xfrm>
              <a:off x="539552" y="3307159"/>
              <a:ext cx="2604279" cy="6544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r">
                <a:lnSpc>
                  <a:spcPct val="130000"/>
                </a:lnSpc>
              </a:pPr>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单击此处添加段落文本</a:t>
              </a:r>
            </a:p>
          </p:txBody>
        </p:sp>
      </p:grpSp>
      <p:pic>
        <p:nvPicPr>
          <p:cNvPr id="28" name="Picture 2" descr="C:\Users\MDG\Desktop\4.jpg"/>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20413" b="7293"/>
          <a:stretch>
            <a:fillRect/>
          </a:stretch>
        </p:blipFill>
        <p:spPr bwMode="auto">
          <a:xfrm>
            <a:off x="7987559" y="2948947"/>
            <a:ext cx="3705380" cy="1685608"/>
          </a:xfrm>
          <a:prstGeom prst="rect">
            <a:avLst/>
          </a:prstGeom>
          <a:noFill/>
          <a:ln>
            <a:solidFill>
              <a:schemeClr val="bg1">
                <a:lumMod val="75000"/>
              </a:schemeClr>
            </a:solidFill>
          </a:ln>
          <a:extLst>
            <a:ext uri="{909E8E84-426E-40DD-AFC4-6F175D3DCCD1}">
              <a14:hiddenFill xmlns:a14="http://schemas.microsoft.com/office/drawing/2010/main" xmlns="">
                <a:solidFill>
                  <a:srgbClr val="FFFFFF"/>
                </a:solidFill>
              </a14:hiddenFill>
            </a:ext>
          </a:extLst>
        </p:spPr>
      </p:pic>
      <p:pic>
        <p:nvPicPr>
          <p:cNvPr id="29" name="Picture 4" descr="C:\Users\MDG\Desktop\2.jp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t="16118" b="9780"/>
          <a:stretch>
            <a:fillRect/>
          </a:stretch>
        </p:blipFill>
        <p:spPr bwMode="auto">
          <a:xfrm>
            <a:off x="603372" y="2592363"/>
            <a:ext cx="3705380" cy="1721741"/>
          </a:xfrm>
          <a:prstGeom prst="rect">
            <a:avLst/>
          </a:prstGeom>
          <a:noFill/>
          <a:ln>
            <a:solidFill>
              <a:schemeClr val="bg1">
                <a:lumMod val="75000"/>
              </a:schemeClr>
            </a:solidFill>
          </a:ln>
          <a:extLst>
            <a:ext uri="{909E8E84-426E-40DD-AFC4-6F175D3DCCD1}">
              <a14:hiddenFill xmlns:a14="http://schemas.microsoft.com/office/drawing/2010/main" xmlns="">
                <a:solidFill>
                  <a:srgbClr val="FFFFFF"/>
                </a:solidFill>
              </a14:hiddenFill>
            </a:ext>
          </a:extLst>
        </p:spPr>
      </p:pic>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0-#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ppt_x"/>
                                          </p:val>
                                        </p:tav>
                                        <p:tav tm="100000">
                                          <p:val>
                                            <p:strVal val="#ppt_x"/>
                                          </p:val>
                                        </p:tav>
                                      </p:tavLst>
                                    </p:anim>
                                    <p:anim calcmode="lin" valueType="num">
                                      <p:cBhvr additive="base">
                                        <p:cTn id="12" dur="500" fill="hold"/>
                                        <p:tgtEl>
                                          <p:spTgt spid="18"/>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2" presetClass="entr" presetSubtype="2"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right)">
                                      <p:cBhvr>
                                        <p:cTn id="16" dur="500"/>
                                        <p:tgtEl>
                                          <p:spTgt spid="4"/>
                                        </p:tgtEl>
                                      </p:cBhvr>
                                    </p:animEffect>
                                  </p:childTnLst>
                                </p:cTn>
                              </p:par>
                              <p:par>
                                <p:cTn id="17" presetID="22" presetClass="entr" presetSubtype="8"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500"/>
                                        <p:tgtEl>
                                          <p:spTgt spid="3"/>
                                        </p:tgtEl>
                                      </p:cBhvr>
                                    </p:animEffect>
                                  </p:childTnLst>
                                </p:cTn>
                              </p:par>
                            </p:childTnLst>
                          </p:cTn>
                        </p:par>
                        <p:par>
                          <p:cTn id="20" fill="hold">
                            <p:stCondLst>
                              <p:cond delay="1000"/>
                            </p:stCondLst>
                            <p:childTnLst>
                              <p:par>
                                <p:cTn id="21" presetID="2" presetClass="entr" presetSubtype="1" fill="hold" nodeType="afterEffect">
                                  <p:stCondLst>
                                    <p:cond delay="0"/>
                                  </p:stCondLst>
                                  <p:childTnLst>
                                    <p:set>
                                      <p:cBhvr>
                                        <p:cTn id="22" dur="1" fill="hold">
                                          <p:stCondLst>
                                            <p:cond delay="0"/>
                                          </p:stCondLst>
                                        </p:cTn>
                                        <p:tgtEl>
                                          <p:spTgt spid="29"/>
                                        </p:tgtEl>
                                        <p:attrNameLst>
                                          <p:attrName>style.visibility</p:attrName>
                                        </p:attrNameLst>
                                      </p:cBhvr>
                                      <p:to>
                                        <p:strVal val="visible"/>
                                      </p:to>
                                    </p:set>
                                    <p:anim calcmode="lin" valueType="num">
                                      <p:cBhvr additive="base">
                                        <p:cTn id="23" dur="500" fill="hold"/>
                                        <p:tgtEl>
                                          <p:spTgt spid="29"/>
                                        </p:tgtEl>
                                        <p:attrNameLst>
                                          <p:attrName>ppt_x</p:attrName>
                                        </p:attrNameLst>
                                      </p:cBhvr>
                                      <p:tavLst>
                                        <p:tav tm="0">
                                          <p:val>
                                            <p:strVal val="#ppt_x"/>
                                          </p:val>
                                        </p:tav>
                                        <p:tav tm="100000">
                                          <p:val>
                                            <p:strVal val="#ppt_x"/>
                                          </p:val>
                                        </p:tav>
                                      </p:tavLst>
                                    </p:anim>
                                    <p:anim calcmode="lin" valueType="num">
                                      <p:cBhvr additive="base">
                                        <p:cTn id="24" dur="500" fill="hold"/>
                                        <p:tgtEl>
                                          <p:spTgt spid="29"/>
                                        </p:tgtEl>
                                        <p:attrNameLst>
                                          <p:attrName>ppt_y</p:attrName>
                                        </p:attrNameLst>
                                      </p:cBhvr>
                                      <p:tavLst>
                                        <p:tav tm="0">
                                          <p:val>
                                            <p:strVal val="0-#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500" fill="hold"/>
                                        <p:tgtEl>
                                          <p:spTgt spid="28"/>
                                        </p:tgtEl>
                                        <p:attrNameLst>
                                          <p:attrName>ppt_x</p:attrName>
                                        </p:attrNameLst>
                                      </p:cBhvr>
                                      <p:tavLst>
                                        <p:tav tm="0">
                                          <p:val>
                                            <p:strVal val="#ppt_x"/>
                                          </p:val>
                                        </p:tav>
                                        <p:tav tm="100000">
                                          <p:val>
                                            <p:strVal val="#ppt_x"/>
                                          </p:val>
                                        </p:tav>
                                      </p:tavLst>
                                    </p:anim>
                                    <p:anim calcmode="lin" valueType="num">
                                      <p:cBhvr additive="base">
                                        <p:cTn id="2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2195071" y="1897584"/>
            <a:ext cx="4223753" cy="567575"/>
            <a:chOff x="161608" y="1701214"/>
            <a:chExt cx="4609821" cy="619372"/>
          </a:xfrm>
          <a:solidFill>
            <a:srgbClr val="DB7F06"/>
          </a:solidFill>
        </p:grpSpPr>
        <p:sp>
          <p:nvSpPr>
            <p:cNvPr id="4" name="TextBox 3"/>
            <p:cNvSpPr txBox="1"/>
            <p:nvPr>
              <p:custDataLst>
                <p:tags r:id="rId19"/>
              </p:custDataLst>
            </p:nvPr>
          </p:nvSpPr>
          <p:spPr>
            <a:xfrm>
              <a:off x="161608" y="1701214"/>
              <a:ext cx="4609821" cy="61937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3765">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endParaRPr>
            </a:p>
          </p:txBody>
        </p:sp>
        <p:sp>
          <p:nvSpPr>
            <p:cNvPr id="5" name="TextBox 4"/>
            <p:cNvSpPr txBox="1"/>
            <p:nvPr>
              <p:custDataLst>
                <p:tags r:id="rId20"/>
              </p:custDataLst>
            </p:nvPr>
          </p:nvSpPr>
          <p:spPr>
            <a:xfrm>
              <a:off x="478469" y="1772179"/>
              <a:ext cx="3976097" cy="405063"/>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t>单击此处添加文本</a:t>
              </a:r>
              <a:endParaRPr lang="en-US" dirty="0"/>
            </a:p>
          </p:txBody>
        </p:sp>
      </p:grpSp>
      <p:grpSp>
        <p:nvGrpSpPr>
          <p:cNvPr id="6" name="组合 5"/>
          <p:cNvGrpSpPr/>
          <p:nvPr/>
        </p:nvGrpSpPr>
        <p:grpSpPr>
          <a:xfrm>
            <a:off x="2739294" y="2573954"/>
            <a:ext cx="1369650" cy="1552519"/>
            <a:chOff x="755576" y="2439310"/>
            <a:chExt cx="1494841" cy="1694204"/>
          </a:xfrm>
          <a:solidFill>
            <a:srgbClr val="709020"/>
          </a:solidFill>
        </p:grpSpPr>
        <p:grpSp>
          <p:nvGrpSpPr>
            <p:cNvPr id="7" name="组合 6"/>
            <p:cNvGrpSpPr/>
            <p:nvPr/>
          </p:nvGrpSpPr>
          <p:grpSpPr>
            <a:xfrm>
              <a:off x="755576" y="2439310"/>
              <a:ext cx="1494841" cy="1694204"/>
              <a:chOff x="755576" y="2439310"/>
              <a:chExt cx="1494841" cy="1694204"/>
            </a:xfrm>
            <a:grpFill/>
          </p:grpSpPr>
          <p:sp>
            <p:nvSpPr>
              <p:cNvPr id="9" name="Right Triangle 40"/>
              <p:cNvSpPr/>
              <p:nvPr>
                <p:custDataLst>
                  <p:tags r:id="rId17"/>
                </p:custDataLst>
              </p:nvPr>
            </p:nvSpPr>
            <p:spPr bwMode="auto">
              <a:xfrm rot="10800000" flipV="1">
                <a:off x="1344297" y="2439310"/>
                <a:ext cx="451948" cy="649688"/>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47"/>
              <p:cNvSpPr/>
              <p:nvPr>
                <p:custDataLst>
                  <p:tags r:id="rId18"/>
                </p:custDataLst>
              </p:nvPr>
            </p:nvSpPr>
            <p:spPr bwMode="auto">
              <a:xfrm>
                <a:off x="755576" y="3088998"/>
                <a:ext cx="1494841" cy="10445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8" name="TextBox 7"/>
            <p:cNvSpPr txBox="1"/>
            <p:nvPr>
              <p:custDataLst>
                <p:tags r:id="rId16"/>
              </p:custDataLst>
            </p:nvPr>
          </p:nvSpPr>
          <p:spPr>
            <a:xfrm>
              <a:off x="1209747" y="3187828"/>
              <a:ext cx="586498" cy="927678"/>
            </a:xfrm>
            <a:prstGeom prst="rect">
              <a:avLst/>
            </a:prstGeom>
            <a:noFill/>
          </p:spPr>
          <p:txBody>
            <a:bodyPr wrap="square" lIns="93278" tIns="93278" rIns="93278" bIns="93278" rtlCol="0">
              <a:spAutoFit/>
            </a:bodyPr>
            <a:lstStyle/>
            <a:p>
              <a:pPr algn="ctr">
                <a:buSzPct val="90000"/>
              </a:pPr>
              <a:r>
                <a:rPr lang="en-US" sz="4300" dirty="0">
                  <a:gradFill>
                    <a:gsLst>
                      <a:gs pos="0">
                        <a:srgbClr val="FFFFFF"/>
                      </a:gs>
                      <a:gs pos="100000">
                        <a:srgbClr val="FFFFFF"/>
                      </a:gs>
                    </a:gsLst>
                    <a:lin ang="5400000" scaled="0"/>
                  </a:gradFill>
                </a:rPr>
                <a:t>1</a:t>
              </a:r>
            </a:p>
          </p:txBody>
        </p:sp>
      </p:grpSp>
      <p:grpSp>
        <p:nvGrpSpPr>
          <p:cNvPr id="11" name="组合 10"/>
          <p:cNvGrpSpPr/>
          <p:nvPr/>
        </p:nvGrpSpPr>
        <p:grpSpPr>
          <a:xfrm>
            <a:off x="6459245" y="1892831"/>
            <a:ext cx="3781030" cy="567575"/>
            <a:chOff x="4815546" y="1696027"/>
            <a:chExt cx="4126633" cy="619372"/>
          </a:xfrm>
          <a:solidFill>
            <a:srgbClr val="DB7F06"/>
          </a:solidFill>
        </p:grpSpPr>
        <p:sp>
          <p:nvSpPr>
            <p:cNvPr id="12" name="TextBox 11"/>
            <p:cNvSpPr txBox="1"/>
            <p:nvPr>
              <p:custDataLst>
                <p:tags r:id="rId14"/>
              </p:custDataLst>
            </p:nvPr>
          </p:nvSpPr>
          <p:spPr>
            <a:xfrm>
              <a:off x="4815546" y="1696027"/>
              <a:ext cx="4126633"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3765">
                <a:defRPr sz="2200">
                  <a:solidFill>
                    <a:srgbClr val="FFFFFF">
                      <a:alpha val="98824"/>
                    </a:srgb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endParaRPr>
            </a:p>
          </p:txBody>
        </p:sp>
        <p:sp>
          <p:nvSpPr>
            <p:cNvPr id="13" name="TextBox 12"/>
            <p:cNvSpPr txBox="1"/>
            <p:nvPr>
              <p:custDataLst>
                <p:tags r:id="rId15"/>
              </p:custDataLst>
            </p:nvPr>
          </p:nvSpPr>
          <p:spPr>
            <a:xfrm>
              <a:off x="4860032" y="1765995"/>
              <a:ext cx="3976097" cy="405063"/>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t>单击此处添加文本</a:t>
              </a:r>
              <a:endParaRPr lang="en-US" altLang="zh-CN" dirty="0"/>
            </a:p>
          </p:txBody>
        </p:sp>
      </p:grpSp>
      <p:grpSp>
        <p:nvGrpSpPr>
          <p:cNvPr id="14" name="组合 13"/>
          <p:cNvGrpSpPr/>
          <p:nvPr/>
        </p:nvGrpSpPr>
        <p:grpSpPr>
          <a:xfrm>
            <a:off x="6542322" y="2573954"/>
            <a:ext cx="1784096" cy="1552519"/>
            <a:chOff x="4906217" y="2439310"/>
            <a:chExt cx="1947170" cy="1694204"/>
          </a:xfrm>
          <a:solidFill>
            <a:srgbClr val="709020"/>
          </a:solidFill>
        </p:grpSpPr>
        <p:sp>
          <p:nvSpPr>
            <p:cNvPr id="15" name="Rectangle 48"/>
            <p:cNvSpPr/>
            <p:nvPr>
              <p:custDataLst>
                <p:tags r:id="rId11"/>
              </p:custDataLst>
            </p:nvPr>
          </p:nvSpPr>
          <p:spPr bwMode="auto">
            <a:xfrm>
              <a:off x="4906217" y="3088998"/>
              <a:ext cx="1947170"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6" name="TextBox 15"/>
            <p:cNvSpPr txBox="1"/>
            <p:nvPr>
              <p:custDataLst>
                <p:tags r:id="rId12"/>
              </p:custDataLst>
            </p:nvPr>
          </p:nvSpPr>
          <p:spPr>
            <a:xfrm>
              <a:off x="5586553" y="3165395"/>
              <a:ext cx="586499" cy="742953"/>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t>3</a:t>
              </a:r>
            </a:p>
          </p:txBody>
        </p:sp>
        <p:sp>
          <p:nvSpPr>
            <p:cNvPr id="17" name="Right Triangle 59"/>
            <p:cNvSpPr/>
            <p:nvPr>
              <p:custDataLst>
                <p:tags r:id="rId13"/>
              </p:custDataLst>
            </p:nvPr>
          </p:nvSpPr>
          <p:spPr bwMode="auto">
            <a:xfrm rot="10800000" flipV="1">
              <a:off x="6228535" y="2439310"/>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18" name="组合 17"/>
          <p:cNvGrpSpPr/>
          <p:nvPr/>
        </p:nvGrpSpPr>
        <p:grpSpPr>
          <a:xfrm>
            <a:off x="2195071" y="4826896"/>
            <a:ext cx="4223753" cy="567575"/>
            <a:chOff x="161608" y="4897860"/>
            <a:chExt cx="4609821" cy="619372"/>
          </a:xfrm>
          <a:solidFill>
            <a:srgbClr val="8AB027"/>
          </a:solidFill>
        </p:grpSpPr>
        <p:sp>
          <p:nvSpPr>
            <p:cNvPr id="19" name="TextBox 18"/>
            <p:cNvSpPr txBox="1"/>
            <p:nvPr>
              <p:custDataLst>
                <p:tags r:id="rId9"/>
              </p:custDataLst>
            </p:nvPr>
          </p:nvSpPr>
          <p:spPr>
            <a:xfrm>
              <a:off x="161608" y="4897860"/>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3765">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endParaRPr>
            </a:p>
          </p:txBody>
        </p:sp>
        <p:sp>
          <p:nvSpPr>
            <p:cNvPr id="20" name="TextBox 19"/>
            <p:cNvSpPr txBox="1"/>
            <p:nvPr>
              <p:custDataLst>
                <p:tags r:id="rId10"/>
              </p:custDataLst>
            </p:nvPr>
          </p:nvSpPr>
          <p:spPr>
            <a:xfrm>
              <a:off x="478469" y="4968292"/>
              <a:ext cx="3976097" cy="405063"/>
            </a:xfrm>
            <a:prstGeom prst="rect">
              <a:avLst/>
            </a:prstGeom>
            <a:noFill/>
          </p:spPr>
          <p:txBody>
            <a:bodyPr wrap="square" lIns="93278" tIns="46639" rIns="93278" bIns="46639" rtlCol="0">
              <a:spAutoFit/>
            </a:bodyPr>
            <a:lstStyle/>
            <a:p>
              <a:pPr algn="ctr">
                <a:buSzPct val="90000"/>
              </a:pPr>
              <a:r>
                <a:rPr lang="zh-CN" altLang="en-US" dirty="0">
                  <a:gradFill>
                    <a:gsLst>
                      <a:gs pos="0">
                        <a:srgbClr val="FFFFFF"/>
                      </a:gs>
                      <a:gs pos="100000">
                        <a:srgbClr val="FFFFFF"/>
                      </a:gs>
                    </a:gsLst>
                    <a:lin ang="5400000" scaled="0"/>
                  </a:gradFill>
                </a:rPr>
                <a:t>单击此处添加文本</a:t>
              </a:r>
              <a:endParaRPr lang="en-US" altLang="zh-CN" dirty="0">
                <a:gradFill>
                  <a:gsLst>
                    <a:gs pos="0">
                      <a:srgbClr val="FFFFFF"/>
                    </a:gs>
                    <a:gs pos="100000">
                      <a:srgbClr val="FFFFFF"/>
                    </a:gs>
                  </a:gsLst>
                  <a:lin ang="5400000" scaled="0"/>
                </a:gradFill>
              </a:endParaRPr>
            </a:p>
          </p:txBody>
        </p:sp>
      </p:grpSp>
      <p:grpSp>
        <p:nvGrpSpPr>
          <p:cNvPr id="21" name="组合 20"/>
          <p:cNvGrpSpPr/>
          <p:nvPr/>
        </p:nvGrpSpPr>
        <p:grpSpPr>
          <a:xfrm>
            <a:off x="4174981" y="3169308"/>
            <a:ext cx="2301300" cy="1552519"/>
            <a:chOff x="2322492" y="3088998"/>
            <a:chExt cx="2511649" cy="1694204"/>
          </a:xfrm>
          <a:solidFill>
            <a:srgbClr val="8AB027"/>
          </a:solidFill>
        </p:grpSpPr>
        <p:grpSp>
          <p:nvGrpSpPr>
            <p:cNvPr id="22" name="组合 21"/>
            <p:cNvGrpSpPr/>
            <p:nvPr/>
          </p:nvGrpSpPr>
          <p:grpSpPr>
            <a:xfrm>
              <a:off x="2322492" y="3088998"/>
              <a:ext cx="2511649" cy="1044516"/>
              <a:chOff x="2322492" y="3088998"/>
              <a:chExt cx="2511649" cy="1044516"/>
            </a:xfrm>
            <a:grpFill/>
          </p:grpSpPr>
          <p:sp>
            <p:nvSpPr>
              <p:cNvPr id="24" name="Rectangle 50"/>
              <p:cNvSpPr/>
              <p:nvPr>
                <p:custDataLst>
                  <p:tags r:id="rId7"/>
                </p:custDataLst>
              </p:nvPr>
            </p:nvSpPr>
            <p:spPr bwMode="auto">
              <a:xfrm>
                <a:off x="2322492" y="3088998"/>
                <a:ext cx="2511649"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5" name="TextBox 24"/>
              <p:cNvSpPr txBox="1"/>
              <p:nvPr>
                <p:custDataLst>
                  <p:tags r:id="rId8"/>
                </p:custDataLst>
              </p:nvPr>
            </p:nvSpPr>
            <p:spPr>
              <a:xfrm>
                <a:off x="3285069" y="3165395"/>
                <a:ext cx="586498" cy="742952"/>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t>2</a:t>
                </a:r>
              </a:p>
            </p:txBody>
          </p:sp>
        </p:grpSp>
        <p:sp>
          <p:nvSpPr>
            <p:cNvPr id="23" name="Right Triangle 60"/>
            <p:cNvSpPr/>
            <p:nvPr>
              <p:custDataLst>
                <p:tags r:id="rId6"/>
              </p:custDataLst>
            </p:nvPr>
          </p:nvSpPr>
          <p:spPr bwMode="auto">
            <a:xfrm flipV="1">
              <a:off x="3285067" y="4133514"/>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26" name="组合 25"/>
          <p:cNvGrpSpPr/>
          <p:nvPr/>
        </p:nvGrpSpPr>
        <p:grpSpPr>
          <a:xfrm>
            <a:off x="6459245" y="4826896"/>
            <a:ext cx="3781030" cy="567575"/>
            <a:chOff x="4815546" y="4897860"/>
            <a:chExt cx="4126633" cy="619372"/>
          </a:xfrm>
          <a:solidFill>
            <a:srgbClr val="8AB027"/>
          </a:solidFill>
        </p:grpSpPr>
        <p:sp>
          <p:nvSpPr>
            <p:cNvPr id="27" name="TextBox 26"/>
            <p:cNvSpPr txBox="1"/>
            <p:nvPr>
              <p:custDataLst>
                <p:tags r:id="rId4"/>
              </p:custDataLst>
            </p:nvPr>
          </p:nvSpPr>
          <p:spPr>
            <a:xfrm>
              <a:off x="4815546" y="4897860"/>
              <a:ext cx="4126633"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3765">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endParaRPr>
            </a:p>
          </p:txBody>
        </p:sp>
        <p:sp>
          <p:nvSpPr>
            <p:cNvPr id="28" name="TextBox 27"/>
            <p:cNvSpPr txBox="1"/>
            <p:nvPr>
              <p:custDataLst>
                <p:tags r:id="rId5"/>
              </p:custDataLst>
            </p:nvPr>
          </p:nvSpPr>
          <p:spPr>
            <a:xfrm>
              <a:off x="4932040" y="4968292"/>
              <a:ext cx="3976097" cy="405063"/>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t>单击此处添加文本</a:t>
              </a:r>
              <a:endParaRPr lang="en-US" altLang="zh-CN" dirty="0"/>
            </a:p>
          </p:txBody>
        </p:sp>
      </p:grpSp>
      <p:grpSp>
        <p:nvGrpSpPr>
          <p:cNvPr id="29" name="组合 28"/>
          <p:cNvGrpSpPr/>
          <p:nvPr/>
        </p:nvGrpSpPr>
        <p:grpSpPr>
          <a:xfrm>
            <a:off x="8458373" y="3172634"/>
            <a:ext cx="1369650" cy="1549193"/>
            <a:chOff x="6997403" y="3092627"/>
            <a:chExt cx="1494841" cy="1690575"/>
          </a:xfrm>
          <a:solidFill>
            <a:srgbClr val="8AB027"/>
          </a:solidFill>
        </p:grpSpPr>
        <p:sp>
          <p:nvSpPr>
            <p:cNvPr id="30" name="Rectangle 51"/>
            <p:cNvSpPr/>
            <p:nvPr>
              <p:custDataLst>
                <p:tags r:id="rId1"/>
              </p:custDataLst>
            </p:nvPr>
          </p:nvSpPr>
          <p:spPr bwMode="auto">
            <a:xfrm>
              <a:off x="6997403" y="3092627"/>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1" name="TextBox 30"/>
            <p:cNvSpPr txBox="1"/>
            <p:nvPr>
              <p:custDataLst>
                <p:tags r:id="rId2"/>
              </p:custDataLst>
            </p:nvPr>
          </p:nvSpPr>
          <p:spPr>
            <a:xfrm>
              <a:off x="7451574" y="3165395"/>
              <a:ext cx="586498" cy="742953"/>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t>4</a:t>
              </a:r>
            </a:p>
          </p:txBody>
        </p:sp>
        <p:sp>
          <p:nvSpPr>
            <p:cNvPr id="32" name="Right Triangle 61"/>
            <p:cNvSpPr/>
            <p:nvPr>
              <p:custDataLst>
                <p:tags r:id="rId3"/>
              </p:custDataLst>
            </p:nvPr>
          </p:nvSpPr>
          <p:spPr bwMode="auto">
            <a:xfrm flipV="1">
              <a:off x="7629668" y="4133514"/>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up)">
                                      <p:cBhvr>
                                        <p:cTn id="15" dur="500"/>
                                        <p:tgtEl>
                                          <p:spTgt spid="2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down)">
                                      <p:cBhvr>
                                        <p:cTn id="23" dur="500"/>
                                        <p:tgtEl>
                                          <p:spTgt spid="1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par>
                          <p:cTn id="28" fill="hold">
                            <p:stCondLst>
                              <p:cond delay="3000"/>
                            </p:stCondLst>
                            <p:childTnLst>
                              <p:par>
                                <p:cTn id="29" presetID="22" presetClass="entr" presetSubtype="1"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up)">
                                      <p:cBhvr>
                                        <p:cTn id="31" dur="500"/>
                                        <p:tgtEl>
                                          <p:spTgt spid="29"/>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1301366" y="4113866"/>
            <a:ext cx="2341122" cy="569483"/>
            <a:chOff x="1403648" y="3147814"/>
            <a:chExt cx="1756070" cy="427112"/>
          </a:xfrm>
        </p:grpSpPr>
        <p:pic>
          <p:nvPicPr>
            <p:cNvPr id="4" name="Picture 3" descr="C:\Users\ABC\Desktop\白板7.png"/>
            <p:cNvPicPr>
              <a:picLocks noChangeAspect="1" noChangeArrowheads="1"/>
            </p:cNvPicPr>
            <p:nvPr/>
          </p:nvPicPr>
          <p:blipFill>
            <a:blip r:embed="rId3" cstate="screen"/>
            <a:srcRect/>
            <a:stretch>
              <a:fillRect/>
            </a:stretch>
          </p:blipFill>
          <p:spPr bwMode="auto">
            <a:xfrm>
              <a:off x="1403648" y="3147814"/>
              <a:ext cx="590887" cy="427112"/>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2023846" y="3210530"/>
              <a:ext cx="831105" cy="276999"/>
            </a:xfrm>
            <a:prstGeom prst="rect">
              <a:avLst/>
            </a:prstGeom>
            <a:noFill/>
          </p:spPr>
          <p:txBody>
            <a:bodyPr wrap="none" rtlCol="0">
              <a:spAutoFit/>
            </a:bodyPr>
            <a:lstStyle/>
            <a:p>
              <a:r>
                <a:rPr lang="zh-CN" altLang="en-US" b="1" dirty="0">
                  <a:solidFill>
                    <a:schemeClr val="accent1"/>
                  </a:solidFill>
                </a:rPr>
                <a:t>人员培训</a:t>
              </a:r>
            </a:p>
          </p:txBody>
        </p:sp>
        <p:cxnSp>
          <p:nvCxnSpPr>
            <p:cNvPr id="6" name="直接连接符 5"/>
            <p:cNvCxnSpPr/>
            <p:nvPr/>
          </p:nvCxnSpPr>
          <p:spPr>
            <a:xfrm>
              <a:off x="1403648" y="3574926"/>
              <a:ext cx="175607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7" name="组合 6"/>
          <p:cNvGrpSpPr/>
          <p:nvPr/>
        </p:nvGrpSpPr>
        <p:grpSpPr>
          <a:xfrm>
            <a:off x="4701695" y="4043434"/>
            <a:ext cx="2341122" cy="710340"/>
            <a:chOff x="1259632" y="1347614"/>
            <a:chExt cx="1756070" cy="532755"/>
          </a:xfrm>
        </p:grpSpPr>
        <p:pic>
          <p:nvPicPr>
            <p:cNvPr id="8" name="Picture 4" descr="C:\Users\ABC\Desktop\034971.png"/>
            <p:cNvPicPr>
              <a:picLocks noChangeAspect="1" noChangeArrowheads="1"/>
            </p:cNvPicPr>
            <p:nvPr/>
          </p:nvPicPr>
          <p:blipFill>
            <a:blip r:embed="rId4" cstate="screen"/>
            <a:srcRect/>
            <a:stretch>
              <a:fillRect/>
            </a:stretch>
          </p:blipFill>
          <p:spPr bwMode="auto">
            <a:xfrm>
              <a:off x="1323975" y="1347614"/>
              <a:ext cx="408705" cy="532755"/>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Box 8"/>
            <p:cNvSpPr txBox="1"/>
            <p:nvPr/>
          </p:nvSpPr>
          <p:spPr>
            <a:xfrm>
              <a:off x="1879830" y="1490449"/>
              <a:ext cx="831105" cy="276999"/>
            </a:xfrm>
            <a:prstGeom prst="rect">
              <a:avLst/>
            </a:prstGeom>
            <a:noFill/>
          </p:spPr>
          <p:txBody>
            <a:bodyPr wrap="none" rtlCol="0">
              <a:spAutoFit/>
            </a:bodyPr>
            <a:lstStyle/>
            <a:p>
              <a:r>
                <a:rPr lang="zh-CN" altLang="en-US" b="1" dirty="0">
                  <a:solidFill>
                    <a:schemeClr val="accent1"/>
                  </a:solidFill>
                </a:rPr>
                <a:t>资金保障</a:t>
              </a:r>
            </a:p>
          </p:txBody>
        </p:sp>
        <p:cxnSp>
          <p:nvCxnSpPr>
            <p:cNvPr id="10" name="直接连接符 9"/>
            <p:cNvCxnSpPr/>
            <p:nvPr/>
          </p:nvCxnSpPr>
          <p:spPr>
            <a:xfrm>
              <a:off x="1259632" y="1854845"/>
              <a:ext cx="175607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4701696" y="1673903"/>
            <a:ext cx="2378282" cy="956173"/>
            <a:chOff x="3923928" y="1255426"/>
            <a:chExt cx="1783944" cy="717130"/>
          </a:xfrm>
        </p:grpSpPr>
        <p:pic>
          <p:nvPicPr>
            <p:cNvPr id="12" name="Picture 6" descr="C:\Users\ABC\Desktop\035001.png"/>
            <p:cNvPicPr>
              <a:picLocks noChangeAspect="1" noChangeArrowheads="1"/>
            </p:cNvPicPr>
            <p:nvPr/>
          </p:nvPicPr>
          <p:blipFill>
            <a:blip r:embed="rId5" cstate="screen"/>
            <a:srcRect/>
            <a:stretch>
              <a:fillRect/>
            </a:stretch>
          </p:blipFill>
          <p:spPr bwMode="auto">
            <a:xfrm>
              <a:off x="3923928" y="1255426"/>
              <a:ext cx="537982" cy="717130"/>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p:cNvSpPr txBox="1"/>
            <p:nvPr/>
          </p:nvSpPr>
          <p:spPr>
            <a:xfrm>
              <a:off x="4572000" y="1530826"/>
              <a:ext cx="831105" cy="276999"/>
            </a:xfrm>
            <a:prstGeom prst="rect">
              <a:avLst/>
            </a:prstGeom>
            <a:noFill/>
          </p:spPr>
          <p:txBody>
            <a:bodyPr wrap="none" rtlCol="0">
              <a:spAutoFit/>
            </a:bodyPr>
            <a:lstStyle/>
            <a:p>
              <a:r>
                <a:rPr lang="zh-CN" altLang="en-US" b="1" dirty="0">
                  <a:solidFill>
                    <a:schemeClr val="accent1"/>
                  </a:solidFill>
                </a:rPr>
                <a:t>把握市场</a:t>
              </a:r>
            </a:p>
          </p:txBody>
        </p:sp>
        <p:cxnSp>
          <p:nvCxnSpPr>
            <p:cNvPr id="14" name="直接连接符 13"/>
            <p:cNvCxnSpPr/>
            <p:nvPr/>
          </p:nvCxnSpPr>
          <p:spPr>
            <a:xfrm>
              <a:off x="3951802" y="1895222"/>
              <a:ext cx="175607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5" name="组合 14"/>
          <p:cNvGrpSpPr/>
          <p:nvPr/>
        </p:nvGrpSpPr>
        <p:grpSpPr>
          <a:xfrm>
            <a:off x="1261113" y="1894534"/>
            <a:ext cx="2365971" cy="625851"/>
            <a:chOff x="4005171" y="2980405"/>
            <a:chExt cx="1774709" cy="469388"/>
          </a:xfrm>
        </p:grpSpPr>
        <p:pic>
          <p:nvPicPr>
            <p:cNvPr id="16" name="Picture 7" descr="C:\Users\ABC\Desktop\034951.png"/>
            <p:cNvPicPr>
              <a:picLocks noChangeAspect="1" noChangeArrowheads="1"/>
            </p:cNvPicPr>
            <p:nvPr/>
          </p:nvPicPr>
          <p:blipFill>
            <a:blip r:embed="rId6" cstate="screen"/>
            <a:srcRect/>
            <a:stretch>
              <a:fillRect/>
            </a:stretch>
          </p:blipFill>
          <p:spPr bwMode="auto">
            <a:xfrm>
              <a:off x="4005171" y="2980405"/>
              <a:ext cx="613667" cy="460250"/>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TextBox 16"/>
            <p:cNvSpPr txBox="1"/>
            <p:nvPr/>
          </p:nvSpPr>
          <p:spPr>
            <a:xfrm>
              <a:off x="4644008" y="3085397"/>
              <a:ext cx="831105" cy="276999"/>
            </a:xfrm>
            <a:prstGeom prst="rect">
              <a:avLst/>
            </a:prstGeom>
            <a:noFill/>
          </p:spPr>
          <p:txBody>
            <a:bodyPr wrap="none" rtlCol="0">
              <a:spAutoFit/>
            </a:bodyPr>
            <a:lstStyle/>
            <a:p>
              <a:r>
                <a:rPr lang="zh-CN" altLang="en-US" b="1" dirty="0">
                  <a:solidFill>
                    <a:schemeClr val="accent1"/>
                  </a:solidFill>
                </a:rPr>
                <a:t>政策支持</a:t>
              </a:r>
            </a:p>
          </p:txBody>
        </p:sp>
        <p:cxnSp>
          <p:nvCxnSpPr>
            <p:cNvPr id="18" name="直接连接符 17"/>
            <p:cNvCxnSpPr/>
            <p:nvPr/>
          </p:nvCxnSpPr>
          <p:spPr>
            <a:xfrm>
              <a:off x="4023810" y="3449793"/>
              <a:ext cx="175607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9" name="组合 18"/>
          <p:cNvGrpSpPr/>
          <p:nvPr/>
        </p:nvGrpSpPr>
        <p:grpSpPr>
          <a:xfrm>
            <a:off x="8218864" y="4054162"/>
            <a:ext cx="2341122" cy="699612"/>
            <a:chOff x="6804248" y="1468471"/>
            <a:chExt cx="1756070" cy="524709"/>
          </a:xfrm>
        </p:grpSpPr>
        <p:pic>
          <p:nvPicPr>
            <p:cNvPr id="20" name="Picture 8" descr="G:\3D小人\T2-4A广告提案论坛-3D小人合集（1G-2400余个）\4A广告提案论坛-3D png小人\26 (2).png"/>
            <p:cNvPicPr>
              <a:picLocks noChangeAspect="1" noChangeArrowheads="1"/>
            </p:cNvPicPr>
            <p:nvPr/>
          </p:nvPicPr>
          <p:blipFill>
            <a:blip r:embed="rId7" cstate="screen"/>
            <a:srcRect/>
            <a:stretch>
              <a:fillRect/>
            </a:stretch>
          </p:blipFill>
          <p:spPr bwMode="auto">
            <a:xfrm>
              <a:off x="6854502" y="1468471"/>
              <a:ext cx="453802" cy="524709"/>
            </a:xfrm>
            <a:prstGeom prst="rect">
              <a:avLst/>
            </a:prstGeom>
            <a:noFill/>
            <a:extLst>
              <a:ext uri="{909E8E84-426E-40DD-AFC4-6F175D3DCCD1}">
                <a14:hiddenFill xmlns:a14="http://schemas.microsoft.com/office/drawing/2010/main" xmlns="">
                  <a:solidFill>
                    <a:srgbClr val="FFFFFF"/>
                  </a:solidFill>
                </a14:hiddenFill>
              </a:ext>
            </a:extLst>
          </p:spPr>
        </p:pic>
        <p:sp>
          <p:nvSpPr>
            <p:cNvPr id="21" name="TextBox 20"/>
            <p:cNvSpPr txBox="1"/>
            <p:nvPr/>
          </p:nvSpPr>
          <p:spPr>
            <a:xfrm>
              <a:off x="7424446" y="1608160"/>
              <a:ext cx="831105" cy="276999"/>
            </a:xfrm>
            <a:prstGeom prst="rect">
              <a:avLst/>
            </a:prstGeom>
            <a:noFill/>
          </p:spPr>
          <p:txBody>
            <a:bodyPr wrap="none" rtlCol="0">
              <a:spAutoFit/>
            </a:bodyPr>
            <a:lstStyle/>
            <a:p>
              <a:r>
                <a:rPr lang="zh-CN" altLang="en-US" b="1" dirty="0">
                  <a:solidFill>
                    <a:schemeClr val="accent1"/>
                  </a:solidFill>
                </a:rPr>
                <a:t>督导措施</a:t>
              </a:r>
            </a:p>
          </p:txBody>
        </p:sp>
        <p:cxnSp>
          <p:nvCxnSpPr>
            <p:cNvPr id="22" name="直接连接符 21"/>
            <p:cNvCxnSpPr/>
            <p:nvPr/>
          </p:nvCxnSpPr>
          <p:spPr>
            <a:xfrm>
              <a:off x="6804248" y="1972556"/>
              <a:ext cx="175607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3" name="组合 22"/>
          <p:cNvGrpSpPr/>
          <p:nvPr/>
        </p:nvGrpSpPr>
        <p:grpSpPr>
          <a:xfrm>
            <a:off x="8218864" y="1873396"/>
            <a:ext cx="2341122" cy="688069"/>
            <a:chOff x="6752930" y="1405046"/>
            <a:chExt cx="1756070" cy="516052"/>
          </a:xfrm>
        </p:grpSpPr>
        <p:sp>
          <p:nvSpPr>
            <p:cNvPr id="24" name="TextBox 23"/>
            <p:cNvSpPr txBox="1"/>
            <p:nvPr/>
          </p:nvSpPr>
          <p:spPr>
            <a:xfrm>
              <a:off x="7373128" y="1530826"/>
              <a:ext cx="831105" cy="276999"/>
            </a:xfrm>
            <a:prstGeom prst="rect">
              <a:avLst/>
            </a:prstGeom>
            <a:noFill/>
          </p:spPr>
          <p:txBody>
            <a:bodyPr wrap="none" rtlCol="0">
              <a:spAutoFit/>
            </a:bodyPr>
            <a:lstStyle/>
            <a:p>
              <a:r>
                <a:rPr lang="zh-CN" altLang="en-US" b="1" dirty="0">
                  <a:solidFill>
                    <a:schemeClr val="accent1"/>
                  </a:solidFill>
                </a:rPr>
                <a:t>竞争机制</a:t>
              </a:r>
            </a:p>
          </p:txBody>
        </p:sp>
        <p:cxnSp>
          <p:nvCxnSpPr>
            <p:cNvPr id="25" name="直接连接符 24"/>
            <p:cNvCxnSpPr/>
            <p:nvPr/>
          </p:nvCxnSpPr>
          <p:spPr>
            <a:xfrm>
              <a:off x="6752930" y="1895222"/>
              <a:ext cx="175607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6" name="Picture 9" descr="G:\3D小人\T2-4A广告提案论坛-3D小人合集（1G-2400余个）\4A广告提案论坛-3D png小人\16 (2).png"/>
            <p:cNvPicPr>
              <a:picLocks noChangeAspect="1" noChangeArrowheads="1"/>
            </p:cNvPicPr>
            <p:nvPr/>
          </p:nvPicPr>
          <p:blipFill>
            <a:blip r:embed="rId8" cstate="screen"/>
            <a:srcRect/>
            <a:stretch>
              <a:fillRect/>
            </a:stretch>
          </p:blipFill>
          <p:spPr bwMode="auto">
            <a:xfrm>
              <a:off x="6802375" y="1405046"/>
              <a:ext cx="516052" cy="51605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7" name="TextBox 26"/>
          <p:cNvSpPr txBox="1"/>
          <p:nvPr/>
        </p:nvSpPr>
        <p:spPr>
          <a:xfrm>
            <a:off x="1215444" y="2564904"/>
            <a:ext cx="3152590" cy="738664"/>
          </a:xfrm>
          <a:prstGeom prst="rect">
            <a:avLst/>
          </a:prstGeom>
          <a:noFill/>
        </p:spPr>
        <p:txBody>
          <a:bodyPr wrap="none" lIns="121908" tIns="60954" rIns="121908" bIns="60954" rtlCol="0">
            <a:spAutoFit/>
          </a:bodyPr>
          <a:lstStyle/>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p:txBody>
      </p:sp>
      <p:sp>
        <p:nvSpPr>
          <p:cNvPr id="28" name="TextBox 27"/>
          <p:cNvSpPr txBox="1"/>
          <p:nvPr/>
        </p:nvSpPr>
        <p:spPr>
          <a:xfrm>
            <a:off x="4690791" y="2564904"/>
            <a:ext cx="3152590" cy="738664"/>
          </a:xfrm>
          <a:prstGeom prst="rect">
            <a:avLst/>
          </a:prstGeom>
          <a:noFill/>
        </p:spPr>
        <p:txBody>
          <a:bodyPr wrap="none" lIns="121908" tIns="60954" rIns="121908" bIns="60954" rtlCol="0">
            <a:spAutoFit/>
          </a:bodyPr>
          <a:lstStyle/>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p:txBody>
      </p:sp>
      <p:sp>
        <p:nvSpPr>
          <p:cNvPr id="29" name="TextBox 28"/>
          <p:cNvSpPr txBox="1"/>
          <p:nvPr/>
        </p:nvSpPr>
        <p:spPr>
          <a:xfrm>
            <a:off x="8207960" y="2591872"/>
            <a:ext cx="3152590" cy="738664"/>
          </a:xfrm>
          <a:prstGeom prst="rect">
            <a:avLst/>
          </a:prstGeom>
          <a:noFill/>
        </p:spPr>
        <p:txBody>
          <a:bodyPr wrap="none" lIns="121908" tIns="60954" rIns="121908" bIns="60954" rtlCol="0">
            <a:spAutoFit/>
          </a:bodyPr>
          <a:lstStyle/>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p:txBody>
      </p:sp>
      <p:sp>
        <p:nvSpPr>
          <p:cNvPr id="30" name="TextBox 29"/>
          <p:cNvSpPr txBox="1"/>
          <p:nvPr/>
        </p:nvSpPr>
        <p:spPr>
          <a:xfrm>
            <a:off x="1215444" y="4746709"/>
            <a:ext cx="3152590" cy="738664"/>
          </a:xfrm>
          <a:prstGeom prst="rect">
            <a:avLst/>
          </a:prstGeom>
          <a:noFill/>
        </p:spPr>
        <p:txBody>
          <a:bodyPr wrap="none" lIns="121908" tIns="60954" rIns="121908" bIns="60954" rtlCol="0">
            <a:spAutoFit/>
          </a:bodyPr>
          <a:lstStyle/>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p:txBody>
      </p:sp>
      <p:sp>
        <p:nvSpPr>
          <p:cNvPr id="31" name="TextBox 30"/>
          <p:cNvSpPr txBox="1"/>
          <p:nvPr/>
        </p:nvSpPr>
        <p:spPr>
          <a:xfrm>
            <a:off x="4690791" y="4746709"/>
            <a:ext cx="3152590" cy="738664"/>
          </a:xfrm>
          <a:prstGeom prst="rect">
            <a:avLst/>
          </a:prstGeom>
          <a:noFill/>
        </p:spPr>
        <p:txBody>
          <a:bodyPr wrap="none" lIns="121908" tIns="60954" rIns="121908" bIns="60954" rtlCol="0">
            <a:spAutoFit/>
          </a:bodyPr>
          <a:lstStyle/>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p:txBody>
      </p:sp>
      <p:sp>
        <p:nvSpPr>
          <p:cNvPr id="32" name="TextBox 31"/>
          <p:cNvSpPr txBox="1"/>
          <p:nvPr/>
        </p:nvSpPr>
        <p:spPr>
          <a:xfrm>
            <a:off x="8207960" y="4773677"/>
            <a:ext cx="3152590" cy="738664"/>
          </a:xfrm>
          <a:prstGeom prst="rect">
            <a:avLst/>
          </a:prstGeom>
          <a:noFill/>
        </p:spPr>
        <p:txBody>
          <a:bodyPr wrap="none" lIns="121908" tIns="60954" rIns="121908" bIns="60954" rtlCol="0">
            <a:spAutoFit/>
          </a:bodyPr>
          <a:lstStyle/>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a:p>
            <a:pPr>
              <a:lnSpc>
                <a:spcPct val="150000"/>
              </a:lnSpc>
            </a:pPr>
            <a:r>
              <a:rPr lang="zh-CN" altLang="en-US" sz="1300" dirty="0">
                <a:solidFill>
                  <a:schemeClr val="tx1">
                    <a:lumMod val="50000"/>
                    <a:lumOff val="50000"/>
                  </a:schemeClr>
                </a:solidFill>
              </a:rPr>
              <a:t>单击此处添加文本，单击此处添加文本</a:t>
            </a:r>
            <a:endParaRPr lang="en-US" altLang="zh-CN" sz="1300" dirty="0">
              <a:solidFill>
                <a:schemeClr val="tx1">
                  <a:lumMod val="50000"/>
                  <a:lumOff val="50000"/>
                </a:schemeClr>
              </a:solidFill>
            </a:endParaRP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22" presetClass="entr" presetSubtype="1" fill="hold" grpId="0" nodeType="withEffect">
                                  <p:stCondLst>
                                    <p:cond delay="500"/>
                                  </p:stCondLst>
                                  <p:childTnLst>
                                    <p:set>
                                      <p:cBhvr>
                                        <p:cTn id="9" dur="1" fill="hold">
                                          <p:stCondLst>
                                            <p:cond delay="0"/>
                                          </p:stCondLst>
                                        </p:cTn>
                                        <p:tgtEl>
                                          <p:spTgt spid="27"/>
                                        </p:tgtEl>
                                        <p:attrNameLst>
                                          <p:attrName>style.visibility</p:attrName>
                                        </p:attrNameLst>
                                      </p:cBhvr>
                                      <p:to>
                                        <p:strVal val="visible"/>
                                      </p:to>
                                    </p:set>
                                    <p:animEffect transition="in" filter="wipe(up)">
                                      <p:cBhvr>
                                        <p:cTn id="10" dur="500"/>
                                        <p:tgtEl>
                                          <p:spTgt spid="27"/>
                                        </p:tgtEl>
                                      </p:cBhvr>
                                    </p:animEffect>
                                  </p:childTnLst>
                                </p:cTn>
                              </p:par>
                              <p:par>
                                <p:cTn id="11" presetID="10" presetClass="entr" presetSubtype="0" fill="hold" nodeType="withEffect">
                                  <p:stCondLst>
                                    <p:cond delay="2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22" presetClass="entr" presetSubtype="1" fill="hold" grpId="0" nodeType="withEffect">
                                  <p:stCondLst>
                                    <p:cond delay="700"/>
                                  </p:stCondLst>
                                  <p:childTnLst>
                                    <p:set>
                                      <p:cBhvr>
                                        <p:cTn id="15" dur="1" fill="hold">
                                          <p:stCondLst>
                                            <p:cond delay="0"/>
                                          </p:stCondLst>
                                        </p:cTn>
                                        <p:tgtEl>
                                          <p:spTgt spid="28"/>
                                        </p:tgtEl>
                                        <p:attrNameLst>
                                          <p:attrName>style.visibility</p:attrName>
                                        </p:attrNameLst>
                                      </p:cBhvr>
                                      <p:to>
                                        <p:strVal val="visible"/>
                                      </p:to>
                                    </p:set>
                                    <p:animEffect transition="in" filter="wipe(up)">
                                      <p:cBhvr>
                                        <p:cTn id="16" dur="500"/>
                                        <p:tgtEl>
                                          <p:spTgt spid="28"/>
                                        </p:tgtEl>
                                      </p:cBhvr>
                                    </p:animEffect>
                                  </p:childTnLst>
                                </p:cTn>
                              </p:par>
                              <p:par>
                                <p:cTn id="17" presetID="10" presetClass="entr" presetSubtype="0" fill="hold" nodeType="withEffect">
                                  <p:stCondLst>
                                    <p:cond delay="40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22" presetClass="entr" presetSubtype="1" fill="hold" grpId="0" nodeType="withEffect">
                                  <p:stCondLst>
                                    <p:cond delay="900"/>
                                  </p:stCondLst>
                                  <p:childTnLst>
                                    <p:set>
                                      <p:cBhvr>
                                        <p:cTn id="21" dur="1" fill="hold">
                                          <p:stCondLst>
                                            <p:cond delay="0"/>
                                          </p:stCondLst>
                                        </p:cTn>
                                        <p:tgtEl>
                                          <p:spTgt spid="29"/>
                                        </p:tgtEl>
                                        <p:attrNameLst>
                                          <p:attrName>style.visibility</p:attrName>
                                        </p:attrNameLst>
                                      </p:cBhvr>
                                      <p:to>
                                        <p:strVal val="visible"/>
                                      </p:to>
                                    </p:set>
                                    <p:animEffect transition="in" filter="wipe(up)">
                                      <p:cBhvr>
                                        <p:cTn id="22" dur="500"/>
                                        <p:tgtEl>
                                          <p:spTgt spid="29"/>
                                        </p:tgtEl>
                                      </p:cBhvr>
                                    </p:animEffect>
                                  </p:childTnLst>
                                </p:cTn>
                              </p:par>
                              <p:par>
                                <p:cTn id="23" presetID="10" presetClass="entr" presetSubtype="0" fill="hold" nodeType="withEffect">
                                  <p:stCondLst>
                                    <p:cond delay="60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22" presetClass="entr" presetSubtype="1" fill="hold" grpId="0" nodeType="withEffect">
                                  <p:stCondLst>
                                    <p:cond delay="1100"/>
                                  </p:stCondLst>
                                  <p:childTnLst>
                                    <p:set>
                                      <p:cBhvr>
                                        <p:cTn id="27" dur="1" fill="hold">
                                          <p:stCondLst>
                                            <p:cond delay="0"/>
                                          </p:stCondLst>
                                        </p:cTn>
                                        <p:tgtEl>
                                          <p:spTgt spid="30"/>
                                        </p:tgtEl>
                                        <p:attrNameLst>
                                          <p:attrName>style.visibility</p:attrName>
                                        </p:attrNameLst>
                                      </p:cBhvr>
                                      <p:to>
                                        <p:strVal val="visible"/>
                                      </p:to>
                                    </p:set>
                                    <p:animEffect transition="in" filter="wipe(up)">
                                      <p:cBhvr>
                                        <p:cTn id="28" dur="500"/>
                                        <p:tgtEl>
                                          <p:spTgt spid="30"/>
                                        </p:tgtEl>
                                      </p:cBhvr>
                                    </p:animEffect>
                                  </p:childTnLst>
                                </p:cTn>
                              </p:par>
                              <p:par>
                                <p:cTn id="29" presetID="10" presetClass="entr" presetSubtype="0" fill="hold" nodeType="withEffect">
                                  <p:stCondLst>
                                    <p:cond delay="80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22" presetClass="entr" presetSubtype="1" fill="hold" grpId="0" nodeType="withEffect">
                                  <p:stCondLst>
                                    <p:cond delay="1300"/>
                                  </p:stCondLst>
                                  <p:childTnLst>
                                    <p:set>
                                      <p:cBhvr>
                                        <p:cTn id="33" dur="1" fill="hold">
                                          <p:stCondLst>
                                            <p:cond delay="0"/>
                                          </p:stCondLst>
                                        </p:cTn>
                                        <p:tgtEl>
                                          <p:spTgt spid="31"/>
                                        </p:tgtEl>
                                        <p:attrNameLst>
                                          <p:attrName>style.visibility</p:attrName>
                                        </p:attrNameLst>
                                      </p:cBhvr>
                                      <p:to>
                                        <p:strVal val="visible"/>
                                      </p:to>
                                    </p:set>
                                    <p:animEffect transition="in" filter="wipe(up)">
                                      <p:cBhvr>
                                        <p:cTn id="34" dur="500"/>
                                        <p:tgtEl>
                                          <p:spTgt spid="31"/>
                                        </p:tgtEl>
                                      </p:cBhvr>
                                    </p:animEffect>
                                  </p:childTnLst>
                                </p:cTn>
                              </p:par>
                              <p:par>
                                <p:cTn id="35" presetID="10" presetClass="entr" presetSubtype="0" fill="hold" nodeType="withEffect">
                                  <p:stCondLst>
                                    <p:cond delay="100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par>
                                <p:cTn id="38" presetID="22" presetClass="entr" presetSubtype="1" fill="hold" grpId="0" nodeType="withEffect">
                                  <p:stCondLst>
                                    <p:cond delay="1500"/>
                                  </p:stCondLst>
                                  <p:childTnLst>
                                    <p:set>
                                      <p:cBhvr>
                                        <p:cTn id="39" dur="1" fill="hold">
                                          <p:stCondLst>
                                            <p:cond delay="0"/>
                                          </p:stCondLst>
                                        </p:cTn>
                                        <p:tgtEl>
                                          <p:spTgt spid="32"/>
                                        </p:tgtEl>
                                        <p:attrNameLst>
                                          <p:attrName>style.visibility</p:attrName>
                                        </p:attrNameLst>
                                      </p:cBhvr>
                                      <p:to>
                                        <p:strVal val="visible"/>
                                      </p:to>
                                    </p:set>
                                    <p:animEffect transition="in" filter="wipe(up)">
                                      <p:cBhvr>
                                        <p:cTn id="4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P spid="30" grpId="0"/>
      <p:bldP spid="31" grpId="0"/>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3"/>
          <p:cNvSpPr/>
          <p:nvPr/>
        </p:nvSpPr>
        <p:spPr bwMode="auto">
          <a:xfrm>
            <a:off x="5942649" y="1916985"/>
            <a:ext cx="449739" cy="4128239"/>
          </a:xfrm>
          <a:custGeom>
            <a:avLst/>
            <a:gdLst>
              <a:gd name="T0" fmla="*/ 0 w 148"/>
              <a:gd name="T1" fmla="*/ 1750 h 1750"/>
              <a:gd name="T2" fmla="*/ 148 w 148"/>
              <a:gd name="T3" fmla="*/ 1750 h 1750"/>
              <a:gd name="T4" fmla="*/ 105 w 148"/>
              <a:gd name="T5" fmla="*/ 1128 h 1750"/>
              <a:gd name="T6" fmla="*/ 86 w 148"/>
              <a:gd name="T7" fmla="*/ 74 h 1750"/>
              <a:gd name="T8" fmla="*/ 114 w 148"/>
              <a:gd name="T9" fmla="*/ 85 h 1750"/>
              <a:gd name="T10" fmla="*/ 74 w 148"/>
              <a:gd name="T11" fmla="*/ 0 h 1750"/>
              <a:gd name="T12" fmla="*/ 34 w 148"/>
              <a:gd name="T13" fmla="*/ 85 h 1750"/>
              <a:gd name="T14" fmla="*/ 62 w 148"/>
              <a:gd name="T15" fmla="*/ 74 h 1750"/>
              <a:gd name="T16" fmla="*/ 43 w 148"/>
              <a:gd name="T17" fmla="*/ 1128 h 1750"/>
              <a:gd name="T18" fmla="*/ 0 w 148"/>
              <a:gd name="T19" fmla="*/ 1750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750">
                <a:moveTo>
                  <a:pt x="0" y="1750"/>
                </a:moveTo>
                <a:cubicBezTo>
                  <a:pt x="148" y="1750"/>
                  <a:pt x="148" y="1750"/>
                  <a:pt x="148" y="1750"/>
                </a:cubicBezTo>
                <a:cubicBezTo>
                  <a:pt x="132" y="1610"/>
                  <a:pt x="105" y="1128"/>
                  <a:pt x="105" y="1128"/>
                </a:cubicBezTo>
                <a:cubicBezTo>
                  <a:pt x="86" y="74"/>
                  <a:pt x="86" y="74"/>
                  <a:pt x="86" y="74"/>
                </a:cubicBezTo>
                <a:cubicBezTo>
                  <a:pt x="100" y="78"/>
                  <a:pt x="114" y="85"/>
                  <a:pt x="114" y="85"/>
                </a:cubicBezTo>
                <a:cubicBezTo>
                  <a:pt x="74" y="0"/>
                  <a:pt x="74" y="0"/>
                  <a:pt x="74" y="0"/>
                </a:cubicBezTo>
                <a:cubicBezTo>
                  <a:pt x="34" y="85"/>
                  <a:pt x="34" y="85"/>
                  <a:pt x="34" y="85"/>
                </a:cubicBezTo>
                <a:cubicBezTo>
                  <a:pt x="34" y="85"/>
                  <a:pt x="48" y="78"/>
                  <a:pt x="62" y="74"/>
                </a:cubicBezTo>
                <a:cubicBezTo>
                  <a:pt x="43" y="1128"/>
                  <a:pt x="43" y="1128"/>
                  <a:pt x="43" y="1128"/>
                </a:cubicBezTo>
                <a:cubicBezTo>
                  <a:pt x="43" y="1128"/>
                  <a:pt x="14" y="1604"/>
                  <a:pt x="0" y="1750"/>
                </a:cubicBezTo>
                <a:close/>
              </a:path>
            </a:pathLst>
          </a:custGeom>
          <a:solidFill>
            <a:schemeClr val="accent1"/>
          </a:solidFill>
          <a:ln>
            <a:noFill/>
          </a:ln>
        </p:spPr>
        <p:txBody>
          <a:bodyPr vert="horz" wrap="square" lIns="121908" tIns="60954" rIns="121908" bIns="60954" numCol="1" anchor="t" anchorCtr="0" compatLnSpc="1"/>
          <a:lstStyle/>
          <a:p>
            <a:pPr defTabSz="1218565">
              <a:defRPr/>
            </a:pPr>
            <a:endParaRPr lang="zh-CN" altLang="en-US" sz="2400" kern="0">
              <a:solidFill>
                <a:sysClr val="windowText" lastClr="000000"/>
              </a:solidFill>
            </a:endParaRPr>
          </a:p>
        </p:txBody>
      </p:sp>
      <p:sp>
        <p:nvSpPr>
          <p:cNvPr id="4" name="Freeform 14"/>
          <p:cNvSpPr/>
          <p:nvPr/>
        </p:nvSpPr>
        <p:spPr bwMode="auto">
          <a:xfrm>
            <a:off x="6540730" y="2842482"/>
            <a:ext cx="1483430" cy="3202740"/>
          </a:xfrm>
          <a:custGeom>
            <a:avLst/>
            <a:gdLst>
              <a:gd name="T0" fmla="*/ 221 w 487"/>
              <a:gd name="T1" fmla="*/ 1062 h 1358"/>
              <a:gd name="T2" fmla="*/ 74 w 487"/>
              <a:gd name="T3" fmla="*/ 710 h 1358"/>
              <a:gd name="T4" fmla="*/ 56 w 487"/>
              <a:gd name="T5" fmla="*/ 523 h 1358"/>
              <a:gd name="T6" fmla="*/ 89 w 487"/>
              <a:gd name="T7" fmla="*/ 338 h 1358"/>
              <a:gd name="T8" fmla="*/ 185 w 487"/>
              <a:gd name="T9" fmla="*/ 170 h 1358"/>
              <a:gd name="T10" fmla="*/ 337 w 487"/>
              <a:gd name="T11" fmla="*/ 49 h 1358"/>
              <a:gd name="T12" fmla="*/ 342 w 487"/>
              <a:gd name="T13" fmla="*/ 77 h 1358"/>
              <a:gd name="T14" fmla="*/ 399 w 487"/>
              <a:gd name="T15" fmla="*/ 0 h 1358"/>
              <a:gd name="T16" fmla="*/ 303 w 487"/>
              <a:gd name="T17" fmla="*/ 13 h 1358"/>
              <a:gd name="T18" fmla="*/ 327 w 487"/>
              <a:gd name="T19" fmla="*/ 30 h 1358"/>
              <a:gd name="T20" fmla="*/ 159 w 487"/>
              <a:gd name="T21" fmla="*/ 153 h 1358"/>
              <a:gd name="T22" fmla="*/ 49 w 487"/>
              <a:gd name="T23" fmla="*/ 327 h 1358"/>
              <a:gd name="T24" fmla="*/ 6 w 487"/>
              <a:gd name="T25" fmla="*/ 521 h 1358"/>
              <a:gd name="T26" fmla="*/ 14 w 487"/>
              <a:gd name="T27" fmla="*/ 718 h 1358"/>
              <a:gd name="T28" fmla="*/ 152 w 487"/>
              <a:gd name="T29" fmla="*/ 1093 h 1358"/>
              <a:gd name="T30" fmla="*/ 333 w 487"/>
              <a:gd name="T31" fmla="*/ 1358 h 1358"/>
              <a:gd name="T32" fmla="*/ 487 w 487"/>
              <a:gd name="T33" fmla="*/ 1358 h 1358"/>
              <a:gd name="T34" fmla="*/ 221 w 487"/>
              <a:gd name="T35" fmla="*/ 1062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7" h="1358">
                <a:moveTo>
                  <a:pt x="221" y="1062"/>
                </a:moveTo>
                <a:cubicBezTo>
                  <a:pt x="151" y="952"/>
                  <a:pt x="99" y="833"/>
                  <a:pt x="74" y="710"/>
                </a:cubicBezTo>
                <a:cubicBezTo>
                  <a:pt x="61" y="648"/>
                  <a:pt x="55" y="585"/>
                  <a:pt x="56" y="523"/>
                </a:cubicBezTo>
                <a:cubicBezTo>
                  <a:pt x="58" y="460"/>
                  <a:pt x="69" y="398"/>
                  <a:pt x="89" y="338"/>
                </a:cubicBezTo>
                <a:cubicBezTo>
                  <a:pt x="110" y="278"/>
                  <a:pt x="142" y="220"/>
                  <a:pt x="185" y="170"/>
                </a:cubicBezTo>
                <a:cubicBezTo>
                  <a:pt x="226" y="122"/>
                  <a:pt x="278" y="81"/>
                  <a:pt x="337" y="49"/>
                </a:cubicBezTo>
                <a:cubicBezTo>
                  <a:pt x="341" y="62"/>
                  <a:pt x="342" y="77"/>
                  <a:pt x="342" y="77"/>
                </a:cubicBezTo>
                <a:cubicBezTo>
                  <a:pt x="399" y="0"/>
                  <a:pt x="399" y="0"/>
                  <a:pt x="399" y="0"/>
                </a:cubicBezTo>
                <a:cubicBezTo>
                  <a:pt x="303" y="13"/>
                  <a:pt x="303" y="13"/>
                  <a:pt x="303" y="13"/>
                </a:cubicBezTo>
                <a:cubicBezTo>
                  <a:pt x="303" y="13"/>
                  <a:pt x="317" y="20"/>
                  <a:pt x="327" y="30"/>
                </a:cubicBezTo>
                <a:cubicBezTo>
                  <a:pt x="262" y="61"/>
                  <a:pt x="205" y="103"/>
                  <a:pt x="159" y="153"/>
                </a:cubicBezTo>
                <a:cubicBezTo>
                  <a:pt x="110" y="205"/>
                  <a:pt x="74" y="264"/>
                  <a:pt x="49" y="327"/>
                </a:cubicBezTo>
                <a:cubicBezTo>
                  <a:pt x="25" y="389"/>
                  <a:pt x="11" y="455"/>
                  <a:pt x="6" y="521"/>
                </a:cubicBezTo>
                <a:cubicBezTo>
                  <a:pt x="0" y="586"/>
                  <a:pt x="4" y="652"/>
                  <a:pt x="14" y="718"/>
                </a:cubicBezTo>
                <a:cubicBezTo>
                  <a:pt x="35" y="848"/>
                  <a:pt x="83" y="975"/>
                  <a:pt x="152" y="1093"/>
                </a:cubicBezTo>
                <a:cubicBezTo>
                  <a:pt x="207" y="1188"/>
                  <a:pt x="275" y="1286"/>
                  <a:pt x="333" y="1358"/>
                </a:cubicBezTo>
                <a:cubicBezTo>
                  <a:pt x="487" y="1358"/>
                  <a:pt x="487" y="1358"/>
                  <a:pt x="487" y="1358"/>
                </a:cubicBezTo>
                <a:cubicBezTo>
                  <a:pt x="382" y="1272"/>
                  <a:pt x="292" y="1172"/>
                  <a:pt x="221" y="1062"/>
                </a:cubicBezTo>
                <a:close/>
              </a:path>
            </a:pathLst>
          </a:custGeom>
          <a:solidFill>
            <a:schemeClr val="accent3"/>
          </a:solidFill>
          <a:ln>
            <a:noFill/>
          </a:ln>
        </p:spPr>
        <p:txBody>
          <a:bodyPr vert="horz" wrap="square" lIns="121908" tIns="60954" rIns="121908" bIns="60954" numCol="1" anchor="t" anchorCtr="0" compatLnSpc="1"/>
          <a:lstStyle/>
          <a:p>
            <a:pPr defTabSz="1218565">
              <a:defRPr/>
            </a:pPr>
            <a:endParaRPr lang="zh-CN" altLang="en-US" sz="2400" kern="0">
              <a:solidFill>
                <a:sysClr val="windowText" lastClr="000000"/>
              </a:solidFill>
            </a:endParaRPr>
          </a:p>
        </p:txBody>
      </p:sp>
      <p:sp>
        <p:nvSpPr>
          <p:cNvPr id="5" name="Freeform 15"/>
          <p:cNvSpPr/>
          <p:nvPr/>
        </p:nvSpPr>
        <p:spPr bwMode="auto">
          <a:xfrm>
            <a:off x="4313233" y="2842482"/>
            <a:ext cx="1478719" cy="3202740"/>
          </a:xfrm>
          <a:custGeom>
            <a:avLst/>
            <a:gdLst>
              <a:gd name="T0" fmla="*/ 481 w 486"/>
              <a:gd name="T1" fmla="*/ 521 h 1358"/>
              <a:gd name="T2" fmla="*/ 437 w 486"/>
              <a:gd name="T3" fmla="*/ 327 h 1358"/>
              <a:gd name="T4" fmla="*/ 328 w 486"/>
              <a:gd name="T5" fmla="*/ 153 h 1358"/>
              <a:gd name="T6" fmla="*/ 158 w 486"/>
              <a:gd name="T7" fmla="*/ 29 h 1358"/>
              <a:gd name="T8" fmla="*/ 181 w 486"/>
              <a:gd name="T9" fmla="*/ 13 h 1358"/>
              <a:gd name="T10" fmla="*/ 85 w 486"/>
              <a:gd name="T11" fmla="*/ 0 h 1358"/>
              <a:gd name="T12" fmla="*/ 142 w 486"/>
              <a:gd name="T13" fmla="*/ 77 h 1358"/>
              <a:gd name="T14" fmla="*/ 147 w 486"/>
              <a:gd name="T15" fmla="*/ 48 h 1358"/>
              <a:gd name="T16" fmla="*/ 301 w 486"/>
              <a:gd name="T17" fmla="*/ 170 h 1358"/>
              <a:gd name="T18" fmla="*/ 397 w 486"/>
              <a:gd name="T19" fmla="*/ 338 h 1358"/>
              <a:gd name="T20" fmla="*/ 430 w 486"/>
              <a:gd name="T21" fmla="*/ 523 h 1358"/>
              <a:gd name="T22" fmla="*/ 413 w 486"/>
              <a:gd name="T23" fmla="*/ 710 h 1358"/>
              <a:gd name="T24" fmla="*/ 265 w 486"/>
              <a:gd name="T25" fmla="*/ 1062 h 1358"/>
              <a:gd name="T26" fmla="*/ 0 w 486"/>
              <a:gd name="T27" fmla="*/ 1358 h 1358"/>
              <a:gd name="T28" fmla="*/ 153 w 486"/>
              <a:gd name="T29" fmla="*/ 1358 h 1358"/>
              <a:gd name="T30" fmla="*/ 334 w 486"/>
              <a:gd name="T31" fmla="*/ 1093 h 1358"/>
              <a:gd name="T32" fmla="*/ 472 w 486"/>
              <a:gd name="T33" fmla="*/ 718 h 1358"/>
              <a:gd name="T34" fmla="*/ 481 w 486"/>
              <a:gd name="T35" fmla="*/ 521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6" h="1358">
                <a:moveTo>
                  <a:pt x="481" y="521"/>
                </a:moveTo>
                <a:cubicBezTo>
                  <a:pt x="475" y="455"/>
                  <a:pt x="462" y="389"/>
                  <a:pt x="437" y="327"/>
                </a:cubicBezTo>
                <a:cubicBezTo>
                  <a:pt x="412" y="264"/>
                  <a:pt x="376" y="205"/>
                  <a:pt x="328" y="153"/>
                </a:cubicBezTo>
                <a:cubicBezTo>
                  <a:pt x="281" y="103"/>
                  <a:pt x="223" y="60"/>
                  <a:pt x="158" y="29"/>
                </a:cubicBezTo>
                <a:cubicBezTo>
                  <a:pt x="168" y="20"/>
                  <a:pt x="181" y="13"/>
                  <a:pt x="181" y="13"/>
                </a:cubicBezTo>
                <a:cubicBezTo>
                  <a:pt x="85" y="0"/>
                  <a:pt x="85" y="0"/>
                  <a:pt x="85" y="0"/>
                </a:cubicBezTo>
                <a:cubicBezTo>
                  <a:pt x="142" y="77"/>
                  <a:pt x="142" y="77"/>
                  <a:pt x="142" y="77"/>
                </a:cubicBezTo>
                <a:cubicBezTo>
                  <a:pt x="142" y="77"/>
                  <a:pt x="143" y="61"/>
                  <a:pt x="147" y="48"/>
                </a:cubicBezTo>
                <a:cubicBezTo>
                  <a:pt x="207" y="80"/>
                  <a:pt x="260" y="121"/>
                  <a:pt x="301" y="170"/>
                </a:cubicBezTo>
                <a:cubicBezTo>
                  <a:pt x="345" y="220"/>
                  <a:pt x="376" y="278"/>
                  <a:pt x="397" y="338"/>
                </a:cubicBezTo>
                <a:cubicBezTo>
                  <a:pt x="418" y="398"/>
                  <a:pt x="428" y="460"/>
                  <a:pt x="430" y="523"/>
                </a:cubicBezTo>
                <a:cubicBezTo>
                  <a:pt x="432" y="585"/>
                  <a:pt x="425" y="648"/>
                  <a:pt x="413" y="710"/>
                </a:cubicBezTo>
                <a:cubicBezTo>
                  <a:pt x="387" y="833"/>
                  <a:pt x="335" y="952"/>
                  <a:pt x="265" y="1062"/>
                </a:cubicBezTo>
                <a:cubicBezTo>
                  <a:pt x="194" y="1172"/>
                  <a:pt x="105" y="1272"/>
                  <a:pt x="0" y="1358"/>
                </a:cubicBezTo>
                <a:cubicBezTo>
                  <a:pt x="153" y="1358"/>
                  <a:pt x="153" y="1358"/>
                  <a:pt x="153" y="1358"/>
                </a:cubicBezTo>
                <a:cubicBezTo>
                  <a:pt x="218" y="1281"/>
                  <a:pt x="279" y="1188"/>
                  <a:pt x="334" y="1093"/>
                </a:cubicBezTo>
                <a:cubicBezTo>
                  <a:pt x="403" y="975"/>
                  <a:pt x="451" y="848"/>
                  <a:pt x="472" y="718"/>
                </a:cubicBezTo>
                <a:cubicBezTo>
                  <a:pt x="482" y="652"/>
                  <a:pt x="486" y="586"/>
                  <a:pt x="481" y="521"/>
                </a:cubicBezTo>
                <a:close/>
              </a:path>
            </a:pathLst>
          </a:custGeom>
          <a:solidFill>
            <a:schemeClr val="accent3"/>
          </a:solidFill>
          <a:ln>
            <a:noFill/>
          </a:ln>
        </p:spPr>
        <p:txBody>
          <a:bodyPr vert="horz" wrap="square" lIns="121908" tIns="60954" rIns="121908" bIns="60954" numCol="1" anchor="t" anchorCtr="0" compatLnSpc="1"/>
          <a:lstStyle/>
          <a:p>
            <a:pPr defTabSz="1218565">
              <a:defRPr/>
            </a:pPr>
            <a:endParaRPr lang="zh-CN" altLang="en-US" sz="2400" kern="0">
              <a:solidFill>
                <a:sysClr val="windowText" lastClr="000000"/>
              </a:solidFill>
            </a:endParaRPr>
          </a:p>
        </p:txBody>
      </p:sp>
      <p:sp>
        <p:nvSpPr>
          <p:cNvPr id="6" name="Freeform 16"/>
          <p:cNvSpPr/>
          <p:nvPr/>
        </p:nvSpPr>
        <p:spPr bwMode="auto">
          <a:xfrm>
            <a:off x="6295848" y="2411526"/>
            <a:ext cx="880639" cy="3633699"/>
          </a:xfrm>
          <a:custGeom>
            <a:avLst/>
            <a:gdLst>
              <a:gd name="T0" fmla="*/ 191 w 290"/>
              <a:gd name="T1" fmla="*/ 1344 h 1540"/>
              <a:gd name="T2" fmla="*/ 71 w 290"/>
              <a:gd name="T3" fmla="*/ 913 h 1540"/>
              <a:gd name="T4" fmla="*/ 54 w 290"/>
              <a:gd name="T5" fmla="*/ 691 h 1540"/>
              <a:gd name="T6" fmla="*/ 68 w 290"/>
              <a:gd name="T7" fmla="*/ 469 h 1540"/>
              <a:gd name="T8" fmla="*/ 124 w 290"/>
              <a:gd name="T9" fmla="*/ 253 h 1540"/>
              <a:gd name="T10" fmla="*/ 174 w 290"/>
              <a:gd name="T11" fmla="*/ 150 h 1540"/>
              <a:gd name="T12" fmla="*/ 239 w 290"/>
              <a:gd name="T13" fmla="*/ 63 h 1540"/>
              <a:gd name="T14" fmla="*/ 251 w 290"/>
              <a:gd name="T15" fmla="*/ 90 h 1540"/>
              <a:gd name="T16" fmla="*/ 286 w 290"/>
              <a:gd name="T17" fmla="*/ 0 h 1540"/>
              <a:gd name="T18" fmla="*/ 196 w 290"/>
              <a:gd name="T19" fmla="*/ 38 h 1540"/>
              <a:gd name="T20" fmla="*/ 223 w 290"/>
              <a:gd name="T21" fmla="*/ 48 h 1540"/>
              <a:gd name="T22" fmla="*/ 149 w 290"/>
              <a:gd name="T23" fmla="*/ 139 h 1540"/>
              <a:gd name="T24" fmla="*/ 93 w 290"/>
              <a:gd name="T25" fmla="*/ 243 h 1540"/>
              <a:gd name="T26" fmla="*/ 27 w 290"/>
              <a:gd name="T27" fmla="*/ 464 h 1540"/>
              <a:gd name="T28" fmla="*/ 3 w 290"/>
              <a:gd name="T29" fmla="*/ 691 h 1540"/>
              <a:gd name="T30" fmla="*/ 11 w 290"/>
              <a:gd name="T31" fmla="*/ 919 h 1540"/>
              <a:gd name="T32" fmla="*/ 155 w 290"/>
              <a:gd name="T33" fmla="*/ 1540 h 1540"/>
              <a:gd name="T34" fmla="*/ 290 w 290"/>
              <a:gd name="T35" fmla="*/ 1540 h 1540"/>
              <a:gd name="T36" fmla="*/ 191 w 290"/>
              <a:gd name="T37" fmla="*/ 1344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0" h="1540">
                <a:moveTo>
                  <a:pt x="191" y="1344"/>
                </a:moveTo>
                <a:cubicBezTo>
                  <a:pt x="132" y="1206"/>
                  <a:pt x="92" y="1061"/>
                  <a:pt x="71" y="913"/>
                </a:cubicBezTo>
                <a:cubicBezTo>
                  <a:pt x="60" y="840"/>
                  <a:pt x="54" y="766"/>
                  <a:pt x="54" y="691"/>
                </a:cubicBezTo>
                <a:cubicBezTo>
                  <a:pt x="53" y="617"/>
                  <a:pt x="57" y="543"/>
                  <a:pt x="68" y="469"/>
                </a:cubicBezTo>
                <a:cubicBezTo>
                  <a:pt x="80" y="396"/>
                  <a:pt x="97" y="323"/>
                  <a:pt x="124" y="253"/>
                </a:cubicBezTo>
                <a:cubicBezTo>
                  <a:pt x="138" y="218"/>
                  <a:pt x="154" y="183"/>
                  <a:pt x="174" y="150"/>
                </a:cubicBezTo>
                <a:cubicBezTo>
                  <a:pt x="192" y="120"/>
                  <a:pt x="214" y="90"/>
                  <a:pt x="239" y="63"/>
                </a:cubicBezTo>
                <a:cubicBezTo>
                  <a:pt x="247" y="75"/>
                  <a:pt x="251" y="90"/>
                  <a:pt x="251" y="90"/>
                </a:cubicBezTo>
                <a:cubicBezTo>
                  <a:pt x="286" y="0"/>
                  <a:pt x="286" y="0"/>
                  <a:pt x="286" y="0"/>
                </a:cubicBezTo>
                <a:cubicBezTo>
                  <a:pt x="196" y="38"/>
                  <a:pt x="196" y="38"/>
                  <a:pt x="196" y="38"/>
                </a:cubicBezTo>
                <a:cubicBezTo>
                  <a:pt x="196" y="38"/>
                  <a:pt x="211" y="41"/>
                  <a:pt x="223" y="48"/>
                </a:cubicBezTo>
                <a:cubicBezTo>
                  <a:pt x="194" y="76"/>
                  <a:pt x="170" y="107"/>
                  <a:pt x="149" y="139"/>
                </a:cubicBezTo>
                <a:cubicBezTo>
                  <a:pt x="127" y="172"/>
                  <a:pt x="109" y="207"/>
                  <a:pt x="93" y="243"/>
                </a:cubicBezTo>
                <a:cubicBezTo>
                  <a:pt x="62" y="315"/>
                  <a:pt x="41" y="389"/>
                  <a:pt x="27" y="464"/>
                </a:cubicBezTo>
                <a:cubicBezTo>
                  <a:pt x="13" y="539"/>
                  <a:pt x="5" y="615"/>
                  <a:pt x="3" y="691"/>
                </a:cubicBezTo>
                <a:cubicBezTo>
                  <a:pt x="0" y="767"/>
                  <a:pt x="3" y="843"/>
                  <a:pt x="11" y="919"/>
                </a:cubicBezTo>
                <a:cubicBezTo>
                  <a:pt x="27" y="1070"/>
                  <a:pt x="84" y="1330"/>
                  <a:pt x="155" y="1540"/>
                </a:cubicBezTo>
                <a:cubicBezTo>
                  <a:pt x="290" y="1540"/>
                  <a:pt x="290" y="1540"/>
                  <a:pt x="290" y="1540"/>
                </a:cubicBezTo>
                <a:cubicBezTo>
                  <a:pt x="252" y="1477"/>
                  <a:pt x="219" y="1411"/>
                  <a:pt x="191" y="1344"/>
                </a:cubicBezTo>
                <a:close/>
              </a:path>
            </a:pathLst>
          </a:custGeom>
          <a:solidFill>
            <a:schemeClr val="accent2"/>
          </a:solidFill>
          <a:ln>
            <a:noFill/>
          </a:ln>
        </p:spPr>
        <p:txBody>
          <a:bodyPr vert="horz" wrap="square" lIns="121908" tIns="60954" rIns="121908" bIns="60954" numCol="1" anchor="t" anchorCtr="0" compatLnSpc="1"/>
          <a:lstStyle/>
          <a:p>
            <a:pPr defTabSz="1218565">
              <a:defRPr/>
            </a:pPr>
            <a:endParaRPr lang="zh-CN" altLang="en-US" sz="2400" kern="0">
              <a:solidFill>
                <a:sysClr val="windowText" lastClr="000000"/>
              </a:solidFill>
            </a:endParaRPr>
          </a:p>
        </p:txBody>
      </p:sp>
      <p:sp>
        <p:nvSpPr>
          <p:cNvPr id="7" name="Freeform 17"/>
          <p:cNvSpPr/>
          <p:nvPr/>
        </p:nvSpPr>
        <p:spPr bwMode="auto">
          <a:xfrm>
            <a:off x="5156196" y="2411526"/>
            <a:ext cx="882994" cy="3633699"/>
          </a:xfrm>
          <a:custGeom>
            <a:avLst/>
            <a:gdLst>
              <a:gd name="T0" fmla="*/ 288 w 290"/>
              <a:gd name="T1" fmla="*/ 691 h 1540"/>
              <a:gd name="T2" fmla="*/ 263 w 290"/>
              <a:gd name="T3" fmla="*/ 464 h 1540"/>
              <a:gd name="T4" fmla="*/ 197 w 290"/>
              <a:gd name="T5" fmla="*/ 243 h 1540"/>
              <a:gd name="T6" fmla="*/ 141 w 290"/>
              <a:gd name="T7" fmla="*/ 139 h 1540"/>
              <a:gd name="T8" fmla="*/ 67 w 290"/>
              <a:gd name="T9" fmla="*/ 48 h 1540"/>
              <a:gd name="T10" fmla="*/ 94 w 290"/>
              <a:gd name="T11" fmla="*/ 38 h 1540"/>
              <a:gd name="T12" fmla="*/ 4 w 290"/>
              <a:gd name="T13" fmla="*/ 0 h 1540"/>
              <a:gd name="T14" fmla="*/ 39 w 290"/>
              <a:gd name="T15" fmla="*/ 90 h 1540"/>
              <a:gd name="T16" fmla="*/ 51 w 290"/>
              <a:gd name="T17" fmla="*/ 63 h 1540"/>
              <a:gd name="T18" fmla="*/ 116 w 290"/>
              <a:gd name="T19" fmla="*/ 150 h 1540"/>
              <a:gd name="T20" fmla="*/ 166 w 290"/>
              <a:gd name="T21" fmla="*/ 253 h 1540"/>
              <a:gd name="T22" fmla="*/ 222 w 290"/>
              <a:gd name="T23" fmla="*/ 469 h 1540"/>
              <a:gd name="T24" fmla="*/ 237 w 290"/>
              <a:gd name="T25" fmla="*/ 691 h 1540"/>
              <a:gd name="T26" fmla="*/ 220 w 290"/>
              <a:gd name="T27" fmla="*/ 913 h 1540"/>
              <a:gd name="T28" fmla="*/ 100 w 290"/>
              <a:gd name="T29" fmla="*/ 1344 h 1540"/>
              <a:gd name="T30" fmla="*/ 0 w 290"/>
              <a:gd name="T31" fmla="*/ 1540 h 1540"/>
              <a:gd name="T32" fmla="*/ 139 w 290"/>
              <a:gd name="T33" fmla="*/ 1540 h 1540"/>
              <a:gd name="T34" fmla="*/ 279 w 290"/>
              <a:gd name="T35" fmla="*/ 919 h 1540"/>
              <a:gd name="T36" fmla="*/ 288 w 290"/>
              <a:gd name="T37" fmla="*/ 69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0" h="1540">
                <a:moveTo>
                  <a:pt x="288" y="691"/>
                </a:moveTo>
                <a:cubicBezTo>
                  <a:pt x="285" y="615"/>
                  <a:pt x="278" y="539"/>
                  <a:pt x="263" y="464"/>
                </a:cubicBezTo>
                <a:cubicBezTo>
                  <a:pt x="249" y="389"/>
                  <a:pt x="228" y="315"/>
                  <a:pt x="197" y="243"/>
                </a:cubicBezTo>
                <a:cubicBezTo>
                  <a:pt x="181" y="207"/>
                  <a:pt x="163" y="172"/>
                  <a:pt x="141" y="139"/>
                </a:cubicBezTo>
                <a:cubicBezTo>
                  <a:pt x="120" y="107"/>
                  <a:pt x="96" y="76"/>
                  <a:pt x="67" y="48"/>
                </a:cubicBezTo>
                <a:cubicBezTo>
                  <a:pt x="79" y="41"/>
                  <a:pt x="94" y="38"/>
                  <a:pt x="94" y="38"/>
                </a:cubicBezTo>
                <a:cubicBezTo>
                  <a:pt x="4" y="0"/>
                  <a:pt x="4" y="0"/>
                  <a:pt x="4" y="0"/>
                </a:cubicBezTo>
                <a:cubicBezTo>
                  <a:pt x="39" y="90"/>
                  <a:pt x="39" y="90"/>
                  <a:pt x="39" y="90"/>
                </a:cubicBezTo>
                <a:cubicBezTo>
                  <a:pt x="39" y="90"/>
                  <a:pt x="43" y="75"/>
                  <a:pt x="51" y="63"/>
                </a:cubicBezTo>
                <a:cubicBezTo>
                  <a:pt x="76" y="90"/>
                  <a:pt x="98" y="120"/>
                  <a:pt x="116" y="150"/>
                </a:cubicBezTo>
                <a:cubicBezTo>
                  <a:pt x="136" y="183"/>
                  <a:pt x="152" y="218"/>
                  <a:pt x="166" y="253"/>
                </a:cubicBezTo>
                <a:cubicBezTo>
                  <a:pt x="193" y="323"/>
                  <a:pt x="211" y="396"/>
                  <a:pt x="222" y="469"/>
                </a:cubicBezTo>
                <a:cubicBezTo>
                  <a:pt x="233" y="543"/>
                  <a:pt x="237" y="617"/>
                  <a:pt x="237" y="691"/>
                </a:cubicBezTo>
                <a:cubicBezTo>
                  <a:pt x="236" y="766"/>
                  <a:pt x="230" y="840"/>
                  <a:pt x="220" y="913"/>
                </a:cubicBezTo>
                <a:cubicBezTo>
                  <a:pt x="198" y="1061"/>
                  <a:pt x="159" y="1206"/>
                  <a:pt x="100" y="1344"/>
                </a:cubicBezTo>
                <a:cubicBezTo>
                  <a:pt x="71" y="1411"/>
                  <a:pt x="38" y="1477"/>
                  <a:pt x="0" y="1540"/>
                </a:cubicBezTo>
                <a:cubicBezTo>
                  <a:pt x="139" y="1540"/>
                  <a:pt x="139" y="1540"/>
                  <a:pt x="139" y="1540"/>
                </a:cubicBezTo>
                <a:cubicBezTo>
                  <a:pt x="223" y="1332"/>
                  <a:pt x="263" y="1070"/>
                  <a:pt x="279" y="919"/>
                </a:cubicBezTo>
                <a:cubicBezTo>
                  <a:pt x="287" y="843"/>
                  <a:pt x="290" y="767"/>
                  <a:pt x="288" y="691"/>
                </a:cubicBezTo>
                <a:close/>
              </a:path>
            </a:pathLst>
          </a:custGeom>
          <a:solidFill>
            <a:schemeClr val="accent2"/>
          </a:solidFill>
          <a:ln>
            <a:noFill/>
          </a:ln>
        </p:spPr>
        <p:txBody>
          <a:bodyPr vert="horz" wrap="square" lIns="121908" tIns="60954" rIns="121908" bIns="60954" numCol="1" anchor="t" anchorCtr="0" compatLnSpc="1"/>
          <a:lstStyle/>
          <a:p>
            <a:pPr defTabSz="1218565">
              <a:defRPr/>
            </a:pPr>
            <a:endParaRPr lang="zh-CN" altLang="en-US" sz="2400" kern="0">
              <a:solidFill>
                <a:sysClr val="windowText" lastClr="000000"/>
              </a:solidFill>
            </a:endParaRPr>
          </a:p>
        </p:txBody>
      </p:sp>
      <p:grpSp>
        <p:nvGrpSpPr>
          <p:cNvPr id="8" name="Group 20"/>
          <p:cNvGrpSpPr>
            <a:grpSpLocks noChangeAspect="1"/>
          </p:cNvGrpSpPr>
          <p:nvPr/>
        </p:nvGrpSpPr>
        <p:grpSpPr bwMode="auto">
          <a:xfrm>
            <a:off x="5011510" y="4733752"/>
            <a:ext cx="2283547" cy="1526392"/>
            <a:chOff x="826" y="1479"/>
            <a:chExt cx="605" cy="643"/>
          </a:xfrm>
        </p:grpSpPr>
        <p:sp>
          <p:nvSpPr>
            <p:cNvPr id="9" name="AutoShape 19"/>
            <p:cNvSpPr>
              <a:spLocks noChangeAspect="1" noChangeArrowheads="1" noTextEdit="1"/>
            </p:cNvSpPr>
            <p:nvPr/>
          </p:nvSpPr>
          <p:spPr bwMode="auto">
            <a:xfrm>
              <a:off x="826" y="1497"/>
              <a:ext cx="605" cy="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pPr defTabSz="1218565">
                <a:defRPr/>
              </a:pPr>
              <a:endParaRPr lang="zh-CN" altLang="en-US" sz="2400" kern="0">
                <a:solidFill>
                  <a:sysClr val="windowText" lastClr="000000"/>
                </a:solidFill>
              </a:endParaRPr>
            </a:p>
          </p:txBody>
        </p:sp>
        <p:sp>
          <p:nvSpPr>
            <p:cNvPr id="10" name="Freeform 22"/>
            <p:cNvSpPr/>
            <p:nvPr/>
          </p:nvSpPr>
          <p:spPr bwMode="auto">
            <a:xfrm>
              <a:off x="886" y="1479"/>
              <a:ext cx="491" cy="491"/>
            </a:xfrm>
            <a:custGeom>
              <a:avLst/>
              <a:gdLst>
                <a:gd name="T0" fmla="*/ 41 w 73"/>
                <a:gd name="T1" fmla="*/ 7 h 73"/>
                <a:gd name="T2" fmla="*/ 41 w 73"/>
                <a:gd name="T3" fmla="*/ 24 h 73"/>
                <a:gd name="T4" fmla="*/ 41 w 73"/>
                <a:gd name="T5" fmla="*/ 24 h 73"/>
                <a:gd name="T6" fmla="*/ 72 w 73"/>
                <a:gd name="T7" fmla="*/ 41 h 73"/>
                <a:gd name="T8" fmla="*/ 73 w 73"/>
                <a:gd name="T9" fmla="*/ 42 h 73"/>
                <a:gd name="T10" fmla="*/ 73 w 73"/>
                <a:gd name="T11" fmla="*/ 42 h 73"/>
                <a:gd name="T12" fmla="*/ 73 w 73"/>
                <a:gd name="T13" fmla="*/ 47 h 73"/>
                <a:gd name="T14" fmla="*/ 71 w 73"/>
                <a:gd name="T15" fmla="*/ 48 h 73"/>
                <a:gd name="T16" fmla="*/ 71 w 73"/>
                <a:gd name="T17" fmla="*/ 48 h 73"/>
                <a:gd name="T18" fmla="*/ 41 w 73"/>
                <a:gd name="T19" fmla="*/ 41 h 73"/>
                <a:gd name="T20" fmla="*/ 41 w 73"/>
                <a:gd name="T21" fmla="*/ 61 h 73"/>
                <a:gd name="T22" fmla="*/ 48 w 73"/>
                <a:gd name="T23" fmla="*/ 67 h 73"/>
                <a:gd name="T24" fmla="*/ 49 w 73"/>
                <a:gd name="T25" fmla="*/ 68 h 73"/>
                <a:gd name="T26" fmla="*/ 49 w 73"/>
                <a:gd name="T27" fmla="*/ 68 h 73"/>
                <a:gd name="T28" fmla="*/ 49 w 73"/>
                <a:gd name="T29" fmla="*/ 71 h 73"/>
                <a:gd name="T30" fmla="*/ 48 w 73"/>
                <a:gd name="T31" fmla="*/ 73 h 73"/>
                <a:gd name="T32" fmla="*/ 47 w 73"/>
                <a:gd name="T33" fmla="*/ 72 h 73"/>
                <a:gd name="T34" fmla="*/ 38 w 73"/>
                <a:gd name="T35" fmla="*/ 69 h 73"/>
                <a:gd name="T36" fmla="*/ 36 w 73"/>
                <a:gd name="T37" fmla="*/ 69 h 73"/>
                <a:gd name="T38" fmla="*/ 36 w 73"/>
                <a:gd name="T39" fmla="*/ 69 h 73"/>
                <a:gd name="T40" fmla="*/ 35 w 73"/>
                <a:gd name="T41" fmla="*/ 69 h 73"/>
                <a:gd name="T42" fmla="*/ 25 w 73"/>
                <a:gd name="T43" fmla="*/ 72 h 73"/>
                <a:gd name="T44" fmla="*/ 25 w 73"/>
                <a:gd name="T45" fmla="*/ 73 h 73"/>
                <a:gd name="T46" fmla="*/ 24 w 73"/>
                <a:gd name="T47" fmla="*/ 71 h 73"/>
                <a:gd name="T48" fmla="*/ 24 w 73"/>
                <a:gd name="T49" fmla="*/ 68 h 73"/>
                <a:gd name="T50" fmla="*/ 24 w 73"/>
                <a:gd name="T51" fmla="*/ 68 h 73"/>
                <a:gd name="T52" fmla="*/ 24 w 73"/>
                <a:gd name="T53" fmla="*/ 67 h 73"/>
                <a:gd name="T54" fmla="*/ 32 w 73"/>
                <a:gd name="T55" fmla="*/ 61 h 73"/>
                <a:gd name="T56" fmla="*/ 32 w 73"/>
                <a:gd name="T57" fmla="*/ 41 h 73"/>
                <a:gd name="T58" fmla="*/ 1 w 73"/>
                <a:gd name="T59" fmla="*/ 48 h 73"/>
                <a:gd name="T60" fmla="*/ 1 w 73"/>
                <a:gd name="T61" fmla="*/ 48 h 73"/>
                <a:gd name="T62" fmla="*/ 0 w 73"/>
                <a:gd name="T63" fmla="*/ 47 h 73"/>
                <a:gd name="T64" fmla="*/ 0 w 73"/>
                <a:gd name="T65" fmla="*/ 42 h 73"/>
                <a:gd name="T66" fmla="*/ 0 w 73"/>
                <a:gd name="T67" fmla="*/ 42 h 73"/>
                <a:gd name="T68" fmla="*/ 1 w 73"/>
                <a:gd name="T69" fmla="*/ 41 h 73"/>
                <a:gd name="T70" fmla="*/ 31 w 73"/>
                <a:gd name="T71" fmla="*/ 24 h 73"/>
                <a:gd name="T72" fmla="*/ 32 w 73"/>
                <a:gd name="T73" fmla="*/ 24 h 73"/>
                <a:gd name="T74" fmla="*/ 32 w 73"/>
                <a:gd name="T75" fmla="*/ 7 h 73"/>
                <a:gd name="T76" fmla="*/ 36 w 73"/>
                <a:gd name="T77" fmla="*/ 0 h 73"/>
                <a:gd name="T78" fmla="*/ 41 w 73"/>
                <a:gd name="T79"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41" y="7"/>
                  </a:moveTo>
                  <a:cubicBezTo>
                    <a:pt x="41" y="24"/>
                    <a:pt x="41" y="24"/>
                    <a:pt x="41" y="24"/>
                  </a:cubicBezTo>
                  <a:cubicBezTo>
                    <a:pt x="41" y="24"/>
                    <a:pt x="41" y="24"/>
                    <a:pt x="41" y="24"/>
                  </a:cubicBezTo>
                  <a:cubicBezTo>
                    <a:pt x="72" y="41"/>
                    <a:pt x="72" y="41"/>
                    <a:pt x="72" y="41"/>
                  </a:cubicBezTo>
                  <a:cubicBezTo>
                    <a:pt x="72" y="41"/>
                    <a:pt x="73" y="42"/>
                    <a:pt x="73" y="42"/>
                  </a:cubicBezTo>
                  <a:cubicBezTo>
                    <a:pt x="73" y="42"/>
                    <a:pt x="73" y="42"/>
                    <a:pt x="73" y="42"/>
                  </a:cubicBezTo>
                  <a:cubicBezTo>
                    <a:pt x="73" y="47"/>
                    <a:pt x="73" y="47"/>
                    <a:pt x="73" y="47"/>
                  </a:cubicBezTo>
                  <a:cubicBezTo>
                    <a:pt x="73" y="47"/>
                    <a:pt x="72" y="48"/>
                    <a:pt x="71" y="48"/>
                  </a:cubicBezTo>
                  <a:cubicBezTo>
                    <a:pt x="71" y="48"/>
                    <a:pt x="71" y="48"/>
                    <a:pt x="71" y="48"/>
                  </a:cubicBezTo>
                  <a:cubicBezTo>
                    <a:pt x="41" y="41"/>
                    <a:pt x="41" y="41"/>
                    <a:pt x="41" y="41"/>
                  </a:cubicBezTo>
                  <a:cubicBezTo>
                    <a:pt x="41" y="61"/>
                    <a:pt x="41" y="61"/>
                    <a:pt x="41" y="61"/>
                  </a:cubicBezTo>
                  <a:cubicBezTo>
                    <a:pt x="48" y="67"/>
                    <a:pt x="48" y="67"/>
                    <a:pt x="48" y="67"/>
                  </a:cubicBezTo>
                  <a:cubicBezTo>
                    <a:pt x="49" y="67"/>
                    <a:pt x="49" y="68"/>
                    <a:pt x="49" y="68"/>
                  </a:cubicBezTo>
                  <a:cubicBezTo>
                    <a:pt x="49" y="68"/>
                    <a:pt x="49" y="68"/>
                    <a:pt x="49" y="68"/>
                  </a:cubicBezTo>
                  <a:cubicBezTo>
                    <a:pt x="49" y="71"/>
                    <a:pt x="49" y="71"/>
                    <a:pt x="49" y="71"/>
                  </a:cubicBezTo>
                  <a:cubicBezTo>
                    <a:pt x="49" y="72"/>
                    <a:pt x="48" y="73"/>
                    <a:pt x="48" y="73"/>
                  </a:cubicBezTo>
                  <a:cubicBezTo>
                    <a:pt x="47" y="73"/>
                    <a:pt x="47" y="73"/>
                    <a:pt x="47" y="72"/>
                  </a:cubicBezTo>
                  <a:cubicBezTo>
                    <a:pt x="38" y="69"/>
                    <a:pt x="38" y="69"/>
                    <a:pt x="38" y="69"/>
                  </a:cubicBezTo>
                  <a:cubicBezTo>
                    <a:pt x="37" y="69"/>
                    <a:pt x="37" y="69"/>
                    <a:pt x="36" y="69"/>
                  </a:cubicBezTo>
                  <a:cubicBezTo>
                    <a:pt x="36" y="69"/>
                    <a:pt x="36" y="69"/>
                    <a:pt x="36" y="69"/>
                  </a:cubicBezTo>
                  <a:cubicBezTo>
                    <a:pt x="36" y="69"/>
                    <a:pt x="35" y="69"/>
                    <a:pt x="35" y="69"/>
                  </a:cubicBezTo>
                  <a:cubicBezTo>
                    <a:pt x="25" y="72"/>
                    <a:pt x="25" y="72"/>
                    <a:pt x="25" y="72"/>
                  </a:cubicBezTo>
                  <a:cubicBezTo>
                    <a:pt x="25" y="73"/>
                    <a:pt x="25" y="73"/>
                    <a:pt x="25" y="73"/>
                  </a:cubicBezTo>
                  <a:cubicBezTo>
                    <a:pt x="24" y="73"/>
                    <a:pt x="24" y="72"/>
                    <a:pt x="24" y="71"/>
                  </a:cubicBezTo>
                  <a:cubicBezTo>
                    <a:pt x="24" y="68"/>
                    <a:pt x="24" y="68"/>
                    <a:pt x="24" y="68"/>
                  </a:cubicBezTo>
                  <a:cubicBezTo>
                    <a:pt x="24" y="68"/>
                    <a:pt x="24" y="68"/>
                    <a:pt x="24" y="68"/>
                  </a:cubicBezTo>
                  <a:cubicBezTo>
                    <a:pt x="24" y="68"/>
                    <a:pt x="24" y="67"/>
                    <a:pt x="24" y="67"/>
                  </a:cubicBezTo>
                  <a:cubicBezTo>
                    <a:pt x="32" y="61"/>
                    <a:pt x="32" y="61"/>
                    <a:pt x="32" y="61"/>
                  </a:cubicBezTo>
                  <a:cubicBezTo>
                    <a:pt x="32" y="41"/>
                    <a:pt x="32" y="41"/>
                    <a:pt x="32" y="41"/>
                  </a:cubicBezTo>
                  <a:cubicBezTo>
                    <a:pt x="1" y="48"/>
                    <a:pt x="1" y="48"/>
                    <a:pt x="1" y="48"/>
                  </a:cubicBezTo>
                  <a:cubicBezTo>
                    <a:pt x="1" y="48"/>
                    <a:pt x="1" y="48"/>
                    <a:pt x="1" y="48"/>
                  </a:cubicBezTo>
                  <a:cubicBezTo>
                    <a:pt x="0" y="48"/>
                    <a:pt x="0" y="47"/>
                    <a:pt x="0" y="47"/>
                  </a:cubicBezTo>
                  <a:cubicBezTo>
                    <a:pt x="0" y="42"/>
                    <a:pt x="0" y="42"/>
                    <a:pt x="0" y="42"/>
                  </a:cubicBezTo>
                  <a:cubicBezTo>
                    <a:pt x="0" y="42"/>
                    <a:pt x="0" y="42"/>
                    <a:pt x="0" y="42"/>
                  </a:cubicBezTo>
                  <a:cubicBezTo>
                    <a:pt x="0" y="42"/>
                    <a:pt x="0" y="41"/>
                    <a:pt x="1" y="41"/>
                  </a:cubicBezTo>
                  <a:cubicBezTo>
                    <a:pt x="31" y="24"/>
                    <a:pt x="31" y="24"/>
                    <a:pt x="31" y="24"/>
                  </a:cubicBezTo>
                  <a:cubicBezTo>
                    <a:pt x="31" y="24"/>
                    <a:pt x="32" y="24"/>
                    <a:pt x="32" y="24"/>
                  </a:cubicBezTo>
                  <a:cubicBezTo>
                    <a:pt x="32" y="7"/>
                    <a:pt x="32" y="7"/>
                    <a:pt x="32" y="7"/>
                  </a:cubicBezTo>
                  <a:cubicBezTo>
                    <a:pt x="32" y="2"/>
                    <a:pt x="34" y="0"/>
                    <a:pt x="36" y="0"/>
                  </a:cubicBezTo>
                  <a:cubicBezTo>
                    <a:pt x="39" y="0"/>
                    <a:pt x="41" y="2"/>
                    <a:pt x="41" y="7"/>
                  </a:cubicBezTo>
                  <a:close/>
                </a:path>
              </a:pathLst>
            </a:custGeom>
            <a:solidFill>
              <a:schemeClr val="tx1">
                <a:lumMod val="85000"/>
                <a:lumOff val="15000"/>
              </a:schemeClr>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pPr defTabSz="1218565">
                <a:defRPr/>
              </a:pPr>
              <a:endParaRPr lang="zh-CN" altLang="en-US" sz="2400" kern="0">
                <a:solidFill>
                  <a:sysClr val="windowText" lastClr="000000"/>
                </a:solidFill>
              </a:endParaRPr>
            </a:p>
          </p:txBody>
        </p:sp>
      </p:grpSp>
      <p:grpSp>
        <p:nvGrpSpPr>
          <p:cNvPr id="11" name="组合 10"/>
          <p:cNvGrpSpPr/>
          <p:nvPr/>
        </p:nvGrpSpPr>
        <p:grpSpPr>
          <a:xfrm>
            <a:off x="4983471" y="1270695"/>
            <a:ext cx="3416487" cy="684802"/>
            <a:chOff x="3737493" y="859957"/>
            <a:chExt cx="2562699" cy="513602"/>
          </a:xfrm>
        </p:grpSpPr>
        <p:sp>
          <p:nvSpPr>
            <p:cNvPr id="12" name="Freeform 27"/>
            <p:cNvSpPr/>
            <p:nvPr/>
          </p:nvSpPr>
          <p:spPr bwMode="auto">
            <a:xfrm>
              <a:off x="3737493" y="900459"/>
              <a:ext cx="379393" cy="378690"/>
            </a:xfrm>
            <a:custGeom>
              <a:avLst/>
              <a:gdLst>
                <a:gd name="T0" fmla="*/ 41 w 73"/>
                <a:gd name="T1" fmla="*/ 7 h 73"/>
                <a:gd name="T2" fmla="*/ 41 w 73"/>
                <a:gd name="T3" fmla="*/ 24 h 73"/>
                <a:gd name="T4" fmla="*/ 41 w 73"/>
                <a:gd name="T5" fmla="*/ 24 h 73"/>
                <a:gd name="T6" fmla="*/ 72 w 73"/>
                <a:gd name="T7" fmla="*/ 41 h 73"/>
                <a:gd name="T8" fmla="*/ 73 w 73"/>
                <a:gd name="T9" fmla="*/ 42 h 73"/>
                <a:gd name="T10" fmla="*/ 73 w 73"/>
                <a:gd name="T11" fmla="*/ 42 h 73"/>
                <a:gd name="T12" fmla="*/ 73 w 73"/>
                <a:gd name="T13" fmla="*/ 47 h 73"/>
                <a:gd name="T14" fmla="*/ 71 w 73"/>
                <a:gd name="T15" fmla="*/ 48 h 73"/>
                <a:gd name="T16" fmla="*/ 71 w 73"/>
                <a:gd name="T17" fmla="*/ 48 h 73"/>
                <a:gd name="T18" fmla="*/ 41 w 73"/>
                <a:gd name="T19" fmla="*/ 41 h 73"/>
                <a:gd name="T20" fmla="*/ 41 w 73"/>
                <a:gd name="T21" fmla="*/ 61 h 73"/>
                <a:gd name="T22" fmla="*/ 48 w 73"/>
                <a:gd name="T23" fmla="*/ 67 h 73"/>
                <a:gd name="T24" fmla="*/ 49 w 73"/>
                <a:gd name="T25" fmla="*/ 68 h 73"/>
                <a:gd name="T26" fmla="*/ 49 w 73"/>
                <a:gd name="T27" fmla="*/ 68 h 73"/>
                <a:gd name="T28" fmla="*/ 49 w 73"/>
                <a:gd name="T29" fmla="*/ 71 h 73"/>
                <a:gd name="T30" fmla="*/ 48 w 73"/>
                <a:gd name="T31" fmla="*/ 73 h 73"/>
                <a:gd name="T32" fmla="*/ 47 w 73"/>
                <a:gd name="T33" fmla="*/ 72 h 73"/>
                <a:gd name="T34" fmla="*/ 38 w 73"/>
                <a:gd name="T35" fmla="*/ 69 h 73"/>
                <a:gd name="T36" fmla="*/ 36 w 73"/>
                <a:gd name="T37" fmla="*/ 69 h 73"/>
                <a:gd name="T38" fmla="*/ 36 w 73"/>
                <a:gd name="T39" fmla="*/ 69 h 73"/>
                <a:gd name="T40" fmla="*/ 35 w 73"/>
                <a:gd name="T41" fmla="*/ 69 h 73"/>
                <a:gd name="T42" fmla="*/ 25 w 73"/>
                <a:gd name="T43" fmla="*/ 72 h 73"/>
                <a:gd name="T44" fmla="*/ 25 w 73"/>
                <a:gd name="T45" fmla="*/ 73 h 73"/>
                <a:gd name="T46" fmla="*/ 24 w 73"/>
                <a:gd name="T47" fmla="*/ 71 h 73"/>
                <a:gd name="T48" fmla="*/ 24 w 73"/>
                <a:gd name="T49" fmla="*/ 68 h 73"/>
                <a:gd name="T50" fmla="*/ 24 w 73"/>
                <a:gd name="T51" fmla="*/ 68 h 73"/>
                <a:gd name="T52" fmla="*/ 24 w 73"/>
                <a:gd name="T53" fmla="*/ 67 h 73"/>
                <a:gd name="T54" fmla="*/ 32 w 73"/>
                <a:gd name="T55" fmla="*/ 61 h 73"/>
                <a:gd name="T56" fmla="*/ 32 w 73"/>
                <a:gd name="T57" fmla="*/ 41 h 73"/>
                <a:gd name="T58" fmla="*/ 1 w 73"/>
                <a:gd name="T59" fmla="*/ 48 h 73"/>
                <a:gd name="T60" fmla="*/ 1 w 73"/>
                <a:gd name="T61" fmla="*/ 48 h 73"/>
                <a:gd name="T62" fmla="*/ 0 w 73"/>
                <a:gd name="T63" fmla="*/ 47 h 73"/>
                <a:gd name="T64" fmla="*/ 0 w 73"/>
                <a:gd name="T65" fmla="*/ 42 h 73"/>
                <a:gd name="T66" fmla="*/ 0 w 73"/>
                <a:gd name="T67" fmla="*/ 42 h 73"/>
                <a:gd name="T68" fmla="*/ 1 w 73"/>
                <a:gd name="T69" fmla="*/ 41 h 73"/>
                <a:gd name="T70" fmla="*/ 31 w 73"/>
                <a:gd name="T71" fmla="*/ 24 h 73"/>
                <a:gd name="T72" fmla="*/ 32 w 73"/>
                <a:gd name="T73" fmla="*/ 24 h 73"/>
                <a:gd name="T74" fmla="*/ 32 w 73"/>
                <a:gd name="T75" fmla="*/ 7 h 73"/>
                <a:gd name="T76" fmla="*/ 36 w 73"/>
                <a:gd name="T77" fmla="*/ 0 h 73"/>
                <a:gd name="T78" fmla="*/ 41 w 73"/>
                <a:gd name="T79"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41" y="7"/>
                  </a:moveTo>
                  <a:cubicBezTo>
                    <a:pt x="41" y="24"/>
                    <a:pt x="41" y="24"/>
                    <a:pt x="41" y="24"/>
                  </a:cubicBezTo>
                  <a:cubicBezTo>
                    <a:pt x="41" y="24"/>
                    <a:pt x="41" y="24"/>
                    <a:pt x="41" y="24"/>
                  </a:cubicBezTo>
                  <a:cubicBezTo>
                    <a:pt x="72" y="41"/>
                    <a:pt x="72" y="41"/>
                    <a:pt x="72" y="41"/>
                  </a:cubicBezTo>
                  <a:cubicBezTo>
                    <a:pt x="72" y="41"/>
                    <a:pt x="73" y="42"/>
                    <a:pt x="73" y="42"/>
                  </a:cubicBezTo>
                  <a:cubicBezTo>
                    <a:pt x="73" y="42"/>
                    <a:pt x="73" y="42"/>
                    <a:pt x="73" y="42"/>
                  </a:cubicBezTo>
                  <a:cubicBezTo>
                    <a:pt x="73" y="47"/>
                    <a:pt x="73" y="47"/>
                    <a:pt x="73" y="47"/>
                  </a:cubicBezTo>
                  <a:cubicBezTo>
                    <a:pt x="73" y="47"/>
                    <a:pt x="72" y="48"/>
                    <a:pt x="71" y="48"/>
                  </a:cubicBezTo>
                  <a:cubicBezTo>
                    <a:pt x="71" y="48"/>
                    <a:pt x="71" y="48"/>
                    <a:pt x="71" y="48"/>
                  </a:cubicBezTo>
                  <a:cubicBezTo>
                    <a:pt x="41" y="41"/>
                    <a:pt x="41" y="41"/>
                    <a:pt x="41" y="41"/>
                  </a:cubicBezTo>
                  <a:cubicBezTo>
                    <a:pt x="41" y="61"/>
                    <a:pt x="41" y="61"/>
                    <a:pt x="41" y="61"/>
                  </a:cubicBezTo>
                  <a:cubicBezTo>
                    <a:pt x="48" y="67"/>
                    <a:pt x="48" y="67"/>
                    <a:pt x="48" y="67"/>
                  </a:cubicBezTo>
                  <a:cubicBezTo>
                    <a:pt x="49" y="67"/>
                    <a:pt x="49" y="68"/>
                    <a:pt x="49" y="68"/>
                  </a:cubicBezTo>
                  <a:cubicBezTo>
                    <a:pt x="49" y="68"/>
                    <a:pt x="49" y="68"/>
                    <a:pt x="49" y="68"/>
                  </a:cubicBezTo>
                  <a:cubicBezTo>
                    <a:pt x="49" y="71"/>
                    <a:pt x="49" y="71"/>
                    <a:pt x="49" y="71"/>
                  </a:cubicBezTo>
                  <a:cubicBezTo>
                    <a:pt x="49" y="72"/>
                    <a:pt x="48" y="73"/>
                    <a:pt x="48" y="73"/>
                  </a:cubicBezTo>
                  <a:cubicBezTo>
                    <a:pt x="47" y="73"/>
                    <a:pt x="47" y="73"/>
                    <a:pt x="47" y="72"/>
                  </a:cubicBezTo>
                  <a:cubicBezTo>
                    <a:pt x="38" y="69"/>
                    <a:pt x="38" y="69"/>
                    <a:pt x="38" y="69"/>
                  </a:cubicBezTo>
                  <a:cubicBezTo>
                    <a:pt x="37" y="69"/>
                    <a:pt x="37" y="69"/>
                    <a:pt x="36" y="69"/>
                  </a:cubicBezTo>
                  <a:cubicBezTo>
                    <a:pt x="36" y="69"/>
                    <a:pt x="36" y="69"/>
                    <a:pt x="36" y="69"/>
                  </a:cubicBezTo>
                  <a:cubicBezTo>
                    <a:pt x="36" y="69"/>
                    <a:pt x="35" y="69"/>
                    <a:pt x="35" y="69"/>
                  </a:cubicBezTo>
                  <a:cubicBezTo>
                    <a:pt x="25" y="72"/>
                    <a:pt x="25" y="72"/>
                    <a:pt x="25" y="72"/>
                  </a:cubicBezTo>
                  <a:cubicBezTo>
                    <a:pt x="25" y="73"/>
                    <a:pt x="25" y="73"/>
                    <a:pt x="25" y="73"/>
                  </a:cubicBezTo>
                  <a:cubicBezTo>
                    <a:pt x="24" y="73"/>
                    <a:pt x="24" y="72"/>
                    <a:pt x="24" y="71"/>
                  </a:cubicBezTo>
                  <a:cubicBezTo>
                    <a:pt x="24" y="68"/>
                    <a:pt x="24" y="68"/>
                    <a:pt x="24" y="68"/>
                  </a:cubicBezTo>
                  <a:cubicBezTo>
                    <a:pt x="24" y="68"/>
                    <a:pt x="24" y="68"/>
                    <a:pt x="24" y="68"/>
                  </a:cubicBezTo>
                  <a:cubicBezTo>
                    <a:pt x="24" y="68"/>
                    <a:pt x="24" y="67"/>
                    <a:pt x="24" y="67"/>
                  </a:cubicBezTo>
                  <a:cubicBezTo>
                    <a:pt x="32" y="61"/>
                    <a:pt x="32" y="61"/>
                    <a:pt x="32" y="61"/>
                  </a:cubicBezTo>
                  <a:cubicBezTo>
                    <a:pt x="32" y="41"/>
                    <a:pt x="32" y="41"/>
                    <a:pt x="32" y="41"/>
                  </a:cubicBezTo>
                  <a:cubicBezTo>
                    <a:pt x="1" y="48"/>
                    <a:pt x="1" y="48"/>
                    <a:pt x="1" y="48"/>
                  </a:cubicBezTo>
                  <a:cubicBezTo>
                    <a:pt x="1" y="48"/>
                    <a:pt x="1" y="48"/>
                    <a:pt x="1" y="48"/>
                  </a:cubicBezTo>
                  <a:cubicBezTo>
                    <a:pt x="0" y="48"/>
                    <a:pt x="0" y="47"/>
                    <a:pt x="0" y="47"/>
                  </a:cubicBezTo>
                  <a:cubicBezTo>
                    <a:pt x="0" y="42"/>
                    <a:pt x="0" y="42"/>
                    <a:pt x="0" y="42"/>
                  </a:cubicBezTo>
                  <a:cubicBezTo>
                    <a:pt x="0" y="42"/>
                    <a:pt x="0" y="42"/>
                    <a:pt x="0" y="42"/>
                  </a:cubicBezTo>
                  <a:cubicBezTo>
                    <a:pt x="0" y="42"/>
                    <a:pt x="0" y="41"/>
                    <a:pt x="1" y="41"/>
                  </a:cubicBezTo>
                  <a:cubicBezTo>
                    <a:pt x="31" y="24"/>
                    <a:pt x="31" y="24"/>
                    <a:pt x="31" y="24"/>
                  </a:cubicBezTo>
                  <a:cubicBezTo>
                    <a:pt x="31" y="24"/>
                    <a:pt x="32" y="24"/>
                    <a:pt x="32" y="24"/>
                  </a:cubicBezTo>
                  <a:cubicBezTo>
                    <a:pt x="32" y="7"/>
                    <a:pt x="32" y="7"/>
                    <a:pt x="32" y="7"/>
                  </a:cubicBezTo>
                  <a:cubicBezTo>
                    <a:pt x="32" y="2"/>
                    <a:pt x="34" y="0"/>
                    <a:pt x="36" y="0"/>
                  </a:cubicBezTo>
                  <a:cubicBezTo>
                    <a:pt x="39" y="0"/>
                    <a:pt x="41" y="2"/>
                    <a:pt x="41" y="7"/>
                  </a:cubicBezTo>
                  <a:close/>
                </a:path>
              </a:pathLst>
            </a:custGeom>
            <a:solidFill>
              <a:schemeClr val="accent1"/>
            </a:solidFill>
            <a:ln>
              <a:noFill/>
            </a:ln>
          </p:spPr>
          <p:txBody>
            <a:bodyPr vert="horz" wrap="square" lIns="91440" tIns="45720" rIns="91440" bIns="45720" numCol="1" anchor="t" anchorCtr="0" compatLnSpc="1"/>
            <a:lstStyle/>
            <a:p>
              <a:pPr defTabSz="1218565">
                <a:defRPr/>
              </a:pPr>
              <a:endParaRPr lang="zh-CN" altLang="en-US" sz="2400" kern="0">
                <a:solidFill>
                  <a:schemeClr val="tx1">
                    <a:lumMod val="50000"/>
                    <a:lumOff val="50000"/>
                  </a:schemeClr>
                </a:solidFill>
              </a:endParaRPr>
            </a:p>
          </p:txBody>
        </p:sp>
        <p:sp>
          <p:nvSpPr>
            <p:cNvPr id="13" name="文本框 8"/>
            <p:cNvSpPr txBox="1"/>
            <p:nvPr/>
          </p:nvSpPr>
          <p:spPr>
            <a:xfrm>
              <a:off x="4136225" y="859957"/>
              <a:ext cx="2163967" cy="513602"/>
            </a:xfrm>
            <a:prstGeom prst="rect">
              <a:avLst/>
            </a:prstGeom>
            <a:noFill/>
          </p:spPr>
          <p:txBody>
            <a:bodyPr wrap="square" lIns="68580" tIns="34290" rIns="68580" bIns="3429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400" dirty="0">
                  <a:solidFill>
                    <a:schemeClr val="tx1">
                      <a:lumMod val="50000"/>
                      <a:lumOff val="50000"/>
                    </a:schemeClr>
                  </a:solidFill>
                  <a:latin typeface="微软雅黑" panose="020B0503020204020204" pitchFamily="34" charset="-122"/>
                  <a:ea typeface="微软雅黑" panose="020B0503020204020204" pitchFamily="34" charset="-122"/>
                </a:rPr>
                <a:t>请在此输入你的标题</a:t>
              </a:r>
              <a:endParaRPr lang="en-US" altLang="zh-CN" sz="1400" dirty="0">
                <a:solidFill>
                  <a:schemeClr val="tx1">
                    <a:lumMod val="50000"/>
                    <a:lumOff val="50000"/>
                  </a:schemeClr>
                </a:solidFill>
                <a:latin typeface="微软雅黑" panose="020B0503020204020204" pitchFamily="34" charset="-122"/>
                <a:ea typeface="微软雅黑" panose="020B0503020204020204" pitchFamily="34" charset="-122"/>
              </a:endParaRPr>
            </a:p>
            <a:p>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贴或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a:p>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贴或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7981964" y="2682143"/>
            <a:ext cx="3420971" cy="684802"/>
            <a:chOff x="6105855" y="2241082"/>
            <a:chExt cx="2566062" cy="513602"/>
          </a:xfrm>
        </p:grpSpPr>
        <p:sp>
          <p:nvSpPr>
            <p:cNvPr id="15" name="Freeform 27"/>
            <p:cNvSpPr/>
            <p:nvPr/>
          </p:nvSpPr>
          <p:spPr bwMode="auto">
            <a:xfrm>
              <a:off x="6105855" y="2365967"/>
              <a:ext cx="379393" cy="378690"/>
            </a:xfrm>
            <a:custGeom>
              <a:avLst/>
              <a:gdLst>
                <a:gd name="T0" fmla="*/ 41 w 73"/>
                <a:gd name="T1" fmla="*/ 7 h 73"/>
                <a:gd name="T2" fmla="*/ 41 w 73"/>
                <a:gd name="T3" fmla="*/ 24 h 73"/>
                <a:gd name="T4" fmla="*/ 41 w 73"/>
                <a:gd name="T5" fmla="*/ 24 h 73"/>
                <a:gd name="T6" fmla="*/ 72 w 73"/>
                <a:gd name="T7" fmla="*/ 41 h 73"/>
                <a:gd name="T8" fmla="*/ 73 w 73"/>
                <a:gd name="T9" fmla="*/ 42 h 73"/>
                <a:gd name="T10" fmla="*/ 73 w 73"/>
                <a:gd name="T11" fmla="*/ 42 h 73"/>
                <a:gd name="T12" fmla="*/ 73 w 73"/>
                <a:gd name="T13" fmla="*/ 47 h 73"/>
                <a:gd name="T14" fmla="*/ 71 w 73"/>
                <a:gd name="T15" fmla="*/ 48 h 73"/>
                <a:gd name="T16" fmla="*/ 71 w 73"/>
                <a:gd name="T17" fmla="*/ 48 h 73"/>
                <a:gd name="T18" fmla="*/ 41 w 73"/>
                <a:gd name="T19" fmla="*/ 41 h 73"/>
                <a:gd name="T20" fmla="*/ 41 w 73"/>
                <a:gd name="T21" fmla="*/ 61 h 73"/>
                <a:gd name="T22" fmla="*/ 48 w 73"/>
                <a:gd name="T23" fmla="*/ 67 h 73"/>
                <a:gd name="T24" fmla="*/ 49 w 73"/>
                <a:gd name="T25" fmla="*/ 68 h 73"/>
                <a:gd name="T26" fmla="*/ 49 w 73"/>
                <a:gd name="T27" fmla="*/ 68 h 73"/>
                <a:gd name="T28" fmla="*/ 49 w 73"/>
                <a:gd name="T29" fmla="*/ 71 h 73"/>
                <a:gd name="T30" fmla="*/ 48 w 73"/>
                <a:gd name="T31" fmla="*/ 73 h 73"/>
                <a:gd name="T32" fmla="*/ 47 w 73"/>
                <a:gd name="T33" fmla="*/ 72 h 73"/>
                <a:gd name="T34" fmla="*/ 38 w 73"/>
                <a:gd name="T35" fmla="*/ 69 h 73"/>
                <a:gd name="T36" fmla="*/ 36 w 73"/>
                <a:gd name="T37" fmla="*/ 69 h 73"/>
                <a:gd name="T38" fmla="*/ 36 w 73"/>
                <a:gd name="T39" fmla="*/ 69 h 73"/>
                <a:gd name="T40" fmla="*/ 35 w 73"/>
                <a:gd name="T41" fmla="*/ 69 h 73"/>
                <a:gd name="T42" fmla="*/ 25 w 73"/>
                <a:gd name="T43" fmla="*/ 72 h 73"/>
                <a:gd name="T44" fmla="*/ 25 w 73"/>
                <a:gd name="T45" fmla="*/ 73 h 73"/>
                <a:gd name="T46" fmla="*/ 24 w 73"/>
                <a:gd name="T47" fmla="*/ 71 h 73"/>
                <a:gd name="T48" fmla="*/ 24 w 73"/>
                <a:gd name="T49" fmla="*/ 68 h 73"/>
                <a:gd name="T50" fmla="*/ 24 w 73"/>
                <a:gd name="T51" fmla="*/ 68 h 73"/>
                <a:gd name="T52" fmla="*/ 24 w 73"/>
                <a:gd name="T53" fmla="*/ 67 h 73"/>
                <a:gd name="T54" fmla="*/ 32 w 73"/>
                <a:gd name="T55" fmla="*/ 61 h 73"/>
                <a:gd name="T56" fmla="*/ 32 w 73"/>
                <a:gd name="T57" fmla="*/ 41 h 73"/>
                <a:gd name="T58" fmla="*/ 1 w 73"/>
                <a:gd name="T59" fmla="*/ 48 h 73"/>
                <a:gd name="T60" fmla="*/ 1 w 73"/>
                <a:gd name="T61" fmla="*/ 48 h 73"/>
                <a:gd name="T62" fmla="*/ 0 w 73"/>
                <a:gd name="T63" fmla="*/ 47 h 73"/>
                <a:gd name="T64" fmla="*/ 0 w 73"/>
                <a:gd name="T65" fmla="*/ 42 h 73"/>
                <a:gd name="T66" fmla="*/ 0 w 73"/>
                <a:gd name="T67" fmla="*/ 42 h 73"/>
                <a:gd name="T68" fmla="*/ 1 w 73"/>
                <a:gd name="T69" fmla="*/ 41 h 73"/>
                <a:gd name="T70" fmla="*/ 31 w 73"/>
                <a:gd name="T71" fmla="*/ 24 h 73"/>
                <a:gd name="T72" fmla="*/ 32 w 73"/>
                <a:gd name="T73" fmla="*/ 24 h 73"/>
                <a:gd name="T74" fmla="*/ 32 w 73"/>
                <a:gd name="T75" fmla="*/ 7 h 73"/>
                <a:gd name="T76" fmla="*/ 36 w 73"/>
                <a:gd name="T77" fmla="*/ 0 h 73"/>
                <a:gd name="T78" fmla="*/ 41 w 73"/>
                <a:gd name="T79"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41" y="7"/>
                  </a:moveTo>
                  <a:cubicBezTo>
                    <a:pt x="41" y="24"/>
                    <a:pt x="41" y="24"/>
                    <a:pt x="41" y="24"/>
                  </a:cubicBezTo>
                  <a:cubicBezTo>
                    <a:pt x="41" y="24"/>
                    <a:pt x="41" y="24"/>
                    <a:pt x="41" y="24"/>
                  </a:cubicBezTo>
                  <a:cubicBezTo>
                    <a:pt x="72" y="41"/>
                    <a:pt x="72" y="41"/>
                    <a:pt x="72" y="41"/>
                  </a:cubicBezTo>
                  <a:cubicBezTo>
                    <a:pt x="72" y="41"/>
                    <a:pt x="73" y="42"/>
                    <a:pt x="73" y="42"/>
                  </a:cubicBezTo>
                  <a:cubicBezTo>
                    <a:pt x="73" y="42"/>
                    <a:pt x="73" y="42"/>
                    <a:pt x="73" y="42"/>
                  </a:cubicBezTo>
                  <a:cubicBezTo>
                    <a:pt x="73" y="47"/>
                    <a:pt x="73" y="47"/>
                    <a:pt x="73" y="47"/>
                  </a:cubicBezTo>
                  <a:cubicBezTo>
                    <a:pt x="73" y="47"/>
                    <a:pt x="72" y="48"/>
                    <a:pt x="71" y="48"/>
                  </a:cubicBezTo>
                  <a:cubicBezTo>
                    <a:pt x="71" y="48"/>
                    <a:pt x="71" y="48"/>
                    <a:pt x="71" y="48"/>
                  </a:cubicBezTo>
                  <a:cubicBezTo>
                    <a:pt x="41" y="41"/>
                    <a:pt x="41" y="41"/>
                    <a:pt x="41" y="41"/>
                  </a:cubicBezTo>
                  <a:cubicBezTo>
                    <a:pt x="41" y="61"/>
                    <a:pt x="41" y="61"/>
                    <a:pt x="41" y="61"/>
                  </a:cubicBezTo>
                  <a:cubicBezTo>
                    <a:pt x="48" y="67"/>
                    <a:pt x="48" y="67"/>
                    <a:pt x="48" y="67"/>
                  </a:cubicBezTo>
                  <a:cubicBezTo>
                    <a:pt x="49" y="67"/>
                    <a:pt x="49" y="68"/>
                    <a:pt x="49" y="68"/>
                  </a:cubicBezTo>
                  <a:cubicBezTo>
                    <a:pt x="49" y="68"/>
                    <a:pt x="49" y="68"/>
                    <a:pt x="49" y="68"/>
                  </a:cubicBezTo>
                  <a:cubicBezTo>
                    <a:pt x="49" y="71"/>
                    <a:pt x="49" y="71"/>
                    <a:pt x="49" y="71"/>
                  </a:cubicBezTo>
                  <a:cubicBezTo>
                    <a:pt x="49" y="72"/>
                    <a:pt x="48" y="73"/>
                    <a:pt x="48" y="73"/>
                  </a:cubicBezTo>
                  <a:cubicBezTo>
                    <a:pt x="47" y="73"/>
                    <a:pt x="47" y="73"/>
                    <a:pt x="47" y="72"/>
                  </a:cubicBezTo>
                  <a:cubicBezTo>
                    <a:pt x="38" y="69"/>
                    <a:pt x="38" y="69"/>
                    <a:pt x="38" y="69"/>
                  </a:cubicBezTo>
                  <a:cubicBezTo>
                    <a:pt x="37" y="69"/>
                    <a:pt x="37" y="69"/>
                    <a:pt x="36" y="69"/>
                  </a:cubicBezTo>
                  <a:cubicBezTo>
                    <a:pt x="36" y="69"/>
                    <a:pt x="36" y="69"/>
                    <a:pt x="36" y="69"/>
                  </a:cubicBezTo>
                  <a:cubicBezTo>
                    <a:pt x="36" y="69"/>
                    <a:pt x="35" y="69"/>
                    <a:pt x="35" y="69"/>
                  </a:cubicBezTo>
                  <a:cubicBezTo>
                    <a:pt x="25" y="72"/>
                    <a:pt x="25" y="72"/>
                    <a:pt x="25" y="72"/>
                  </a:cubicBezTo>
                  <a:cubicBezTo>
                    <a:pt x="25" y="73"/>
                    <a:pt x="25" y="73"/>
                    <a:pt x="25" y="73"/>
                  </a:cubicBezTo>
                  <a:cubicBezTo>
                    <a:pt x="24" y="73"/>
                    <a:pt x="24" y="72"/>
                    <a:pt x="24" y="71"/>
                  </a:cubicBezTo>
                  <a:cubicBezTo>
                    <a:pt x="24" y="68"/>
                    <a:pt x="24" y="68"/>
                    <a:pt x="24" y="68"/>
                  </a:cubicBezTo>
                  <a:cubicBezTo>
                    <a:pt x="24" y="68"/>
                    <a:pt x="24" y="68"/>
                    <a:pt x="24" y="68"/>
                  </a:cubicBezTo>
                  <a:cubicBezTo>
                    <a:pt x="24" y="68"/>
                    <a:pt x="24" y="67"/>
                    <a:pt x="24" y="67"/>
                  </a:cubicBezTo>
                  <a:cubicBezTo>
                    <a:pt x="32" y="61"/>
                    <a:pt x="32" y="61"/>
                    <a:pt x="32" y="61"/>
                  </a:cubicBezTo>
                  <a:cubicBezTo>
                    <a:pt x="32" y="41"/>
                    <a:pt x="32" y="41"/>
                    <a:pt x="32" y="41"/>
                  </a:cubicBezTo>
                  <a:cubicBezTo>
                    <a:pt x="1" y="48"/>
                    <a:pt x="1" y="48"/>
                    <a:pt x="1" y="48"/>
                  </a:cubicBezTo>
                  <a:cubicBezTo>
                    <a:pt x="1" y="48"/>
                    <a:pt x="1" y="48"/>
                    <a:pt x="1" y="48"/>
                  </a:cubicBezTo>
                  <a:cubicBezTo>
                    <a:pt x="0" y="48"/>
                    <a:pt x="0" y="47"/>
                    <a:pt x="0" y="47"/>
                  </a:cubicBezTo>
                  <a:cubicBezTo>
                    <a:pt x="0" y="42"/>
                    <a:pt x="0" y="42"/>
                    <a:pt x="0" y="42"/>
                  </a:cubicBezTo>
                  <a:cubicBezTo>
                    <a:pt x="0" y="42"/>
                    <a:pt x="0" y="42"/>
                    <a:pt x="0" y="42"/>
                  </a:cubicBezTo>
                  <a:cubicBezTo>
                    <a:pt x="0" y="42"/>
                    <a:pt x="0" y="41"/>
                    <a:pt x="1" y="41"/>
                  </a:cubicBezTo>
                  <a:cubicBezTo>
                    <a:pt x="31" y="24"/>
                    <a:pt x="31" y="24"/>
                    <a:pt x="31" y="24"/>
                  </a:cubicBezTo>
                  <a:cubicBezTo>
                    <a:pt x="31" y="24"/>
                    <a:pt x="32" y="24"/>
                    <a:pt x="32" y="24"/>
                  </a:cubicBezTo>
                  <a:cubicBezTo>
                    <a:pt x="32" y="7"/>
                    <a:pt x="32" y="7"/>
                    <a:pt x="32" y="7"/>
                  </a:cubicBezTo>
                  <a:cubicBezTo>
                    <a:pt x="32" y="2"/>
                    <a:pt x="34" y="0"/>
                    <a:pt x="36" y="0"/>
                  </a:cubicBezTo>
                  <a:cubicBezTo>
                    <a:pt x="39" y="0"/>
                    <a:pt x="41" y="2"/>
                    <a:pt x="41" y="7"/>
                  </a:cubicBezTo>
                  <a:close/>
                </a:path>
              </a:pathLst>
            </a:custGeom>
            <a:solidFill>
              <a:schemeClr val="accent2"/>
            </a:solidFill>
            <a:ln>
              <a:noFill/>
            </a:ln>
          </p:spPr>
          <p:txBody>
            <a:bodyPr vert="horz" wrap="square" lIns="91440" tIns="45720" rIns="91440" bIns="45720" numCol="1" anchor="t" anchorCtr="0" compatLnSpc="1"/>
            <a:lstStyle/>
            <a:p>
              <a:pPr defTabSz="1218565">
                <a:defRPr/>
              </a:pPr>
              <a:endParaRPr lang="zh-CN" altLang="en-US" sz="2400" kern="0">
                <a:solidFill>
                  <a:schemeClr val="tx1">
                    <a:lumMod val="50000"/>
                    <a:lumOff val="50000"/>
                  </a:schemeClr>
                </a:solidFill>
              </a:endParaRPr>
            </a:p>
          </p:txBody>
        </p:sp>
        <p:sp>
          <p:nvSpPr>
            <p:cNvPr id="16" name="文本框 8"/>
            <p:cNvSpPr txBox="1"/>
            <p:nvPr/>
          </p:nvSpPr>
          <p:spPr>
            <a:xfrm>
              <a:off x="6507950" y="2241082"/>
              <a:ext cx="2163967" cy="513602"/>
            </a:xfrm>
            <a:prstGeom prst="rect">
              <a:avLst/>
            </a:prstGeom>
            <a:noFill/>
          </p:spPr>
          <p:txBody>
            <a:bodyPr wrap="square" lIns="68580" tIns="34290" rIns="68580" bIns="3429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400" dirty="0">
                  <a:solidFill>
                    <a:schemeClr val="tx1">
                      <a:lumMod val="50000"/>
                      <a:lumOff val="50000"/>
                    </a:schemeClr>
                  </a:solidFill>
                  <a:latin typeface="微软雅黑" panose="020B0503020204020204" pitchFamily="34" charset="-122"/>
                  <a:ea typeface="微软雅黑" panose="020B0503020204020204" pitchFamily="34" charset="-122"/>
                </a:rPr>
                <a:t>请在此输入你的标题</a:t>
              </a:r>
              <a:endParaRPr lang="en-US" altLang="zh-CN" sz="1400" dirty="0">
                <a:solidFill>
                  <a:schemeClr val="tx1">
                    <a:lumMod val="50000"/>
                    <a:lumOff val="50000"/>
                  </a:schemeClr>
                </a:solidFill>
                <a:latin typeface="微软雅黑" panose="020B0503020204020204" pitchFamily="34" charset="-122"/>
                <a:ea typeface="微软雅黑" panose="020B0503020204020204" pitchFamily="34" charset="-122"/>
              </a:endParaRPr>
            </a:p>
            <a:p>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贴或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a:p>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贴或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17" name="组合 16"/>
          <p:cNvGrpSpPr/>
          <p:nvPr/>
        </p:nvGrpSpPr>
        <p:grpSpPr>
          <a:xfrm>
            <a:off x="8140876" y="4435908"/>
            <a:ext cx="3433669" cy="684802"/>
            <a:chOff x="6105855" y="3326932"/>
            <a:chExt cx="2575587" cy="513602"/>
          </a:xfrm>
        </p:grpSpPr>
        <p:sp>
          <p:nvSpPr>
            <p:cNvPr id="18" name="Freeform 27"/>
            <p:cNvSpPr/>
            <p:nvPr/>
          </p:nvSpPr>
          <p:spPr bwMode="auto">
            <a:xfrm>
              <a:off x="6105855" y="3381892"/>
              <a:ext cx="379393" cy="378690"/>
            </a:xfrm>
            <a:custGeom>
              <a:avLst/>
              <a:gdLst>
                <a:gd name="T0" fmla="*/ 41 w 73"/>
                <a:gd name="T1" fmla="*/ 7 h 73"/>
                <a:gd name="T2" fmla="*/ 41 w 73"/>
                <a:gd name="T3" fmla="*/ 24 h 73"/>
                <a:gd name="T4" fmla="*/ 41 w 73"/>
                <a:gd name="T5" fmla="*/ 24 h 73"/>
                <a:gd name="T6" fmla="*/ 72 w 73"/>
                <a:gd name="T7" fmla="*/ 41 h 73"/>
                <a:gd name="T8" fmla="*/ 73 w 73"/>
                <a:gd name="T9" fmla="*/ 42 h 73"/>
                <a:gd name="T10" fmla="*/ 73 w 73"/>
                <a:gd name="T11" fmla="*/ 42 h 73"/>
                <a:gd name="T12" fmla="*/ 73 w 73"/>
                <a:gd name="T13" fmla="*/ 47 h 73"/>
                <a:gd name="T14" fmla="*/ 71 w 73"/>
                <a:gd name="T15" fmla="*/ 48 h 73"/>
                <a:gd name="T16" fmla="*/ 71 w 73"/>
                <a:gd name="T17" fmla="*/ 48 h 73"/>
                <a:gd name="T18" fmla="*/ 41 w 73"/>
                <a:gd name="T19" fmla="*/ 41 h 73"/>
                <a:gd name="T20" fmla="*/ 41 w 73"/>
                <a:gd name="T21" fmla="*/ 61 h 73"/>
                <a:gd name="T22" fmla="*/ 48 w 73"/>
                <a:gd name="T23" fmla="*/ 67 h 73"/>
                <a:gd name="T24" fmla="*/ 49 w 73"/>
                <a:gd name="T25" fmla="*/ 68 h 73"/>
                <a:gd name="T26" fmla="*/ 49 w 73"/>
                <a:gd name="T27" fmla="*/ 68 h 73"/>
                <a:gd name="T28" fmla="*/ 49 w 73"/>
                <a:gd name="T29" fmla="*/ 71 h 73"/>
                <a:gd name="T30" fmla="*/ 48 w 73"/>
                <a:gd name="T31" fmla="*/ 73 h 73"/>
                <a:gd name="T32" fmla="*/ 47 w 73"/>
                <a:gd name="T33" fmla="*/ 72 h 73"/>
                <a:gd name="T34" fmla="*/ 38 w 73"/>
                <a:gd name="T35" fmla="*/ 69 h 73"/>
                <a:gd name="T36" fmla="*/ 36 w 73"/>
                <a:gd name="T37" fmla="*/ 69 h 73"/>
                <a:gd name="T38" fmla="*/ 36 w 73"/>
                <a:gd name="T39" fmla="*/ 69 h 73"/>
                <a:gd name="T40" fmla="*/ 35 w 73"/>
                <a:gd name="T41" fmla="*/ 69 h 73"/>
                <a:gd name="T42" fmla="*/ 25 w 73"/>
                <a:gd name="T43" fmla="*/ 72 h 73"/>
                <a:gd name="T44" fmla="*/ 25 w 73"/>
                <a:gd name="T45" fmla="*/ 73 h 73"/>
                <a:gd name="T46" fmla="*/ 24 w 73"/>
                <a:gd name="T47" fmla="*/ 71 h 73"/>
                <a:gd name="T48" fmla="*/ 24 w 73"/>
                <a:gd name="T49" fmla="*/ 68 h 73"/>
                <a:gd name="T50" fmla="*/ 24 w 73"/>
                <a:gd name="T51" fmla="*/ 68 h 73"/>
                <a:gd name="T52" fmla="*/ 24 w 73"/>
                <a:gd name="T53" fmla="*/ 67 h 73"/>
                <a:gd name="T54" fmla="*/ 32 w 73"/>
                <a:gd name="T55" fmla="*/ 61 h 73"/>
                <a:gd name="T56" fmla="*/ 32 w 73"/>
                <a:gd name="T57" fmla="*/ 41 h 73"/>
                <a:gd name="T58" fmla="*/ 1 w 73"/>
                <a:gd name="T59" fmla="*/ 48 h 73"/>
                <a:gd name="T60" fmla="*/ 1 w 73"/>
                <a:gd name="T61" fmla="*/ 48 h 73"/>
                <a:gd name="T62" fmla="*/ 0 w 73"/>
                <a:gd name="T63" fmla="*/ 47 h 73"/>
                <a:gd name="T64" fmla="*/ 0 w 73"/>
                <a:gd name="T65" fmla="*/ 42 h 73"/>
                <a:gd name="T66" fmla="*/ 0 w 73"/>
                <a:gd name="T67" fmla="*/ 42 h 73"/>
                <a:gd name="T68" fmla="*/ 1 w 73"/>
                <a:gd name="T69" fmla="*/ 41 h 73"/>
                <a:gd name="T70" fmla="*/ 31 w 73"/>
                <a:gd name="T71" fmla="*/ 24 h 73"/>
                <a:gd name="T72" fmla="*/ 32 w 73"/>
                <a:gd name="T73" fmla="*/ 24 h 73"/>
                <a:gd name="T74" fmla="*/ 32 w 73"/>
                <a:gd name="T75" fmla="*/ 7 h 73"/>
                <a:gd name="T76" fmla="*/ 36 w 73"/>
                <a:gd name="T77" fmla="*/ 0 h 73"/>
                <a:gd name="T78" fmla="*/ 41 w 73"/>
                <a:gd name="T79"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41" y="7"/>
                  </a:moveTo>
                  <a:cubicBezTo>
                    <a:pt x="41" y="24"/>
                    <a:pt x="41" y="24"/>
                    <a:pt x="41" y="24"/>
                  </a:cubicBezTo>
                  <a:cubicBezTo>
                    <a:pt x="41" y="24"/>
                    <a:pt x="41" y="24"/>
                    <a:pt x="41" y="24"/>
                  </a:cubicBezTo>
                  <a:cubicBezTo>
                    <a:pt x="72" y="41"/>
                    <a:pt x="72" y="41"/>
                    <a:pt x="72" y="41"/>
                  </a:cubicBezTo>
                  <a:cubicBezTo>
                    <a:pt x="72" y="41"/>
                    <a:pt x="73" y="42"/>
                    <a:pt x="73" y="42"/>
                  </a:cubicBezTo>
                  <a:cubicBezTo>
                    <a:pt x="73" y="42"/>
                    <a:pt x="73" y="42"/>
                    <a:pt x="73" y="42"/>
                  </a:cubicBezTo>
                  <a:cubicBezTo>
                    <a:pt x="73" y="47"/>
                    <a:pt x="73" y="47"/>
                    <a:pt x="73" y="47"/>
                  </a:cubicBezTo>
                  <a:cubicBezTo>
                    <a:pt x="73" y="47"/>
                    <a:pt x="72" y="48"/>
                    <a:pt x="71" y="48"/>
                  </a:cubicBezTo>
                  <a:cubicBezTo>
                    <a:pt x="71" y="48"/>
                    <a:pt x="71" y="48"/>
                    <a:pt x="71" y="48"/>
                  </a:cubicBezTo>
                  <a:cubicBezTo>
                    <a:pt x="41" y="41"/>
                    <a:pt x="41" y="41"/>
                    <a:pt x="41" y="41"/>
                  </a:cubicBezTo>
                  <a:cubicBezTo>
                    <a:pt x="41" y="61"/>
                    <a:pt x="41" y="61"/>
                    <a:pt x="41" y="61"/>
                  </a:cubicBezTo>
                  <a:cubicBezTo>
                    <a:pt x="48" y="67"/>
                    <a:pt x="48" y="67"/>
                    <a:pt x="48" y="67"/>
                  </a:cubicBezTo>
                  <a:cubicBezTo>
                    <a:pt x="49" y="67"/>
                    <a:pt x="49" y="68"/>
                    <a:pt x="49" y="68"/>
                  </a:cubicBezTo>
                  <a:cubicBezTo>
                    <a:pt x="49" y="68"/>
                    <a:pt x="49" y="68"/>
                    <a:pt x="49" y="68"/>
                  </a:cubicBezTo>
                  <a:cubicBezTo>
                    <a:pt x="49" y="71"/>
                    <a:pt x="49" y="71"/>
                    <a:pt x="49" y="71"/>
                  </a:cubicBezTo>
                  <a:cubicBezTo>
                    <a:pt x="49" y="72"/>
                    <a:pt x="48" y="73"/>
                    <a:pt x="48" y="73"/>
                  </a:cubicBezTo>
                  <a:cubicBezTo>
                    <a:pt x="47" y="73"/>
                    <a:pt x="47" y="73"/>
                    <a:pt x="47" y="72"/>
                  </a:cubicBezTo>
                  <a:cubicBezTo>
                    <a:pt x="38" y="69"/>
                    <a:pt x="38" y="69"/>
                    <a:pt x="38" y="69"/>
                  </a:cubicBezTo>
                  <a:cubicBezTo>
                    <a:pt x="37" y="69"/>
                    <a:pt x="37" y="69"/>
                    <a:pt x="36" y="69"/>
                  </a:cubicBezTo>
                  <a:cubicBezTo>
                    <a:pt x="36" y="69"/>
                    <a:pt x="36" y="69"/>
                    <a:pt x="36" y="69"/>
                  </a:cubicBezTo>
                  <a:cubicBezTo>
                    <a:pt x="36" y="69"/>
                    <a:pt x="35" y="69"/>
                    <a:pt x="35" y="69"/>
                  </a:cubicBezTo>
                  <a:cubicBezTo>
                    <a:pt x="25" y="72"/>
                    <a:pt x="25" y="72"/>
                    <a:pt x="25" y="72"/>
                  </a:cubicBezTo>
                  <a:cubicBezTo>
                    <a:pt x="25" y="73"/>
                    <a:pt x="25" y="73"/>
                    <a:pt x="25" y="73"/>
                  </a:cubicBezTo>
                  <a:cubicBezTo>
                    <a:pt x="24" y="73"/>
                    <a:pt x="24" y="72"/>
                    <a:pt x="24" y="71"/>
                  </a:cubicBezTo>
                  <a:cubicBezTo>
                    <a:pt x="24" y="68"/>
                    <a:pt x="24" y="68"/>
                    <a:pt x="24" y="68"/>
                  </a:cubicBezTo>
                  <a:cubicBezTo>
                    <a:pt x="24" y="68"/>
                    <a:pt x="24" y="68"/>
                    <a:pt x="24" y="68"/>
                  </a:cubicBezTo>
                  <a:cubicBezTo>
                    <a:pt x="24" y="68"/>
                    <a:pt x="24" y="67"/>
                    <a:pt x="24" y="67"/>
                  </a:cubicBezTo>
                  <a:cubicBezTo>
                    <a:pt x="32" y="61"/>
                    <a:pt x="32" y="61"/>
                    <a:pt x="32" y="61"/>
                  </a:cubicBezTo>
                  <a:cubicBezTo>
                    <a:pt x="32" y="41"/>
                    <a:pt x="32" y="41"/>
                    <a:pt x="32" y="41"/>
                  </a:cubicBezTo>
                  <a:cubicBezTo>
                    <a:pt x="1" y="48"/>
                    <a:pt x="1" y="48"/>
                    <a:pt x="1" y="48"/>
                  </a:cubicBezTo>
                  <a:cubicBezTo>
                    <a:pt x="1" y="48"/>
                    <a:pt x="1" y="48"/>
                    <a:pt x="1" y="48"/>
                  </a:cubicBezTo>
                  <a:cubicBezTo>
                    <a:pt x="0" y="48"/>
                    <a:pt x="0" y="47"/>
                    <a:pt x="0" y="47"/>
                  </a:cubicBezTo>
                  <a:cubicBezTo>
                    <a:pt x="0" y="42"/>
                    <a:pt x="0" y="42"/>
                    <a:pt x="0" y="42"/>
                  </a:cubicBezTo>
                  <a:cubicBezTo>
                    <a:pt x="0" y="42"/>
                    <a:pt x="0" y="42"/>
                    <a:pt x="0" y="42"/>
                  </a:cubicBezTo>
                  <a:cubicBezTo>
                    <a:pt x="0" y="42"/>
                    <a:pt x="0" y="41"/>
                    <a:pt x="1" y="41"/>
                  </a:cubicBezTo>
                  <a:cubicBezTo>
                    <a:pt x="31" y="24"/>
                    <a:pt x="31" y="24"/>
                    <a:pt x="31" y="24"/>
                  </a:cubicBezTo>
                  <a:cubicBezTo>
                    <a:pt x="31" y="24"/>
                    <a:pt x="32" y="24"/>
                    <a:pt x="32" y="24"/>
                  </a:cubicBezTo>
                  <a:cubicBezTo>
                    <a:pt x="32" y="7"/>
                    <a:pt x="32" y="7"/>
                    <a:pt x="32" y="7"/>
                  </a:cubicBezTo>
                  <a:cubicBezTo>
                    <a:pt x="32" y="2"/>
                    <a:pt x="34" y="0"/>
                    <a:pt x="36" y="0"/>
                  </a:cubicBezTo>
                  <a:cubicBezTo>
                    <a:pt x="39" y="0"/>
                    <a:pt x="41" y="2"/>
                    <a:pt x="41" y="7"/>
                  </a:cubicBezTo>
                  <a:close/>
                </a:path>
              </a:pathLst>
            </a:custGeom>
            <a:solidFill>
              <a:schemeClr val="accent3"/>
            </a:solidFill>
            <a:ln>
              <a:noFill/>
            </a:ln>
          </p:spPr>
          <p:txBody>
            <a:bodyPr vert="horz" wrap="square" lIns="91440" tIns="45720" rIns="91440" bIns="45720" numCol="1" anchor="t" anchorCtr="0" compatLnSpc="1"/>
            <a:lstStyle/>
            <a:p>
              <a:pPr defTabSz="1218565">
                <a:defRPr/>
              </a:pPr>
              <a:endParaRPr lang="zh-CN" altLang="en-US" sz="2400" kern="0">
                <a:solidFill>
                  <a:schemeClr val="tx1">
                    <a:lumMod val="50000"/>
                    <a:lumOff val="50000"/>
                  </a:schemeClr>
                </a:solidFill>
              </a:endParaRPr>
            </a:p>
          </p:txBody>
        </p:sp>
        <p:sp>
          <p:nvSpPr>
            <p:cNvPr id="19" name="文本框 8"/>
            <p:cNvSpPr txBox="1"/>
            <p:nvPr/>
          </p:nvSpPr>
          <p:spPr>
            <a:xfrm>
              <a:off x="6517475" y="3326932"/>
              <a:ext cx="2163967" cy="513602"/>
            </a:xfrm>
            <a:prstGeom prst="rect">
              <a:avLst/>
            </a:prstGeom>
            <a:noFill/>
          </p:spPr>
          <p:txBody>
            <a:bodyPr wrap="square" lIns="68580" tIns="34290" rIns="68580" bIns="3429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400" dirty="0">
                  <a:solidFill>
                    <a:schemeClr val="tx1">
                      <a:lumMod val="50000"/>
                      <a:lumOff val="50000"/>
                    </a:schemeClr>
                  </a:solidFill>
                  <a:latin typeface="微软雅黑" panose="020B0503020204020204" pitchFamily="34" charset="-122"/>
                  <a:ea typeface="微软雅黑" panose="020B0503020204020204" pitchFamily="34" charset="-122"/>
                </a:rPr>
                <a:t>请在此输入你的标题</a:t>
              </a:r>
              <a:endParaRPr lang="en-US" altLang="zh-CN" sz="1400" dirty="0">
                <a:solidFill>
                  <a:schemeClr val="tx1">
                    <a:lumMod val="50000"/>
                    <a:lumOff val="50000"/>
                  </a:schemeClr>
                </a:solidFill>
                <a:latin typeface="微软雅黑" panose="020B0503020204020204" pitchFamily="34" charset="-122"/>
                <a:ea typeface="微软雅黑" panose="020B0503020204020204" pitchFamily="34" charset="-122"/>
              </a:endParaRPr>
            </a:p>
            <a:p>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贴或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a:p>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贴或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1139195" y="2512608"/>
            <a:ext cx="3362625" cy="684802"/>
            <a:chOff x="602450" y="2393482"/>
            <a:chExt cx="2522297" cy="513602"/>
          </a:xfrm>
        </p:grpSpPr>
        <p:sp>
          <p:nvSpPr>
            <p:cNvPr id="21" name="Freeform 27"/>
            <p:cNvSpPr/>
            <p:nvPr/>
          </p:nvSpPr>
          <p:spPr bwMode="auto">
            <a:xfrm>
              <a:off x="2745354" y="2444412"/>
              <a:ext cx="379393" cy="378690"/>
            </a:xfrm>
            <a:custGeom>
              <a:avLst/>
              <a:gdLst>
                <a:gd name="T0" fmla="*/ 41 w 73"/>
                <a:gd name="T1" fmla="*/ 7 h 73"/>
                <a:gd name="T2" fmla="*/ 41 w 73"/>
                <a:gd name="T3" fmla="*/ 24 h 73"/>
                <a:gd name="T4" fmla="*/ 41 w 73"/>
                <a:gd name="T5" fmla="*/ 24 h 73"/>
                <a:gd name="T6" fmla="*/ 72 w 73"/>
                <a:gd name="T7" fmla="*/ 41 h 73"/>
                <a:gd name="T8" fmla="*/ 73 w 73"/>
                <a:gd name="T9" fmla="*/ 42 h 73"/>
                <a:gd name="T10" fmla="*/ 73 w 73"/>
                <a:gd name="T11" fmla="*/ 42 h 73"/>
                <a:gd name="T12" fmla="*/ 73 w 73"/>
                <a:gd name="T13" fmla="*/ 47 h 73"/>
                <a:gd name="T14" fmla="*/ 71 w 73"/>
                <a:gd name="T15" fmla="*/ 48 h 73"/>
                <a:gd name="T16" fmla="*/ 71 w 73"/>
                <a:gd name="T17" fmla="*/ 48 h 73"/>
                <a:gd name="T18" fmla="*/ 41 w 73"/>
                <a:gd name="T19" fmla="*/ 41 h 73"/>
                <a:gd name="T20" fmla="*/ 41 w 73"/>
                <a:gd name="T21" fmla="*/ 61 h 73"/>
                <a:gd name="T22" fmla="*/ 48 w 73"/>
                <a:gd name="T23" fmla="*/ 67 h 73"/>
                <a:gd name="T24" fmla="*/ 49 w 73"/>
                <a:gd name="T25" fmla="*/ 68 h 73"/>
                <a:gd name="T26" fmla="*/ 49 w 73"/>
                <a:gd name="T27" fmla="*/ 68 h 73"/>
                <a:gd name="T28" fmla="*/ 49 w 73"/>
                <a:gd name="T29" fmla="*/ 71 h 73"/>
                <a:gd name="T30" fmla="*/ 48 w 73"/>
                <a:gd name="T31" fmla="*/ 73 h 73"/>
                <a:gd name="T32" fmla="*/ 47 w 73"/>
                <a:gd name="T33" fmla="*/ 72 h 73"/>
                <a:gd name="T34" fmla="*/ 38 w 73"/>
                <a:gd name="T35" fmla="*/ 69 h 73"/>
                <a:gd name="T36" fmla="*/ 36 w 73"/>
                <a:gd name="T37" fmla="*/ 69 h 73"/>
                <a:gd name="T38" fmla="*/ 36 w 73"/>
                <a:gd name="T39" fmla="*/ 69 h 73"/>
                <a:gd name="T40" fmla="*/ 35 w 73"/>
                <a:gd name="T41" fmla="*/ 69 h 73"/>
                <a:gd name="T42" fmla="*/ 25 w 73"/>
                <a:gd name="T43" fmla="*/ 72 h 73"/>
                <a:gd name="T44" fmla="*/ 25 w 73"/>
                <a:gd name="T45" fmla="*/ 73 h 73"/>
                <a:gd name="T46" fmla="*/ 24 w 73"/>
                <a:gd name="T47" fmla="*/ 71 h 73"/>
                <a:gd name="T48" fmla="*/ 24 w 73"/>
                <a:gd name="T49" fmla="*/ 68 h 73"/>
                <a:gd name="T50" fmla="*/ 24 w 73"/>
                <a:gd name="T51" fmla="*/ 68 h 73"/>
                <a:gd name="T52" fmla="*/ 24 w 73"/>
                <a:gd name="T53" fmla="*/ 67 h 73"/>
                <a:gd name="T54" fmla="*/ 32 w 73"/>
                <a:gd name="T55" fmla="*/ 61 h 73"/>
                <a:gd name="T56" fmla="*/ 32 w 73"/>
                <a:gd name="T57" fmla="*/ 41 h 73"/>
                <a:gd name="T58" fmla="*/ 1 w 73"/>
                <a:gd name="T59" fmla="*/ 48 h 73"/>
                <a:gd name="T60" fmla="*/ 1 w 73"/>
                <a:gd name="T61" fmla="*/ 48 h 73"/>
                <a:gd name="T62" fmla="*/ 0 w 73"/>
                <a:gd name="T63" fmla="*/ 47 h 73"/>
                <a:gd name="T64" fmla="*/ 0 w 73"/>
                <a:gd name="T65" fmla="*/ 42 h 73"/>
                <a:gd name="T66" fmla="*/ 0 w 73"/>
                <a:gd name="T67" fmla="*/ 42 h 73"/>
                <a:gd name="T68" fmla="*/ 1 w 73"/>
                <a:gd name="T69" fmla="*/ 41 h 73"/>
                <a:gd name="T70" fmla="*/ 31 w 73"/>
                <a:gd name="T71" fmla="*/ 24 h 73"/>
                <a:gd name="T72" fmla="*/ 32 w 73"/>
                <a:gd name="T73" fmla="*/ 24 h 73"/>
                <a:gd name="T74" fmla="*/ 32 w 73"/>
                <a:gd name="T75" fmla="*/ 7 h 73"/>
                <a:gd name="T76" fmla="*/ 36 w 73"/>
                <a:gd name="T77" fmla="*/ 0 h 73"/>
                <a:gd name="T78" fmla="*/ 41 w 73"/>
                <a:gd name="T79"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41" y="7"/>
                  </a:moveTo>
                  <a:cubicBezTo>
                    <a:pt x="41" y="24"/>
                    <a:pt x="41" y="24"/>
                    <a:pt x="41" y="24"/>
                  </a:cubicBezTo>
                  <a:cubicBezTo>
                    <a:pt x="41" y="24"/>
                    <a:pt x="41" y="24"/>
                    <a:pt x="41" y="24"/>
                  </a:cubicBezTo>
                  <a:cubicBezTo>
                    <a:pt x="72" y="41"/>
                    <a:pt x="72" y="41"/>
                    <a:pt x="72" y="41"/>
                  </a:cubicBezTo>
                  <a:cubicBezTo>
                    <a:pt x="72" y="41"/>
                    <a:pt x="73" y="42"/>
                    <a:pt x="73" y="42"/>
                  </a:cubicBezTo>
                  <a:cubicBezTo>
                    <a:pt x="73" y="42"/>
                    <a:pt x="73" y="42"/>
                    <a:pt x="73" y="42"/>
                  </a:cubicBezTo>
                  <a:cubicBezTo>
                    <a:pt x="73" y="47"/>
                    <a:pt x="73" y="47"/>
                    <a:pt x="73" y="47"/>
                  </a:cubicBezTo>
                  <a:cubicBezTo>
                    <a:pt x="73" y="47"/>
                    <a:pt x="72" y="48"/>
                    <a:pt x="71" y="48"/>
                  </a:cubicBezTo>
                  <a:cubicBezTo>
                    <a:pt x="71" y="48"/>
                    <a:pt x="71" y="48"/>
                    <a:pt x="71" y="48"/>
                  </a:cubicBezTo>
                  <a:cubicBezTo>
                    <a:pt x="41" y="41"/>
                    <a:pt x="41" y="41"/>
                    <a:pt x="41" y="41"/>
                  </a:cubicBezTo>
                  <a:cubicBezTo>
                    <a:pt x="41" y="61"/>
                    <a:pt x="41" y="61"/>
                    <a:pt x="41" y="61"/>
                  </a:cubicBezTo>
                  <a:cubicBezTo>
                    <a:pt x="48" y="67"/>
                    <a:pt x="48" y="67"/>
                    <a:pt x="48" y="67"/>
                  </a:cubicBezTo>
                  <a:cubicBezTo>
                    <a:pt x="49" y="67"/>
                    <a:pt x="49" y="68"/>
                    <a:pt x="49" y="68"/>
                  </a:cubicBezTo>
                  <a:cubicBezTo>
                    <a:pt x="49" y="68"/>
                    <a:pt x="49" y="68"/>
                    <a:pt x="49" y="68"/>
                  </a:cubicBezTo>
                  <a:cubicBezTo>
                    <a:pt x="49" y="71"/>
                    <a:pt x="49" y="71"/>
                    <a:pt x="49" y="71"/>
                  </a:cubicBezTo>
                  <a:cubicBezTo>
                    <a:pt x="49" y="72"/>
                    <a:pt x="48" y="73"/>
                    <a:pt x="48" y="73"/>
                  </a:cubicBezTo>
                  <a:cubicBezTo>
                    <a:pt x="47" y="73"/>
                    <a:pt x="47" y="73"/>
                    <a:pt x="47" y="72"/>
                  </a:cubicBezTo>
                  <a:cubicBezTo>
                    <a:pt x="38" y="69"/>
                    <a:pt x="38" y="69"/>
                    <a:pt x="38" y="69"/>
                  </a:cubicBezTo>
                  <a:cubicBezTo>
                    <a:pt x="37" y="69"/>
                    <a:pt x="37" y="69"/>
                    <a:pt x="36" y="69"/>
                  </a:cubicBezTo>
                  <a:cubicBezTo>
                    <a:pt x="36" y="69"/>
                    <a:pt x="36" y="69"/>
                    <a:pt x="36" y="69"/>
                  </a:cubicBezTo>
                  <a:cubicBezTo>
                    <a:pt x="36" y="69"/>
                    <a:pt x="35" y="69"/>
                    <a:pt x="35" y="69"/>
                  </a:cubicBezTo>
                  <a:cubicBezTo>
                    <a:pt x="25" y="72"/>
                    <a:pt x="25" y="72"/>
                    <a:pt x="25" y="72"/>
                  </a:cubicBezTo>
                  <a:cubicBezTo>
                    <a:pt x="25" y="73"/>
                    <a:pt x="25" y="73"/>
                    <a:pt x="25" y="73"/>
                  </a:cubicBezTo>
                  <a:cubicBezTo>
                    <a:pt x="24" y="73"/>
                    <a:pt x="24" y="72"/>
                    <a:pt x="24" y="71"/>
                  </a:cubicBezTo>
                  <a:cubicBezTo>
                    <a:pt x="24" y="68"/>
                    <a:pt x="24" y="68"/>
                    <a:pt x="24" y="68"/>
                  </a:cubicBezTo>
                  <a:cubicBezTo>
                    <a:pt x="24" y="68"/>
                    <a:pt x="24" y="68"/>
                    <a:pt x="24" y="68"/>
                  </a:cubicBezTo>
                  <a:cubicBezTo>
                    <a:pt x="24" y="68"/>
                    <a:pt x="24" y="67"/>
                    <a:pt x="24" y="67"/>
                  </a:cubicBezTo>
                  <a:cubicBezTo>
                    <a:pt x="32" y="61"/>
                    <a:pt x="32" y="61"/>
                    <a:pt x="32" y="61"/>
                  </a:cubicBezTo>
                  <a:cubicBezTo>
                    <a:pt x="32" y="41"/>
                    <a:pt x="32" y="41"/>
                    <a:pt x="32" y="41"/>
                  </a:cubicBezTo>
                  <a:cubicBezTo>
                    <a:pt x="1" y="48"/>
                    <a:pt x="1" y="48"/>
                    <a:pt x="1" y="48"/>
                  </a:cubicBezTo>
                  <a:cubicBezTo>
                    <a:pt x="1" y="48"/>
                    <a:pt x="1" y="48"/>
                    <a:pt x="1" y="48"/>
                  </a:cubicBezTo>
                  <a:cubicBezTo>
                    <a:pt x="0" y="48"/>
                    <a:pt x="0" y="47"/>
                    <a:pt x="0" y="47"/>
                  </a:cubicBezTo>
                  <a:cubicBezTo>
                    <a:pt x="0" y="42"/>
                    <a:pt x="0" y="42"/>
                    <a:pt x="0" y="42"/>
                  </a:cubicBezTo>
                  <a:cubicBezTo>
                    <a:pt x="0" y="42"/>
                    <a:pt x="0" y="42"/>
                    <a:pt x="0" y="42"/>
                  </a:cubicBezTo>
                  <a:cubicBezTo>
                    <a:pt x="0" y="42"/>
                    <a:pt x="0" y="41"/>
                    <a:pt x="1" y="41"/>
                  </a:cubicBezTo>
                  <a:cubicBezTo>
                    <a:pt x="31" y="24"/>
                    <a:pt x="31" y="24"/>
                    <a:pt x="31" y="24"/>
                  </a:cubicBezTo>
                  <a:cubicBezTo>
                    <a:pt x="31" y="24"/>
                    <a:pt x="32" y="24"/>
                    <a:pt x="32" y="24"/>
                  </a:cubicBezTo>
                  <a:cubicBezTo>
                    <a:pt x="32" y="7"/>
                    <a:pt x="32" y="7"/>
                    <a:pt x="32" y="7"/>
                  </a:cubicBezTo>
                  <a:cubicBezTo>
                    <a:pt x="32" y="2"/>
                    <a:pt x="34" y="0"/>
                    <a:pt x="36" y="0"/>
                  </a:cubicBezTo>
                  <a:cubicBezTo>
                    <a:pt x="39" y="0"/>
                    <a:pt x="41" y="2"/>
                    <a:pt x="41" y="7"/>
                  </a:cubicBezTo>
                  <a:close/>
                </a:path>
              </a:pathLst>
            </a:custGeom>
            <a:solidFill>
              <a:schemeClr val="accent2"/>
            </a:solidFill>
            <a:ln>
              <a:noFill/>
            </a:ln>
          </p:spPr>
          <p:txBody>
            <a:bodyPr vert="horz" wrap="square" lIns="91440" tIns="45720" rIns="91440" bIns="45720" numCol="1" anchor="t" anchorCtr="0" compatLnSpc="1"/>
            <a:lstStyle/>
            <a:p>
              <a:pPr defTabSz="1218565">
                <a:defRPr/>
              </a:pPr>
              <a:endParaRPr lang="zh-CN" altLang="en-US" sz="2400" kern="0">
                <a:solidFill>
                  <a:schemeClr val="tx1">
                    <a:lumMod val="50000"/>
                    <a:lumOff val="50000"/>
                  </a:schemeClr>
                </a:solidFill>
              </a:endParaRPr>
            </a:p>
          </p:txBody>
        </p:sp>
        <p:sp>
          <p:nvSpPr>
            <p:cNvPr id="22" name="文本框 8"/>
            <p:cNvSpPr txBox="1"/>
            <p:nvPr/>
          </p:nvSpPr>
          <p:spPr>
            <a:xfrm>
              <a:off x="602450" y="2393482"/>
              <a:ext cx="2163967" cy="513602"/>
            </a:xfrm>
            <a:prstGeom prst="rect">
              <a:avLst/>
            </a:prstGeom>
            <a:noFill/>
          </p:spPr>
          <p:txBody>
            <a:bodyPr wrap="square" lIns="68580" tIns="34290" rIns="68580" bIns="3429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400" dirty="0">
                  <a:solidFill>
                    <a:schemeClr val="tx1">
                      <a:lumMod val="50000"/>
                      <a:lumOff val="50000"/>
                    </a:schemeClr>
                  </a:solidFill>
                  <a:latin typeface="微软雅黑" panose="020B0503020204020204" pitchFamily="34" charset="-122"/>
                  <a:ea typeface="微软雅黑" panose="020B0503020204020204" pitchFamily="34" charset="-122"/>
                </a:rPr>
                <a:t>请在此输入你的标题</a:t>
              </a:r>
              <a:endParaRPr lang="en-US" altLang="zh-CN" sz="1400" dirty="0">
                <a:solidFill>
                  <a:schemeClr val="tx1">
                    <a:lumMod val="50000"/>
                    <a:lumOff val="50000"/>
                  </a:schemeClr>
                </a:solidFill>
                <a:latin typeface="微软雅黑" panose="020B0503020204020204" pitchFamily="34" charset="-122"/>
                <a:ea typeface="微软雅黑" panose="020B0503020204020204" pitchFamily="34" charset="-122"/>
              </a:endParaRPr>
            </a:p>
            <a:p>
              <a:pPr algn="r"/>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贴或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a:p>
              <a:pPr algn="r"/>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贴或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803958" y="4499407"/>
            <a:ext cx="3362625" cy="1084912"/>
            <a:chOff x="602450" y="3374557"/>
            <a:chExt cx="2522297" cy="813685"/>
          </a:xfrm>
        </p:grpSpPr>
        <p:sp>
          <p:nvSpPr>
            <p:cNvPr id="24" name="Freeform 27"/>
            <p:cNvSpPr/>
            <p:nvPr/>
          </p:nvSpPr>
          <p:spPr bwMode="auto">
            <a:xfrm>
              <a:off x="2745354" y="3454516"/>
              <a:ext cx="379393" cy="378690"/>
            </a:xfrm>
            <a:custGeom>
              <a:avLst/>
              <a:gdLst>
                <a:gd name="T0" fmla="*/ 41 w 73"/>
                <a:gd name="T1" fmla="*/ 7 h 73"/>
                <a:gd name="T2" fmla="*/ 41 w 73"/>
                <a:gd name="T3" fmla="*/ 24 h 73"/>
                <a:gd name="T4" fmla="*/ 41 w 73"/>
                <a:gd name="T5" fmla="*/ 24 h 73"/>
                <a:gd name="T6" fmla="*/ 72 w 73"/>
                <a:gd name="T7" fmla="*/ 41 h 73"/>
                <a:gd name="T8" fmla="*/ 73 w 73"/>
                <a:gd name="T9" fmla="*/ 42 h 73"/>
                <a:gd name="T10" fmla="*/ 73 w 73"/>
                <a:gd name="T11" fmla="*/ 42 h 73"/>
                <a:gd name="T12" fmla="*/ 73 w 73"/>
                <a:gd name="T13" fmla="*/ 47 h 73"/>
                <a:gd name="T14" fmla="*/ 71 w 73"/>
                <a:gd name="T15" fmla="*/ 48 h 73"/>
                <a:gd name="T16" fmla="*/ 71 w 73"/>
                <a:gd name="T17" fmla="*/ 48 h 73"/>
                <a:gd name="T18" fmla="*/ 41 w 73"/>
                <a:gd name="T19" fmla="*/ 41 h 73"/>
                <a:gd name="T20" fmla="*/ 41 w 73"/>
                <a:gd name="T21" fmla="*/ 61 h 73"/>
                <a:gd name="T22" fmla="*/ 48 w 73"/>
                <a:gd name="T23" fmla="*/ 67 h 73"/>
                <a:gd name="T24" fmla="*/ 49 w 73"/>
                <a:gd name="T25" fmla="*/ 68 h 73"/>
                <a:gd name="T26" fmla="*/ 49 w 73"/>
                <a:gd name="T27" fmla="*/ 68 h 73"/>
                <a:gd name="T28" fmla="*/ 49 w 73"/>
                <a:gd name="T29" fmla="*/ 71 h 73"/>
                <a:gd name="T30" fmla="*/ 48 w 73"/>
                <a:gd name="T31" fmla="*/ 73 h 73"/>
                <a:gd name="T32" fmla="*/ 47 w 73"/>
                <a:gd name="T33" fmla="*/ 72 h 73"/>
                <a:gd name="T34" fmla="*/ 38 w 73"/>
                <a:gd name="T35" fmla="*/ 69 h 73"/>
                <a:gd name="T36" fmla="*/ 36 w 73"/>
                <a:gd name="T37" fmla="*/ 69 h 73"/>
                <a:gd name="T38" fmla="*/ 36 w 73"/>
                <a:gd name="T39" fmla="*/ 69 h 73"/>
                <a:gd name="T40" fmla="*/ 35 w 73"/>
                <a:gd name="T41" fmla="*/ 69 h 73"/>
                <a:gd name="T42" fmla="*/ 25 w 73"/>
                <a:gd name="T43" fmla="*/ 72 h 73"/>
                <a:gd name="T44" fmla="*/ 25 w 73"/>
                <a:gd name="T45" fmla="*/ 73 h 73"/>
                <a:gd name="T46" fmla="*/ 24 w 73"/>
                <a:gd name="T47" fmla="*/ 71 h 73"/>
                <a:gd name="T48" fmla="*/ 24 w 73"/>
                <a:gd name="T49" fmla="*/ 68 h 73"/>
                <a:gd name="T50" fmla="*/ 24 w 73"/>
                <a:gd name="T51" fmla="*/ 68 h 73"/>
                <a:gd name="T52" fmla="*/ 24 w 73"/>
                <a:gd name="T53" fmla="*/ 67 h 73"/>
                <a:gd name="T54" fmla="*/ 32 w 73"/>
                <a:gd name="T55" fmla="*/ 61 h 73"/>
                <a:gd name="T56" fmla="*/ 32 w 73"/>
                <a:gd name="T57" fmla="*/ 41 h 73"/>
                <a:gd name="T58" fmla="*/ 1 w 73"/>
                <a:gd name="T59" fmla="*/ 48 h 73"/>
                <a:gd name="T60" fmla="*/ 1 w 73"/>
                <a:gd name="T61" fmla="*/ 48 h 73"/>
                <a:gd name="T62" fmla="*/ 0 w 73"/>
                <a:gd name="T63" fmla="*/ 47 h 73"/>
                <a:gd name="T64" fmla="*/ 0 w 73"/>
                <a:gd name="T65" fmla="*/ 42 h 73"/>
                <a:gd name="T66" fmla="*/ 0 w 73"/>
                <a:gd name="T67" fmla="*/ 42 h 73"/>
                <a:gd name="T68" fmla="*/ 1 w 73"/>
                <a:gd name="T69" fmla="*/ 41 h 73"/>
                <a:gd name="T70" fmla="*/ 31 w 73"/>
                <a:gd name="T71" fmla="*/ 24 h 73"/>
                <a:gd name="T72" fmla="*/ 32 w 73"/>
                <a:gd name="T73" fmla="*/ 24 h 73"/>
                <a:gd name="T74" fmla="*/ 32 w 73"/>
                <a:gd name="T75" fmla="*/ 7 h 73"/>
                <a:gd name="T76" fmla="*/ 36 w 73"/>
                <a:gd name="T77" fmla="*/ 0 h 73"/>
                <a:gd name="T78" fmla="*/ 41 w 73"/>
                <a:gd name="T79"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73">
                  <a:moveTo>
                    <a:pt x="41" y="7"/>
                  </a:moveTo>
                  <a:cubicBezTo>
                    <a:pt x="41" y="24"/>
                    <a:pt x="41" y="24"/>
                    <a:pt x="41" y="24"/>
                  </a:cubicBezTo>
                  <a:cubicBezTo>
                    <a:pt x="41" y="24"/>
                    <a:pt x="41" y="24"/>
                    <a:pt x="41" y="24"/>
                  </a:cubicBezTo>
                  <a:cubicBezTo>
                    <a:pt x="72" y="41"/>
                    <a:pt x="72" y="41"/>
                    <a:pt x="72" y="41"/>
                  </a:cubicBezTo>
                  <a:cubicBezTo>
                    <a:pt x="72" y="41"/>
                    <a:pt x="73" y="42"/>
                    <a:pt x="73" y="42"/>
                  </a:cubicBezTo>
                  <a:cubicBezTo>
                    <a:pt x="73" y="42"/>
                    <a:pt x="73" y="42"/>
                    <a:pt x="73" y="42"/>
                  </a:cubicBezTo>
                  <a:cubicBezTo>
                    <a:pt x="73" y="47"/>
                    <a:pt x="73" y="47"/>
                    <a:pt x="73" y="47"/>
                  </a:cubicBezTo>
                  <a:cubicBezTo>
                    <a:pt x="73" y="47"/>
                    <a:pt x="72" y="48"/>
                    <a:pt x="71" y="48"/>
                  </a:cubicBezTo>
                  <a:cubicBezTo>
                    <a:pt x="71" y="48"/>
                    <a:pt x="71" y="48"/>
                    <a:pt x="71" y="48"/>
                  </a:cubicBezTo>
                  <a:cubicBezTo>
                    <a:pt x="41" y="41"/>
                    <a:pt x="41" y="41"/>
                    <a:pt x="41" y="41"/>
                  </a:cubicBezTo>
                  <a:cubicBezTo>
                    <a:pt x="41" y="61"/>
                    <a:pt x="41" y="61"/>
                    <a:pt x="41" y="61"/>
                  </a:cubicBezTo>
                  <a:cubicBezTo>
                    <a:pt x="48" y="67"/>
                    <a:pt x="48" y="67"/>
                    <a:pt x="48" y="67"/>
                  </a:cubicBezTo>
                  <a:cubicBezTo>
                    <a:pt x="49" y="67"/>
                    <a:pt x="49" y="68"/>
                    <a:pt x="49" y="68"/>
                  </a:cubicBezTo>
                  <a:cubicBezTo>
                    <a:pt x="49" y="68"/>
                    <a:pt x="49" y="68"/>
                    <a:pt x="49" y="68"/>
                  </a:cubicBezTo>
                  <a:cubicBezTo>
                    <a:pt x="49" y="71"/>
                    <a:pt x="49" y="71"/>
                    <a:pt x="49" y="71"/>
                  </a:cubicBezTo>
                  <a:cubicBezTo>
                    <a:pt x="49" y="72"/>
                    <a:pt x="48" y="73"/>
                    <a:pt x="48" y="73"/>
                  </a:cubicBezTo>
                  <a:cubicBezTo>
                    <a:pt x="47" y="73"/>
                    <a:pt x="47" y="73"/>
                    <a:pt x="47" y="72"/>
                  </a:cubicBezTo>
                  <a:cubicBezTo>
                    <a:pt x="38" y="69"/>
                    <a:pt x="38" y="69"/>
                    <a:pt x="38" y="69"/>
                  </a:cubicBezTo>
                  <a:cubicBezTo>
                    <a:pt x="37" y="69"/>
                    <a:pt x="37" y="69"/>
                    <a:pt x="36" y="69"/>
                  </a:cubicBezTo>
                  <a:cubicBezTo>
                    <a:pt x="36" y="69"/>
                    <a:pt x="36" y="69"/>
                    <a:pt x="36" y="69"/>
                  </a:cubicBezTo>
                  <a:cubicBezTo>
                    <a:pt x="36" y="69"/>
                    <a:pt x="35" y="69"/>
                    <a:pt x="35" y="69"/>
                  </a:cubicBezTo>
                  <a:cubicBezTo>
                    <a:pt x="25" y="72"/>
                    <a:pt x="25" y="72"/>
                    <a:pt x="25" y="72"/>
                  </a:cubicBezTo>
                  <a:cubicBezTo>
                    <a:pt x="25" y="73"/>
                    <a:pt x="25" y="73"/>
                    <a:pt x="25" y="73"/>
                  </a:cubicBezTo>
                  <a:cubicBezTo>
                    <a:pt x="24" y="73"/>
                    <a:pt x="24" y="72"/>
                    <a:pt x="24" y="71"/>
                  </a:cubicBezTo>
                  <a:cubicBezTo>
                    <a:pt x="24" y="68"/>
                    <a:pt x="24" y="68"/>
                    <a:pt x="24" y="68"/>
                  </a:cubicBezTo>
                  <a:cubicBezTo>
                    <a:pt x="24" y="68"/>
                    <a:pt x="24" y="68"/>
                    <a:pt x="24" y="68"/>
                  </a:cubicBezTo>
                  <a:cubicBezTo>
                    <a:pt x="24" y="68"/>
                    <a:pt x="24" y="67"/>
                    <a:pt x="24" y="67"/>
                  </a:cubicBezTo>
                  <a:cubicBezTo>
                    <a:pt x="32" y="61"/>
                    <a:pt x="32" y="61"/>
                    <a:pt x="32" y="61"/>
                  </a:cubicBezTo>
                  <a:cubicBezTo>
                    <a:pt x="32" y="41"/>
                    <a:pt x="32" y="41"/>
                    <a:pt x="32" y="41"/>
                  </a:cubicBezTo>
                  <a:cubicBezTo>
                    <a:pt x="1" y="48"/>
                    <a:pt x="1" y="48"/>
                    <a:pt x="1" y="48"/>
                  </a:cubicBezTo>
                  <a:cubicBezTo>
                    <a:pt x="1" y="48"/>
                    <a:pt x="1" y="48"/>
                    <a:pt x="1" y="48"/>
                  </a:cubicBezTo>
                  <a:cubicBezTo>
                    <a:pt x="0" y="48"/>
                    <a:pt x="0" y="47"/>
                    <a:pt x="0" y="47"/>
                  </a:cubicBezTo>
                  <a:cubicBezTo>
                    <a:pt x="0" y="42"/>
                    <a:pt x="0" y="42"/>
                    <a:pt x="0" y="42"/>
                  </a:cubicBezTo>
                  <a:cubicBezTo>
                    <a:pt x="0" y="42"/>
                    <a:pt x="0" y="42"/>
                    <a:pt x="0" y="42"/>
                  </a:cubicBezTo>
                  <a:cubicBezTo>
                    <a:pt x="0" y="42"/>
                    <a:pt x="0" y="41"/>
                    <a:pt x="1" y="41"/>
                  </a:cubicBezTo>
                  <a:cubicBezTo>
                    <a:pt x="31" y="24"/>
                    <a:pt x="31" y="24"/>
                    <a:pt x="31" y="24"/>
                  </a:cubicBezTo>
                  <a:cubicBezTo>
                    <a:pt x="31" y="24"/>
                    <a:pt x="32" y="24"/>
                    <a:pt x="32" y="24"/>
                  </a:cubicBezTo>
                  <a:cubicBezTo>
                    <a:pt x="32" y="7"/>
                    <a:pt x="32" y="7"/>
                    <a:pt x="32" y="7"/>
                  </a:cubicBezTo>
                  <a:cubicBezTo>
                    <a:pt x="32" y="2"/>
                    <a:pt x="34" y="0"/>
                    <a:pt x="36" y="0"/>
                  </a:cubicBezTo>
                  <a:cubicBezTo>
                    <a:pt x="39" y="0"/>
                    <a:pt x="41" y="2"/>
                    <a:pt x="41" y="7"/>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pPr defTabSz="1218565">
                <a:defRPr/>
              </a:pPr>
              <a:endParaRPr lang="zh-CN" altLang="en-US" sz="2400" kern="0">
                <a:ln w="12700">
                  <a:solidFill>
                    <a:schemeClr val="tx2">
                      <a:satMod val="155000"/>
                    </a:schemeClr>
                  </a:solidFill>
                  <a:prstDash val="solid"/>
                </a:ln>
                <a:solidFill>
                  <a:schemeClr val="tx1">
                    <a:lumMod val="50000"/>
                    <a:lumOff val="50000"/>
                  </a:schemeClr>
                </a:solidFill>
                <a:effectLst>
                  <a:outerShdw blurRad="41275" dist="20320" dir="1800000" algn="tl" rotWithShape="0">
                    <a:srgbClr val="000000">
                      <a:alpha val="40000"/>
                    </a:srgbClr>
                  </a:outerShdw>
                </a:effectLst>
              </a:endParaRPr>
            </a:p>
          </p:txBody>
        </p:sp>
        <p:sp>
          <p:nvSpPr>
            <p:cNvPr id="25" name="文本框 8"/>
            <p:cNvSpPr txBox="1"/>
            <p:nvPr/>
          </p:nvSpPr>
          <p:spPr>
            <a:xfrm>
              <a:off x="602450" y="3374557"/>
              <a:ext cx="2163967" cy="813685"/>
            </a:xfrm>
            <a:prstGeom prst="rect">
              <a:avLst/>
            </a:prstGeom>
            <a:noFill/>
          </p:spPr>
          <p:txBody>
            <a:bodyPr wrap="square" lIns="68580" tIns="34290" rIns="68580" bIns="3429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zh-CN" altLang="en-US" sz="1400" dirty="0">
                  <a:solidFill>
                    <a:schemeClr val="tx1">
                      <a:lumMod val="50000"/>
                      <a:lumOff val="50000"/>
                    </a:schemeClr>
                  </a:solidFill>
                  <a:latin typeface="微软雅黑" panose="020B0503020204020204" pitchFamily="34" charset="-122"/>
                  <a:ea typeface="微软雅黑" panose="020B0503020204020204" pitchFamily="34" charset="-122"/>
                </a:rPr>
                <a:t>请在此输入你的标题</a:t>
              </a:r>
              <a:endParaRPr lang="en-US" altLang="zh-CN" sz="1400" dirty="0">
                <a:solidFill>
                  <a:schemeClr val="tx1">
                    <a:lumMod val="50000"/>
                    <a:lumOff val="50000"/>
                  </a:schemeClr>
                </a:solidFill>
                <a:latin typeface="微软雅黑" panose="020B0503020204020204" pitchFamily="34" charset="-122"/>
                <a:ea typeface="微软雅黑" panose="020B0503020204020204" pitchFamily="34" charset="-122"/>
              </a:endParaRPr>
            </a:p>
            <a:p>
              <a:pPr algn="r"/>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a:t>
              </a:r>
              <a:r>
                <a:rPr lang="zh-CN" altLang="en-US" sz="1300" dirty="0" smtClean="0">
                  <a:solidFill>
                    <a:schemeClr val="tx1">
                      <a:lumMod val="50000"/>
                      <a:lumOff val="50000"/>
                    </a:schemeClr>
                  </a:solidFill>
                  <a:latin typeface="微软雅黑" panose="020B0503020204020204" pitchFamily="34" charset="-122"/>
                  <a:ea typeface="微软雅黑" panose="020B0503020204020204" pitchFamily="34" charset="-122"/>
                </a:rPr>
                <a:t>贴亮亮图文旗舰店</a:t>
              </a:r>
              <a:r>
                <a:rPr lang="en-US" altLang="zh-CN" sz="1300" dirty="0" smtClean="0">
                  <a:solidFill>
                    <a:schemeClr val="tx1">
                      <a:lumMod val="50000"/>
                      <a:lumOff val="50000"/>
                    </a:schemeClr>
                  </a:solidFill>
                  <a:latin typeface="微软雅黑" panose="020B0503020204020204" pitchFamily="34" charset="-122"/>
                  <a:ea typeface="微软雅黑" panose="020B0503020204020204" pitchFamily="34" charset="-122"/>
                </a:rPr>
                <a:t>https://liangliangtuwen.tmall.com</a:t>
              </a:r>
              <a:r>
                <a:rPr lang="zh-CN" altLang="en-US" sz="1300" dirty="0" smtClean="0">
                  <a:solidFill>
                    <a:schemeClr val="tx1">
                      <a:lumMod val="50000"/>
                      <a:lumOff val="50000"/>
                    </a:schemeClr>
                  </a:solidFill>
                  <a:latin typeface="微软雅黑" panose="020B0503020204020204" pitchFamily="34" charset="-122"/>
                  <a:ea typeface="微软雅黑" panose="020B0503020204020204" pitchFamily="34" charset="-122"/>
                </a:rPr>
                <a:t>或</a:t>
              </a:r>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a:p>
              <a:pPr algn="r"/>
              <a:r>
                <a:rPr lang="zh-CN" altLang="en-US" sz="1300" dirty="0">
                  <a:solidFill>
                    <a:schemeClr val="tx1">
                      <a:lumMod val="50000"/>
                      <a:lumOff val="50000"/>
                    </a:schemeClr>
                  </a:solidFill>
                  <a:latin typeface="微软雅黑" panose="020B0503020204020204" pitchFamily="34" charset="-122"/>
                  <a:ea typeface="微软雅黑" panose="020B0503020204020204" pitchFamily="34" charset="-122"/>
                </a:rPr>
                <a:t>请在此粘贴或者输入你的文字内容</a:t>
              </a:r>
              <a:endParaRPr lang="en-US" altLang="zh-CN" sz="13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sp>
        <p:nvSpPr>
          <p:cNvPr id="26" name="TextBox 25"/>
          <p:cNvSpPr txBox="1"/>
          <p:nvPr/>
        </p:nvSpPr>
        <p:spPr>
          <a:xfrm>
            <a:off x="83684" y="260649"/>
            <a:ext cx="831935" cy="400097"/>
          </a:xfrm>
          <a:prstGeom prst="rect">
            <a:avLst/>
          </a:prstGeom>
          <a:noFill/>
        </p:spPr>
        <p:txBody>
          <a:bodyPr wrap="none" lIns="121908" tIns="60954" rIns="121908" bIns="60954" rtlCol="0">
            <a:spAutoFit/>
          </a:bodyPr>
          <a:lstStyle/>
          <a:p>
            <a:r>
              <a:rPr lang="en-US" altLang="zh-CN" dirty="0">
                <a:solidFill>
                  <a:schemeClr val="bg1"/>
                </a:solidFill>
                <a:latin typeface="Impact" panose="020B0806030902050204" pitchFamily="34" charset="0"/>
              </a:rPr>
              <a:t>PART 1</a:t>
            </a:r>
            <a:endParaRPr lang="zh-CN" altLang="en-US" dirty="0">
              <a:solidFill>
                <a:schemeClr val="bg1"/>
              </a:solidFill>
              <a:latin typeface="Impact" panose="020B0806030902050204" pitchFamily="34" charset="0"/>
            </a:endParaRPr>
          </a:p>
        </p:txBody>
      </p:sp>
      <p:sp>
        <p:nvSpPr>
          <p:cNvPr id="27" name="TextBox 26"/>
          <p:cNvSpPr txBox="1"/>
          <p:nvPr/>
        </p:nvSpPr>
        <p:spPr>
          <a:xfrm>
            <a:off x="1523855" y="244774"/>
            <a:ext cx="2092856" cy="400097"/>
          </a:xfrm>
          <a:prstGeom prst="rect">
            <a:avLst/>
          </a:prstGeom>
          <a:noFill/>
        </p:spPr>
        <p:txBody>
          <a:bodyPr wrap="none" lIns="121908" tIns="60954" rIns="121908" bIns="60954"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单击输入文字标题</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p:cTn id="11" dur="500" fill="hold"/>
                                        <p:tgtEl>
                                          <p:spTgt spid="11"/>
                                        </p:tgtEl>
                                        <p:attrNameLst>
                                          <p:attrName>ppt_w</p:attrName>
                                        </p:attrNameLst>
                                      </p:cBhvr>
                                      <p:tavLst>
                                        <p:tav tm="0">
                                          <p:val>
                                            <p:fltVal val="0"/>
                                          </p:val>
                                        </p:tav>
                                        <p:tav tm="100000">
                                          <p:val>
                                            <p:strVal val="#ppt_w"/>
                                          </p:val>
                                        </p:tav>
                                      </p:tavLst>
                                    </p:anim>
                                    <p:anim calcmode="lin" valueType="num">
                                      <p:cBhvr>
                                        <p:cTn id="12" dur="500" fill="hold"/>
                                        <p:tgtEl>
                                          <p:spTgt spid="11"/>
                                        </p:tgtEl>
                                        <p:attrNameLst>
                                          <p:attrName>ppt_h</p:attrName>
                                        </p:attrNameLst>
                                      </p:cBhvr>
                                      <p:tavLst>
                                        <p:tav tm="0">
                                          <p:val>
                                            <p:fltVal val="0"/>
                                          </p:val>
                                        </p:tav>
                                        <p:tav tm="100000">
                                          <p:val>
                                            <p:strVal val="#ppt_h"/>
                                          </p:val>
                                        </p:tav>
                                      </p:tavLst>
                                    </p:anim>
                                    <p:animEffect transition="in" filter="fade">
                                      <p:cBhvr>
                                        <p:cTn id="13" dur="500"/>
                                        <p:tgtEl>
                                          <p:spTgt spid="11"/>
                                        </p:tgtEl>
                                      </p:cBhvr>
                                    </p:animEffect>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2500" fill="hold"/>
                                        <p:tgtEl>
                                          <p:spTgt spid="8"/>
                                        </p:tgtEl>
                                        <p:attrNameLst>
                                          <p:attrName>ppt_x</p:attrName>
                                        </p:attrNameLst>
                                      </p:cBhvr>
                                      <p:tavLst>
                                        <p:tav tm="0">
                                          <p:val>
                                            <p:strVal val="#ppt_x"/>
                                          </p:val>
                                        </p:tav>
                                        <p:tav tm="100000">
                                          <p:val>
                                            <p:strVal val="#ppt_x"/>
                                          </p:val>
                                        </p:tav>
                                      </p:tavLst>
                                    </p:anim>
                                    <p:anim calcmode="lin" valueType="num">
                                      <p:cBhvr additive="base">
                                        <p:cTn id="18" dur="2500" fill="hold"/>
                                        <p:tgtEl>
                                          <p:spTgt spid="8"/>
                                        </p:tgtEl>
                                        <p:attrNameLst>
                                          <p:attrName>ppt_y</p:attrName>
                                        </p:attrNameLst>
                                      </p:cBhvr>
                                      <p:tavLst>
                                        <p:tav tm="0">
                                          <p:val>
                                            <p:strVal val="1+#ppt_h/2"/>
                                          </p:val>
                                        </p:tav>
                                        <p:tav tm="100000">
                                          <p:val>
                                            <p:strVal val="#ppt_y"/>
                                          </p:val>
                                        </p:tav>
                                      </p:tavLst>
                                    </p:anim>
                                  </p:childTnLst>
                                </p:cTn>
                              </p:par>
                            </p:childTnLst>
                          </p:cTn>
                        </p:par>
                        <p:par>
                          <p:cTn id="19" fill="hold">
                            <p:stCondLst>
                              <p:cond delay="3500"/>
                            </p:stCondLst>
                            <p:childTnLst>
                              <p:par>
                                <p:cTn id="20" presetID="22" presetClass="entr" presetSubtype="4"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750"/>
                                        <p:tgtEl>
                                          <p:spTgt spid="7"/>
                                        </p:tgtEl>
                                      </p:cBhvr>
                                    </p:animEffect>
                                  </p:childTnLst>
                                </p:cTn>
                              </p:par>
                            </p:childTnLst>
                          </p:cTn>
                        </p:par>
                        <p:par>
                          <p:cTn id="23" fill="hold">
                            <p:stCondLst>
                              <p:cond delay="4500"/>
                            </p:stCondLst>
                            <p:childTnLst>
                              <p:par>
                                <p:cTn id="24" presetID="53" presetClass="entr" presetSubtype="16" fill="hold" nodeType="afterEffect">
                                  <p:stCondLst>
                                    <p:cond delay="0"/>
                                  </p:stCondLst>
                                  <p:childTnLst>
                                    <p:set>
                                      <p:cBhvr>
                                        <p:cTn id="25" dur="1" fill="hold">
                                          <p:stCondLst>
                                            <p:cond delay="0"/>
                                          </p:stCondLst>
                                        </p:cTn>
                                        <p:tgtEl>
                                          <p:spTgt spid="20"/>
                                        </p:tgtEl>
                                        <p:attrNameLst>
                                          <p:attrName>style.visibility</p:attrName>
                                        </p:attrNameLst>
                                      </p:cBhvr>
                                      <p:to>
                                        <p:strVal val="visible"/>
                                      </p:to>
                                    </p:set>
                                    <p:anim calcmode="lin" valueType="num">
                                      <p:cBhvr>
                                        <p:cTn id="26" dur="500" fill="hold"/>
                                        <p:tgtEl>
                                          <p:spTgt spid="20"/>
                                        </p:tgtEl>
                                        <p:attrNameLst>
                                          <p:attrName>ppt_w</p:attrName>
                                        </p:attrNameLst>
                                      </p:cBhvr>
                                      <p:tavLst>
                                        <p:tav tm="0">
                                          <p:val>
                                            <p:fltVal val="0"/>
                                          </p:val>
                                        </p:tav>
                                        <p:tav tm="100000">
                                          <p:val>
                                            <p:strVal val="#ppt_w"/>
                                          </p:val>
                                        </p:tav>
                                      </p:tavLst>
                                    </p:anim>
                                    <p:anim calcmode="lin" valueType="num">
                                      <p:cBhvr>
                                        <p:cTn id="27" dur="500" fill="hold"/>
                                        <p:tgtEl>
                                          <p:spTgt spid="20"/>
                                        </p:tgtEl>
                                        <p:attrNameLst>
                                          <p:attrName>ppt_h</p:attrName>
                                        </p:attrNameLst>
                                      </p:cBhvr>
                                      <p:tavLst>
                                        <p:tav tm="0">
                                          <p:val>
                                            <p:fltVal val="0"/>
                                          </p:val>
                                        </p:tav>
                                        <p:tav tm="100000">
                                          <p:val>
                                            <p:strVal val="#ppt_h"/>
                                          </p:val>
                                        </p:tav>
                                      </p:tavLst>
                                    </p:anim>
                                    <p:animEffect transition="in" filter="fade">
                                      <p:cBhvr>
                                        <p:cTn id="28" dur="500"/>
                                        <p:tgtEl>
                                          <p:spTgt spid="20"/>
                                        </p:tgtEl>
                                      </p:cBhvr>
                                    </p:animEffect>
                                  </p:childTnLst>
                                </p:cTn>
                              </p:par>
                            </p:childTnLst>
                          </p:cTn>
                        </p:par>
                        <p:par>
                          <p:cTn id="29" fill="hold">
                            <p:stCondLst>
                              <p:cond delay="5000"/>
                            </p:stCondLst>
                            <p:childTnLst>
                              <p:par>
                                <p:cTn id="30" presetID="22" presetClass="entr" presetSubtype="4" fill="hold" grpId="0"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down)">
                                      <p:cBhvr>
                                        <p:cTn id="32" dur="750"/>
                                        <p:tgtEl>
                                          <p:spTgt spid="6"/>
                                        </p:tgtEl>
                                      </p:cBhvr>
                                    </p:animEffect>
                                  </p:childTnLst>
                                </p:cTn>
                              </p:par>
                            </p:childTnLst>
                          </p:cTn>
                        </p:par>
                        <p:par>
                          <p:cTn id="33" fill="hold">
                            <p:stCondLst>
                              <p:cond delay="6000"/>
                            </p:stCondLst>
                            <p:childTnLst>
                              <p:par>
                                <p:cTn id="34" presetID="53" presetClass="entr" presetSubtype="16" fill="hold" nodeType="after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p:cTn id="36" dur="500" fill="hold"/>
                                        <p:tgtEl>
                                          <p:spTgt spid="14"/>
                                        </p:tgtEl>
                                        <p:attrNameLst>
                                          <p:attrName>ppt_w</p:attrName>
                                        </p:attrNameLst>
                                      </p:cBhvr>
                                      <p:tavLst>
                                        <p:tav tm="0">
                                          <p:val>
                                            <p:fltVal val="0"/>
                                          </p:val>
                                        </p:tav>
                                        <p:tav tm="100000">
                                          <p:val>
                                            <p:strVal val="#ppt_w"/>
                                          </p:val>
                                        </p:tav>
                                      </p:tavLst>
                                    </p:anim>
                                    <p:anim calcmode="lin" valueType="num">
                                      <p:cBhvr>
                                        <p:cTn id="37" dur="500" fill="hold"/>
                                        <p:tgtEl>
                                          <p:spTgt spid="14"/>
                                        </p:tgtEl>
                                        <p:attrNameLst>
                                          <p:attrName>ppt_h</p:attrName>
                                        </p:attrNameLst>
                                      </p:cBhvr>
                                      <p:tavLst>
                                        <p:tav tm="0">
                                          <p:val>
                                            <p:fltVal val="0"/>
                                          </p:val>
                                        </p:tav>
                                        <p:tav tm="100000">
                                          <p:val>
                                            <p:strVal val="#ppt_h"/>
                                          </p:val>
                                        </p:tav>
                                      </p:tavLst>
                                    </p:anim>
                                    <p:animEffect transition="in" filter="fade">
                                      <p:cBhvr>
                                        <p:cTn id="38" dur="500"/>
                                        <p:tgtEl>
                                          <p:spTgt spid="14"/>
                                        </p:tgtEl>
                                      </p:cBhvr>
                                    </p:animEffect>
                                  </p:childTnLst>
                                </p:cTn>
                              </p:par>
                            </p:childTnLst>
                          </p:cTn>
                        </p:par>
                        <p:par>
                          <p:cTn id="39" fill="hold">
                            <p:stCondLst>
                              <p:cond delay="6500"/>
                            </p:stCondLst>
                            <p:childTnLst>
                              <p:par>
                                <p:cTn id="40" presetID="22" presetClass="entr" presetSubtype="4" fill="hold" grpId="0"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wipe(down)">
                                      <p:cBhvr>
                                        <p:cTn id="42" dur="750"/>
                                        <p:tgtEl>
                                          <p:spTgt spid="5"/>
                                        </p:tgtEl>
                                      </p:cBhvr>
                                    </p:animEffect>
                                  </p:childTnLst>
                                </p:cTn>
                              </p:par>
                            </p:childTnLst>
                          </p:cTn>
                        </p:par>
                        <p:par>
                          <p:cTn id="43" fill="hold">
                            <p:stCondLst>
                              <p:cond delay="7500"/>
                            </p:stCondLst>
                            <p:childTnLst>
                              <p:par>
                                <p:cTn id="44" presetID="53" presetClass="entr" presetSubtype="16" fill="hold" nodeType="afterEffect">
                                  <p:stCondLst>
                                    <p:cond delay="0"/>
                                  </p:stCondLst>
                                  <p:childTnLst>
                                    <p:set>
                                      <p:cBhvr>
                                        <p:cTn id="45" dur="1" fill="hold">
                                          <p:stCondLst>
                                            <p:cond delay="0"/>
                                          </p:stCondLst>
                                        </p:cTn>
                                        <p:tgtEl>
                                          <p:spTgt spid="23"/>
                                        </p:tgtEl>
                                        <p:attrNameLst>
                                          <p:attrName>style.visibility</p:attrName>
                                        </p:attrNameLst>
                                      </p:cBhvr>
                                      <p:to>
                                        <p:strVal val="visible"/>
                                      </p:to>
                                    </p:set>
                                    <p:anim calcmode="lin" valueType="num">
                                      <p:cBhvr>
                                        <p:cTn id="46" dur="500" fill="hold"/>
                                        <p:tgtEl>
                                          <p:spTgt spid="23"/>
                                        </p:tgtEl>
                                        <p:attrNameLst>
                                          <p:attrName>ppt_w</p:attrName>
                                        </p:attrNameLst>
                                      </p:cBhvr>
                                      <p:tavLst>
                                        <p:tav tm="0">
                                          <p:val>
                                            <p:fltVal val="0"/>
                                          </p:val>
                                        </p:tav>
                                        <p:tav tm="100000">
                                          <p:val>
                                            <p:strVal val="#ppt_w"/>
                                          </p:val>
                                        </p:tav>
                                      </p:tavLst>
                                    </p:anim>
                                    <p:anim calcmode="lin" valueType="num">
                                      <p:cBhvr>
                                        <p:cTn id="47" dur="500" fill="hold"/>
                                        <p:tgtEl>
                                          <p:spTgt spid="23"/>
                                        </p:tgtEl>
                                        <p:attrNameLst>
                                          <p:attrName>ppt_h</p:attrName>
                                        </p:attrNameLst>
                                      </p:cBhvr>
                                      <p:tavLst>
                                        <p:tav tm="0">
                                          <p:val>
                                            <p:fltVal val="0"/>
                                          </p:val>
                                        </p:tav>
                                        <p:tav tm="100000">
                                          <p:val>
                                            <p:strVal val="#ppt_h"/>
                                          </p:val>
                                        </p:tav>
                                      </p:tavLst>
                                    </p:anim>
                                    <p:animEffect transition="in" filter="fade">
                                      <p:cBhvr>
                                        <p:cTn id="48" dur="500"/>
                                        <p:tgtEl>
                                          <p:spTgt spid="23"/>
                                        </p:tgtEl>
                                      </p:cBhvr>
                                    </p:animEffect>
                                  </p:childTnLst>
                                </p:cTn>
                              </p:par>
                            </p:childTnLst>
                          </p:cTn>
                        </p:par>
                        <p:par>
                          <p:cTn id="49" fill="hold">
                            <p:stCondLst>
                              <p:cond delay="8000"/>
                            </p:stCondLst>
                            <p:childTnLst>
                              <p:par>
                                <p:cTn id="50" presetID="22" presetClass="entr" presetSubtype="4" fill="hold" grpId="0" nodeType="after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wipe(down)">
                                      <p:cBhvr>
                                        <p:cTn id="52" dur="750"/>
                                        <p:tgtEl>
                                          <p:spTgt spid="4"/>
                                        </p:tgtEl>
                                      </p:cBhvr>
                                    </p:animEffect>
                                  </p:childTnLst>
                                </p:cTn>
                              </p:par>
                            </p:childTnLst>
                          </p:cTn>
                        </p:par>
                        <p:par>
                          <p:cTn id="53" fill="hold">
                            <p:stCondLst>
                              <p:cond delay="9000"/>
                            </p:stCondLst>
                            <p:childTnLst>
                              <p:par>
                                <p:cTn id="54" presetID="53" presetClass="entr" presetSubtype="16" fill="hold" nodeType="afterEffect">
                                  <p:stCondLst>
                                    <p:cond delay="0"/>
                                  </p:stCondLst>
                                  <p:childTnLst>
                                    <p:set>
                                      <p:cBhvr>
                                        <p:cTn id="55" dur="1" fill="hold">
                                          <p:stCondLst>
                                            <p:cond delay="0"/>
                                          </p:stCondLst>
                                        </p:cTn>
                                        <p:tgtEl>
                                          <p:spTgt spid="17"/>
                                        </p:tgtEl>
                                        <p:attrNameLst>
                                          <p:attrName>style.visibility</p:attrName>
                                        </p:attrNameLst>
                                      </p:cBhvr>
                                      <p:to>
                                        <p:strVal val="visible"/>
                                      </p:to>
                                    </p:set>
                                    <p:anim calcmode="lin" valueType="num">
                                      <p:cBhvr>
                                        <p:cTn id="56" dur="500" fill="hold"/>
                                        <p:tgtEl>
                                          <p:spTgt spid="17"/>
                                        </p:tgtEl>
                                        <p:attrNameLst>
                                          <p:attrName>ppt_w</p:attrName>
                                        </p:attrNameLst>
                                      </p:cBhvr>
                                      <p:tavLst>
                                        <p:tav tm="0">
                                          <p:val>
                                            <p:fltVal val="0"/>
                                          </p:val>
                                        </p:tav>
                                        <p:tav tm="100000">
                                          <p:val>
                                            <p:strVal val="#ppt_w"/>
                                          </p:val>
                                        </p:tav>
                                      </p:tavLst>
                                    </p:anim>
                                    <p:anim calcmode="lin" valueType="num">
                                      <p:cBhvr>
                                        <p:cTn id="57" dur="500" fill="hold"/>
                                        <p:tgtEl>
                                          <p:spTgt spid="17"/>
                                        </p:tgtEl>
                                        <p:attrNameLst>
                                          <p:attrName>ppt_h</p:attrName>
                                        </p:attrNameLst>
                                      </p:cBhvr>
                                      <p:tavLst>
                                        <p:tav tm="0">
                                          <p:val>
                                            <p:fltVal val="0"/>
                                          </p:val>
                                        </p:tav>
                                        <p:tav tm="100000">
                                          <p:val>
                                            <p:strVal val="#ppt_h"/>
                                          </p:val>
                                        </p:tav>
                                      </p:tavLst>
                                    </p:anim>
                                    <p:animEffect transition="in" filter="fade">
                                      <p:cBhvr>
                                        <p:cTn id="5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95" y="4774256"/>
            <a:ext cx="12190413" cy="20853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p>
        </p:txBody>
      </p:sp>
      <p:sp>
        <p:nvSpPr>
          <p:cNvPr id="3" name="矩形 2"/>
          <p:cNvSpPr/>
          <p:nvPr/>
        </p:nvSpPr>
        <p:spPr>
          <a:xfrm>
            <a:off x="4637243" y="4887821"/>
            <a:ext cx="2917514" cy="615696"/>
          </a:xfrm>
          <a:prstGeom prst="rect">
            <a:avLst/>
          </a:prstGeom>
        </p:spPr>
        <p:txBody>
          <a:bodyPr wrap="none" lIns="121917" tIns="60958" rIns="121917" bIns="60958">
            <a:spAutoFit/>
          </a:bodyPr>
          <a:lstStyle/>
          <a:p>
            <a:pPr algn="ctr"/>
            <a:r>
              <a:rPr lang="en-US" altLang="zh-CN" sz="3200" dirty="0">
                <a:solidFill>
                  <a:srgbClr val="B25808"/>
                </a:solidFill>
                <a:latin typeface="Impact" panose="020B0806030902050204" pitchFamily="34" charset="0"/>
              </a:rPr>
              <a:t>Company  Name</a:t>
            </a:r>
          </a:p>
        </p:txBody>
      </p:sp>
      <p:sp>
        <p:nvSpPr>
          <p:cNvPr id="4" name="TextBox 3"/>
          <p:cNvSpPr txBox="1"/>
          <p:nvPr/>
        </p:nvSpPr>
        <p:spPr>
          <a:xfrm>
            <a:off x="4126233" y="5309008"/>
            <a:ext cx="3939535" cy="861770"/>
          </a:xfrm>
          <a:prstGeom prst="rect">
            <a:avLst/>
          </a:prstGeom>
          <a:noFill/>
        </p:spPr>
        <p:txBody>
          <a:bodyPr wrap="none" lIns="121917" tIns="60958" rIns="121917" bIns="60958" rtlCol="0">
            <a:spAutoFit/>
          </a:bodyPr>
          <a:lstStyle/>
          <a:p>
            <a:pPr algn="ctr"/>
            <a:r>
              <a:rPr lang="zh-CN" altLang="en-US" sz="4800" b="1" dirty="0" smtClean="0">
                <a:blipFill>
                  <a:blip r:embed="rId2"/>
                  <a:stretch>
                    <a:fillRect/>
                  </a:stretch>
                </a:blipFill>
                <a:latin typeface="微软雅黑" panose="020B0503020204020204" pitchFamily="34" charset="-122"/>
                <a:ea typeface="微软雅黑" panose="020B0503020204020204" pitchFamily="34" charset="-122"/>
              </a:rPr>
              <a:t>感谢您的观看</a:t>
            </a:r>
            <a:endParaRPr lang="zh-CN" altLang="en-US" sz="4800" b="1" dirty="0">
              <a:blipFill>
                <a:blip r:embed="rId2"/>
                <a:stretch>
                  <a:fillRect/>
                </a:stretch>
              </a:blipFill>
              <a:latin typeface="微软雅黑" panose="020B0503020204020204" pitchFamily="34" charset="-122"/>
              <a:ea typeface="微软雅黑" panose="020B0503020204020204" pitchFamily="34" charset="-122"/>
            </a:endParaRPr>
          </a:p>
        </p:txBody>
      </p:sp>
      <p:sp>
        <p:nvSpPr>
          <p:cNvPr id="5" name="TextBox 6"/>
          <p:cNvSpPr txBox="1"/>
          <p:nvPr/>
        </p:nvSpPr>
        <p:spPr>
          <a:xfrm>
            <a:off x="3359696" y="6054295"/>
            <a:ext cx="5472608" cy="861774"/>
          </a:xfrm>
          <a:prstGeom prst="rect">
            <a:avLst/>
          </a:prstGeom>
          <a:noFill/>
          <a:effectLst/>
        </p:spPr>
        <p:txBody>
          <a:bodyPr wrap="square" rtlCol="0">
            <a:spAutoFit/>
          </a:bodyPr>
          <a:lstStyle/>
          <a:p>
            <a:pPr algn="ctr"/>
            <a:r>
              <a:rPr lang="en-US" altLang="zh-CN" sz="1000" dirty="0">
                <a:solidFill>
                  <a:srgbClr val="22010D"/>
                </a:solidFill>
                <a:latin typeface="微软雅黑" panose="020B0503020204020204" pitchFamily="34" charset="-122"/>
                <a:ea typeface="微软雅黑" panose="020B0503020204020204" pitchFamily="34" charset="-122"/>
              </a:rPr>
              <a:t>Your content to play here, or through your copy, paste in this box, and select only </a:t>
            </a:r>
          </a:p>
          <a:p>
            <a:pPr algn="ctr"/>
            <a:r>
              <a:rPr lang="en-US" altLang="zh-CN" sz="1000" dirty="0">
                <a:solidFill>
                  <a:srgbClr val="22010D"/>
                </a:solidFill>
                <a:latin typeface="微软雅黑" panose="020B0503020204020204" pitchFamily="34" charset="-122"/>
                <a:ea typeface="微软雅黑" panose="020B0503020204020204" pitchFamily="34" charset="-122"/>
              </a:rPr>
              <a:t>the text. Your content to play here, or </a:t>
            </a:r>
            <a:r>
              <a:rPr lang="en-US" altLang="zh-CN" sz="1000" dirty="0" smtClean="0">
                <a:solidFill>
                  <a:srgbClr val="22010D"/>
                </a:solidFill>
                <a:latin typeface="微软雅黑" panose="020B0503020204020204" pitchFamily="34" charset="-122"/>
                <a:ea typeface="微软雅黑" panose="020B0503020204020204" pitchFamily="34" charset="-122"/>
              </a:rPr>
              <a:t>through</a:t>
            </a:r>
            <a:r>
              <a:rPr lang="zh-CN" altLang="en-US" sz="1000" dirty="0" smtClean="0">
                <a:solidFill>
                  <a:srgbClr val="22010D"/>
                </a:solidFill>
                <a:latin typeface="微软雅黑" panose="020B0503020204020204" pitchFamily="34" charset="-122"/>
                <a:ea typeface="微软雅黑" panose="020B0503020204020204" pitchFamily="34" charset="-122"/>
              </a:rPr>
              <a:t> 亮亮图文旗舰店</a:t>
            </a:r>
            <a:r>
              <a:rPr lang="en-US" altLang="zh-CN" sz="1000" dirty="0" smtClean="0">
                <a:solidFill>
                  <a:srgbClr val="22010D"/>
                </a:solidFill>
                <a:latin typeface="微软雅黑" panose="020B0503020204020204" pitchFamily="34" charset="-122"/>
                <a:ea typeface="微软雅黑" panose="020B0503020204020204" pitchFamily="34" charset="-122"/>
              </a:rPr>
              <a:t>https://liangliangtuwen.tmall.com</a:t>
            </a:r>
          </a:p>
          <a:p>
            <a:pPr algn="ctr"/>
            <a:r>
              <a:rPr lang="en-US" altLang="zh-CN" sz="1000" dirty="0" smtClean="0">
                <a:solidFill>
                  <a:srgbClr val="22010D"/>
                </a:solidFill>
                <a:latin typeface="微软雅黑" panose="020B0503020204020204" pitchFamily="34" charset="-122"/>
                <a:ea typeface="微软雅黑" panose="020B0503020204020204" pitchFamily="34" charset="-122"/>
              </a:rPr>
              <a:t> </a:t>
            </a:r>
            <a:r>
              <a:rPr lang="en-US" altLang="zh-CN" sz="1000" dirty="0">
                <a:solidFill>
                  <a:srgbClr val="22010D"/>
                </a:solidFill>
                <a:latin typeface="微软雅黑" panose="020B0503020204020204" pitchFamily="34" charset="-122"/>
                <a:ea typeface="微软雅黑" panose="020B0503020204020204" pitchFamily="34" charset="-122"/>
              </a:rPr>
              <a:t>your copy, paste in </a:t>
            </a:r>
          </a:p>
          <a:p>
            <a:pPr algn="ctr"/>
            <a:r>
              <a:rPr lang="en-US" altLang="zh-CN" sz="1000" dirty="0">
                <a:solidFill>
                  <a:srgbClr val="22010D"/>
                </a:solidFill>
                <a:latin typeface="微软雅黑" panose="020B0503020204020204" pitchFamily="34" charset="-122"/>
                <a:ea typeface="微软雅黑" panose="020B0503020204020204" pitchFamily="34" charset="-122"/>
              </a:rPr>
              <a:t>this box, and select only the text.</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6" presetClass="entr" presetSubtype="21"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barn(inVertical)">
                                      <p:cBhvr>
                                        <p:cTn id="15" dur="500"/>
                                        <p:tgtEl>
                                          <p:spTgt spid="4"/>
                                        </p:tgtEl>
                                      </p:cBhvr>
                                    </p:animEffect>
                                  </p:childTnLst>
                                </p:cTn>
                              </p:par>
                            </p:childTnLst>
                          </p:cTn>
                        </p:par>
                        <p:par>
                          <p:cTn id="16" fill="hold">
                            <p:stCondLst>
                              <p:cond delay="1500"/>
                            </p:stCondLst>
                            <p:childTnLst>
                              <p:par>
                                <p:cTn id="17" presetID="16" presetClass="entr" presetSubtype="37"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barn(outVertical)">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 Placeholder 3"/>
          <p:cNvSpPr txBox="1"/>
          <p:nvPr/>
        </p:nvSpPr>
        <p:spPr>
          <a:xfrm>
            <a:off x="2379846" y="3553519"/>
            <a:ext cx="961677"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en-US" sz="1600" b="1" dirty="0">
                <a:solidFill>
                  <a:schemeClr val="accent1"/>
                </a:solidFill>
                <a:latin typeface="微软雅黑" panose="020B0503020204020204" pitchFamily="34" charset="-122"/>
                <a:ea typeface="微软雅黑" panose="020B0503020204020204" pitchFamily="34" charset="-122"/>
              </a:rPr>
              <a:t>399,834</a:t>
            </a:r>
            <a:r>
              <a:rPr lang="en-US" altLang="zh-CN" sz="1600" b="1" dirty="0">
                <a:solidFill>
                  <a:schemeClr val="accent1"/>
                </a:solidFill>
                <a:latin typeface="微软雅黑" panose="020B0503020204020204" pitchFamily="34" charset="-122"/>
                <a:ea typeface="微软雅黑" panose="020B0503020204020204" pitchFamily="34" charset="-122"/>
              </a:rPr>
              <a:t>K</a:t>
            </a:r>
            <a:endParaRPr lang="en-US" sz="1600" b="1" dirty="0">
              <a:solidFill>
                <a:schemeClr val="accent1"/>
              </a:solidFill>
              <a:latin typeface="微软雅黑" panose="020B0503020204020204" pitchFamily="34" charset="-122"/>
              <a:ea typeface="微软雅黑" panose="020B0503020204020204" pitchFamily="34" charset="-122"/>
            </a:endParaRPr>
          </a:p>
        </p:txBody>
      </p:sp>
      <p:sp>
        <p:nvSpPr>
          <p:cNvPr id="34" name="Text Placeholder 3"/>
          <p:cNvSpPr txBox="1"/>
          <p:nvPr/>
        </p:nvSpPr>
        <p:spPr>
          <a:xfrm>
            <a:off x="4898288" y="3553519"/>
            <a:ext cx="1088297"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en-US" sz="1600" b="1" dirty="0">
                <a:solidFill>
                  <a:schemeClr val="accent2"/>
                </a:solidFill>
                <a:latin typeface="微软雅黑" panose="020B0503020204020204" pitchFamily="34" charset="-122"/>
                <a:ea typeface="微软雅黑" panose="020B0503020204020204" pitchFamily="34" charset="-122"/>
              </a:rPr>
              <a:t>487</a:t>
            </a:r>
            <a:r>
              <a:rPr lang="en-US" altLang="zh-CN" sz="1600" b="1" dirty="0">
                <a:solidFill>
                  <a:schemeClr val="accent2"/>
                </a:solidFill>
                <a:latin typeface="微软雅黑" panose="020B0503020204020204" pitchFamily="34" charset="-122"/>
                <a:ea typeface="微软雅黑" panose="020B0503020204020204" pitchFamily="34" charset="-122"/>
              </a:rPr>
              <a:t>3,834K</a:t>
            </a:r>
          </a:p>
        </p:txBody>
      </p:sp>
      <p:sp>
        <p:nvSpPr>
          <p:cNvPr id="35" name="Text Placeholder 3"/>
          <p:cNvSpPr txBox="1"/>
          <p:nvPr/>
        </p:nvSpPr>
        <p:spPr>
          <a:xfrm>
            <a:off x="7479190" y="3553519"/>
            <a:ext cx="1088297"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en-US" sz="1600" b="1" dirty="0">
                <a:solidFill>
                  <a:schemeClr val="accent1"/>
                </a:solidFill>
                <a:latin typeface="微软雅黑" panose="020B0503020204020204" pitchFamily="34" charset="-122"/>
                <a:ea typeface="微软雅黑" panose="020B0503020204020204" pitchFamily="34" charset="-122"/>
              </a:rPr>
              <a:t>5258,487</a:t>
            </a:r>
            <a:r>
              <a:rPr lang="en-US" altLang="zh-CN" sz="1600" b="1" dirty="0">
                <a:solidFill>
                  <a:schemeClr val="accent1"/>
                </a:solidFill>
                <a:latin typeface="微软雅黑" panose="020B0503020204020204" pitchFamily="34" charset="-122"/>
                <a:ea typeface="微软雅黑" panose="020B0503020204020204" pitchFamily="34" charset="-122"/>
              </a:rPr>
              <a:t>K</a:t>
            </a:r>
            <a:endParaRPr lang="en-US" sz="1600" b="1" dirty="0">
              <a:solidFill>
                <a:schemeClr val="accent1"/>
              </a:solidFill>
              <a:latin typeface="微软雅黑" panose="020B0503020204020204" pitchFamily="34" charset="-122"/>
              <a:ea typeface="微软雅黑" panose="020B0503020204020204" pitchFamily="34" charset="-122"/>
            </a:endParaRPr>
          </a:p>
        </p:txBody>
      </p:sp>
      <p:sp>
        <p:nvSpPr>
          <p:cNvPr id="36" name="Text Placeholder 3"/>
          <p:cNvSpPr txBox="1"/>
          <p:nvPr/>
        </p:nvSpPr>
        <p:spPr>
          <a:xfrm>
            <a:off x="10092170" y="3553519"/>
            <a:ext cx="961677" cy="246221"/>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en-US" sz="1600" b="1" dirty="0">
                <a:solidFill>
                  <a:schemeClr val="accent2"/>
                </a:solidFill>
                <a:latin typeface="微软雅黑" panose="020B0503020204020204" pitchFamily="34" charset="-122"/>
                <a:ea typeface="微软雅黑" panose="020B0503020204020204" pitchFamily="34" charset="-122"/>
              </a:rPr>
              <a:t>258,487</a:t>
            </a:r>
            <a:r>
              <a:rPr lang="en-US" altLang="zh-CN" sz="1600" b="1" dirty="0">
                <a:solidFill>
                  <a:schemeClr val="accent2"/>
                </a:solidFill>
                <a:latin typeface="微软雅黑" panose="020B0503020204020204" pitchFamily="34" charset="-122"/>
                <a:ea typeface="微软雅黑" panose="020B0503020204020204" pitchFamily="34" charset="-122"/>
              </a:rPr>
              <a:t>K</a:t>
            </a:r>
            <a:endParaRPr lang="en-US" sz="1600" b="1" dirty="0">
              <a:solidFill>
                <a:schemeClr val="accent2"/>
              </a:solidFill>
              <a:latin typeface="微软雅黑" panose="020B0503020204020204" pitchFamily="34" charset="-122"/>
              <a:ea typeface="微软雅黑" panose="020B0503020204020204" pitchFamily="34" charset="-122"/>
            </a:endParaRPr>
          </a:p>
        </p:txBody>
      </p:sp>
      <p:cxnSp>
        <p:nvCxnSpPr>
          <p:cNvPr id="49" name="Straight Connector 88"/>
          <p:cNvCxnSpPr/>
          <p:nvPr/>
        </p:nvCxnSpPr>
        <p:spPr>
          <a:xfrm flipH="1">
            <a:off x="1277959" y="3860753"/>
            <a:ext cx="9636087" cy="0"/>
          </a:xfrm>
          <a:prstGeom prst="line">
            <a:avLst/>
          </a:prstGeom>
          <a:ln w="19050">
            <a:solidFill>
              <a:schemeClr val="tx1">
                <a:lumMod val="65000"/>
                <a:lumOff val="3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53" name="Oval 8"/>
          <p:cNvSpPr>
            <a:spLocks noChangeAspect="1"/>
          </p:cNvSpPr>
          <p:nvPr/>
        </p:nvSpPr>
        <p:spPr>
          <a:xfrm>
            <a:off x="1433137" y="1710016"/>
            <a:ext cx="1619789" cy="1620000"/>
          </a:xfrm>
          <a:prstGeom prst="ellipse">
            <a:avLst/>
          </a:prstGeom>
          <a:blipFill>
            <a:blip r:embed="rId3" cstate="print"/>
            <a:srcRect/>
            <a:stretch>
              <a:fillRect/>
            </a:stretch>
          </a:blip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5" dirty="0">
              <a:solidFill>
                <a:schemeClr val="bg1"/>
              </a:solidFill>
            </a:endParaRPr>
          </a:p>
        </p:txBody>
      </p:sp>
      <p:grpSp>
        <p:nvGrpSpPr>
          <p:cNvPr id="54" name="Group 94"/>
          <p:cNvGrpSpPr/>
          <p:nvPr/>
        </p:nvGrpSpPr>
        <p:grpSpPr>
          <a:xfrm>
            <a:off x="2146682" y="3352519"/>
            <a:ext cx="192698" cy="948263"/>
            <a:chOff x="1690019" y="2064423"/>
            <a:chExt cx="144542" cy="711197"/>
          </a:xfrm>
        </p:grpSpPr>
        <p:cxnSp>
          <p:nvCxnSpPr>
            <p:cNvPr id="55" name="Straight Connector 75"/>
            <p:cNvCxnSpPr/>
            <p:nvPr/>
          </p:nvCxnSpPr>
          <p:spPr>
            <a:xfrm flipH="1">
              <a:off x="1762290" y="2064423"/>
              <a:ext cx="1" cy="613924"/>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60" name="Oval 32"/>
            <p:cNvSpPr/>
            <p:nvPr/>
          </p:nvSpPr>
          <p:spPr>
            <a:xfrm>
              <a:off x="1690019" y="2631078"/>
              <a:ext cx="144542" cy="144542"/>
            </a:xfrm>
            <a:prstGeom prst="ellipse">
              <a:avLst/>
            </a:prstGeom>
            <a:solidFill>
              <a:schemeClr val="bg1"/>
            </a:solidFill>
            <a:ln w="19050">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grpSp>
      <p:sp>
        <p:nvSpPr>
          <p:cNvPr id="61" name="Oval 109"/>
          <p:cNvSpPr>
            <a:spLocks noChangeAspect="1"/>
          </p:cNvSpPr>
          <p:nvPr/>
        </p:nvSpPr>
        <p:spPr>
          <a:xfrm>
            <a:off x="3859046" y="1422016"/>
            <a:ext cx="1907752" cy="1908000"/>
          </a:xfrm>
          <a:prstGeom prst="ellipse">
            <a:avLst/>
          </a:prstGeom>
          <a:blipFill>
            <a:blip r:embed="rId4" cstate="print"/>
            <a:srcRect/>
            <a:stretch>
              <a:fillRect/>
            </a:stretch>
          </a:blip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5" dirty="0">
              <a:solidFill>
                <a:schemeClr val="bg1"/>
              </a:solidFill>
            </a:endParaRPr>
          </a:p>
        </p:txBody>
      </p:sp>
      <p:grpSp>
        <p:nvGrpSpPr>
          <p:cNvPr id="62" name="Group 110"/>
          <p:cNvGrpSpPr/>
          <p:nvPr/>
        </p:nvGrpSpPr>
        <p:grpSpPr>
          <a:xfrm>
            <a:off x="4716574" y="3352519"/>
            <a:ext cx="192698" cy="948263"/>
            <a:chOff x="1690019" y="2064423"/>
            <a:chExt cx="144542" cy="711197"/>
          </a:xfrm>
        </p:grpSpPr>
        <p:cxnSp>
          <p:nvCxnSpPr>
            <p:cNvPr id="67" name="Straight Connector 111"/>
            <p:cNvCxnSpPr/>
            <p:nvPr/>
          </p:nvCxnSpPr>
          <p:spPr>
            <a:xfrm flipH="1">
              <a:off x="1762290" y="2064423"/>
              <a:ext cx="1" cy="613924"/>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68" name="Oval 112"/>
            <p:cNvSpPr/>
            <p:nvPr/>
          </p:nvSpPr>
          <p:spPr>
            <a:xfrm>
              <a:off x="1690019" y="2631078"/>
              <a:ext cx="144542" cy="144542"/>
            </a:xfrm>
            <a:prstGeom prst="ellipse">
              <a:avLst/>
            </a:prstGeom>
            <a:solidFill>
              <a:schemeClr val="bg1"/>
            </a:solidFill>
            <a:ln w="19050">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grpSp>
      <p:sp>
        <p:nvSpPr>
          <p:cNvPr id="69" name="Oval 127"/>
          <p:cNvSpPr>
            <a:spLocks noChangeAspect="1"/>
          </p:cNvSpPr>
          <p:nvPr/>
        </p:nvSpPr>
        <p:spPr>
          <a:xfrm>
            <a:off x="6429744" y="1422016"/>
            <a:ext cx="1907752" cy="1908000"/>
          </a:xfrm>
          <a:prstGeom prst="ellipse">
            <a:avLst/>
          </a:prstGeom>
          <a:blipFill>
            <a:blip r:embed="rId5" cstate="print"/>
            <a:srcRect/>
            <a:stretch>
              <a:fillRect/>
            </a:stretch>
          </a:blip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5" dirty="0">
              <a:solidFill>
                <a:schemeClr val="bg1"/>
              </a:solidFill>
            </a:endParaRPr>
          </a:p>
        </p:txBody>
      </p:sp>
      <p:grpSp>
        <p:nvGrpSpPr>
          <p:cNvPr id="74" name="Group 128"/>
          <p:cNvGrpSpPr/>
          <p:nvPr/>
        </p:nvGrpSpPr>
        <p:grpSpPr>
          <a:xfrm>
            <a:off x="7286465" y="3352519"/>
            <a:ext cx="192698" cy="948263"/>
            <a:chOff x="1690019" y="2064423"/>
            <a:chExt cx="144542" cy="711197"/>
          </a:xfrm>
        </p:grpSpPr>
        <p:cxnSp>
          <p:nvCxnSpPr>
            <p:cNvPr id="75" name="Straight Connector 129"/>
            <p:cNvCxnSpPr/>
            <p:nvPr/>
          </p:nvCxnSpPr>
          <p:spPr>
            <a:xfrm flipH="1">
              <a:off x="1762290" y="2064423"/>
              <a:ext cx="1" cy="613924"/>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76" name="Oval 130"/>
            <p:cNvSpPr/>
            <p:nvPr/>
          </p:nvSpPr>
          <p:spPr>
            <a:xfrm>
              <a:off x="1690019" y="2631078"/>
              <a:ext cx="144542" cy="144542"/>
            </a:xfrm>
            <a:prstGeom prst="ellipse">
              <a:avLst/>
            </a:prstGeom>
            <a:solidFill>
              <a:schemeClr val="bg1"/>
            </a:solidFill>
            <a:ln w="19050">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grpSp>
      <p:sp>
        <p:nvSpPr>
          <p:cNvPr id="81" name="Oval 145"/>
          <p:cNvSpPr>
            <a:spLocks noChangeAspect="1"/>
          </p:cNvSpPr>
          <p:nvPr/>
        </p:nvSpPr>
        <p:spPr>
          <a:xfrm>
            <a:off x="9142811" y="1710016"/>
            <a:ext cx="1619789" cy="1620000"/>
          </a:xfrm>
          <a:prstGeom prst="ellipse">
            <a:avLst/>
          </a:prstGeom>
          <a:blipFill>
            <a:blip r:embed="rId6" cstate="print"/>
            <a:srcRect/>
            <a:stretch>
              <a:fillRect/>
            </a:stretch>
          </a:blip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735" dirty="0">
              <a:solidFill>
                <a:schemeClr val="bg1"/>
              </a:solidFill>
            </a:endParaRPr>
          </a:p>
        </p:txBody>
      </p:sp>
      <p:grpSp>
        <p:nvGrpSpPr>
          <p:cNvPr id="82" name="Group 146"/>
          <p:cNvGrpSpPr/>
          <p:nvPr/>
        </p:nvGrpSpPr>
        <p:grpSpPr>
          <a:xfrm>
            <a:off x="9856356" y="3352519"/>
            <a:ext cx="192698" cy="948263"/>
            <a:chOff x="1690019" y="2064423"/>
            <a:chExt cx="144542" cy="711197"/>
          </a:xfrm>
        </p:grpSpPr>
        <p:cxnSp>
          <p:nvCxnSpPr>
            <p:cNvPr id="83" name="Straight Connector 147"/>
            <p:cNvCxnSpPr/>
            <p:nvPr/>
          </p:nvCxnSpPr>
          <p:spPr>
            <a:xfrm flipH="1">
              <a:off x="1762290" y="2064423"/>
              <a:ext cx="1" cy="613924"/>
            </a:xfrm>
            <a:prstGeom prst="line">
              <a:avLst/>
            </a:prstGeom>
            <a:ln w="1905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84" name="Oval 148"/>
            <p:cNvSpPr/>
            <p:nvPr/>
          </p:nvSpPr>
          <p:spPr>
            <a:xfrm>
              <a:off x="1690019" y="2631078"/>
              <a:ext cx="144542" cy="144542"/>
            </a:xfrm>
            <a:prstGeom prst="ellipse">
              <a:avLst/>
            </a:prstGeom>
            <a:solidFill>
              <a:schemeClr val="bg1"/>
            </a:solidFill>
            <a:ln w="19050">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grpSp>
      <p:sp>
        <p:nvSpPr>
          <p:cNvPr id="85" name="矩形 84"/>
          <p:cNvSpPr/>
          <p:nvPr/>
        </p:nvSpPr>
        <p:spPr>
          <a:xfrm>
            <a:off x="1304441" y="4418388"/>
            <a:ext cx="1877176" cy="430879"/>
          </a:xfrm>
          <a:prstGeom prst="rect">
            <a:avLst/>
          </a:prstGeom>
        </p:spPr>
        <p:txBody>
          <a:bodyPr wrap="none" lIns="91431" tIns="45716" rIns="91431" bIns="45716">
            <a:spAutoFit/>
          </a:bodyPr>
          <a:lstStyle/>
          <a:p>
            <a:pPr algn="ctr"/>
            <a:r>
              <a:rPr lang="zh-CN" altLang="en-US" sz="2200" b="1" dirty="0">
                <a:solidFill>
                  <a:schemeClr val="accent1"/>
                </a:solidFill>
                <a:latin typeface="微软雅黑" panose="020B0503020204020204" pitchFamily="34" charset="-122"/>
                <a:ea typeface="微软雅黑" panose="020B0503020204020204" pitchFamily="34" charset="-122"/>
              </a:rPr>
              <a:t>点击添加标题</a:t>
            </a:r>
            <a:endParaRPr lang="en-US" altLang="zh-CN" sz="2200" b="1" dirty="0">
              <a:solidFill>
                <a:schemeClr val="accent1"/>
              </a:solidFill>
              <a:latin typeface="微软雅黑" panose="020B0503020204020204" pitchFamily="34" charset="-122"/>
              <a:ea typeface="微软雅黑" panose="020B0503020204020204" pitchFamily="34" charset="-122"/>
            </a:endParaRPr>
          </a:p>
        </p:txBody>
      </p:sp>
      <p:sp>
        <p:nvSpPr>
          <p:cNvPr id="86" name="矩形 47"/>
          <p:cNvSpPr>
            <a:spLocks noChangeArrowheads="1"/>
          </p:cNvSpPr>
          <p:nvPr/>
        </p:nvSpPr>
        <p:spPr bwMode="auto">
          <a:xfrm>
            <a:off x="1129155" y="4912145"/>
            <a:ext cx="2227755" cy="105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lnSpc>
                <a:spcPct val="120000"/>
              </a:lnSpc>
              <a:spcBef>
                <a:spcPct val="0"/>
              </a:spcBef>
              <a:buNone/>
            </a:pPr>
            <a:r>
              <a:rPr lang="zh-CN" altLang="en-US" sz="1300" dirty="0">
                <a:solidFill>
                  <a:schemeClr val="tx1">
                    <a:lumMod val="75000"/>
                    <a:lumOff val="25000"/>
                  </a:schemeClr>
                </a:solidFill>
                <a:sym typeface="微软雅黑" panose="020B0503020204020204" pitchFamily="34" charset="-122"/>
              </a:rPr>
              <a:t>在此录入上述图表的综合描述说明，在此录入上述图表的描述说明，在此录入上述图表的描述说明。</a:t>
            </a:r>
          </a:p>
        </p:txBody>
      </p:sp>
      <p:sp>
        <p:nvSpPr>
          <p:cNvPr id="87" name="矩形 86"/>
          <p:cNvSpPr/>
          <p:nvPr/>
        </p:nvSpPr>
        <p:spPr>
          <a:xfrm>
            <a:off x="9014116" y="4418388"/>
            <a:ext cx="1877176" cy="430879"/>
          </a:xfrm>
          <a:prstGeom prst="rect">
            <a:avLst/>
          </a:prstGeom>
        </p:spPr>
        <p:txBody>
          <a:bodyPr wrap="none" lIns="91431" tIns="45716" rIns="91431" bIns="45716">
            <a:spAutoFit/>
          </a:bodyPr>
          <a:lstStyle/>
          <a:p>
            <a:pPr algn="ctr"/>
            <a:r>
              <a:rPr lang="zh-CN" altLang="en-US" sz="2200" b="1" dirty="0">
                <a:solidFill>
                  <a:schemeClr val="accent2"/>
                </a:solidFill>
                <a:latin typeface="微软雅黑" panose="020B0503020204020204" pitchFamily="34" charset="-122"/>
                <a:ea typeface="微软雅黑" panose="020B0503020204020204" pitchFamily="34" charset="-122"/>
              </a:rPr>
              <a:t>点击添加标题</a:t>
            </a:r>
            <a:endParaRPr lang="en-US" altLang="zh-CN" sz="2200" b="1" dirty="0">
              <a:solidFill>
                <a:schemeClr val="accent2"/>
              </a:solidFill>
              <a:latin typeface="微软雅黑" panose="020B0503020204020204" pitchFamily="34" charset="-122"/>
              <a:ea typeface="微软雅黑" panose="020B0503020204020204" pitchFamily="34" charset="-122"/>
            </a:endParaRPr>
          </a:p>
        </p:txBody>
      </p:sp>
      <p:sp>
        <p:nvSpPr>
          <p:cNvPr id="88" name="矩形 47"/>
          <p:cNvSpPr>
            <a:spLocks noChangeArrowheads="1"/>
          </p:cNvSpPr>
          <p:nvPr/>
        </p:nvSpPr>
        <p:spPr bwMode="auto">
          <a:xfrm>
            <a:off x="8838829" y="4912145"/>
            <a:ext cx="2227755" cy="105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lnSpc>
                <a:spcPct val="120000"/>
              </a:lnSpc>
              <a:spcBef>
                <a:spcPct val="0"/>
              </a:spcBef>
              <a:buNone/>
            </a:pPr>
            <a:r>
              <a:rPr lang="zh-CN" altLang="en-US" sz="1300" dirty="0">
                <a:solidFill>
                  <a:schemeClr val="tx1">
                    <a:lumMod val="75000"/>
                    <a:lumOff val="25000"/>
                  </a:schemeClr>
                </a:solidFill>
                <a:sym typeface="微软雅黑" panose="020B0503020204020204" pitchFamily="34" charset="-122"/>
              </a:rPr>
              <a:t>在此录入上述图表的综合描述说明，在此录入上述图表的描述说明，在此录入上述图表的描述说明。</a:t>
            </a:r>
          </a:p>
        </p:txBody>
      </p:sp>
      <p:sp>
        <p:nvSpPr>
          <p:cNvPr id="89" name="矩形 88"/>
          <p:cNvSpPr/>
          <p:nvPr/>
        </p:nvSpPr>
        <p:spPr>
          <a:xfrm>
            <a:off x="3874334" y="4418388"/>
            <a:ext cx="1877176" cy="430879"/>
          </a:xfrm>
          <a:prstGeom prst="rect">
            <a:avLst/>
          </a:prstGeom>
        </p:spPr>
        <p:txBody>
          <a:bodyPr wrap="none" lIns="91431" tIns="45716" rIns="91431" bIns="45716">
            <a:spAutoFit/>
          </a:bodyPr>
          <a:lstStyle/>
          <a:p>
            <a:pPr algn="ctr"/>
            <a:r>
              <a:rPr lang="zh-CN" altLang="en-US" sz="2200" b="1" dirty="0">
                <a:solidFill>
                  <a:schemeClr val="accent2"/>
                </a:solidFill>
                <a:latin typeface="微软雅黑" panose="020B0503020204020204" pitchFamily="34" charset="-122"/>
                <a:ea typeface="微软雅黑" panose="020B0503020204020204" pitchFamily="34" charset="-122"/>
              </a:rPr>
              <a:t>点击添加标题</a:t>
            </a:r>
            <a:endParaRPr lang="en-US" altLang="zh-CN" sz="2200" b="1" dirty="0">
              <a:solidFill>
                <a:schemeClr val="accent2"/>
              </a:solidFill>
              <a:latin typeface="微软雅黑" panose="020B0503020204020204" pitchFamily="34" charset="-122"/>
              <a:ea typeface="微软雅黑" panose="020B0503020204020204" pitchFamily="34" charset="-122"/>
            </a:endParaRPr>
          </a:p>
        </p:txBody>
      </p:sp>
      <p:sp>
        <p:nvSpPr>
          <p:cNvPr id="90" name="矩形 47"/>
          <p:cNvSpPr>
            <a:spLocks noChangeArrowheads="1"/>
          </p:cNvSpPr>
          <p:nvPr/>
        </p:nvSpPr>
        <p:spPr bwMode="auto">
          <a:xfrm>
            <a:off x="3699046" y="4912145"/>
            <a:ext cx="2227755" cy="105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lnSpc>
                <a:spcPct val="120000"/>
              </a:lnSpc>
              <a:spcBef>
                <a:spcPct val="0"/>
              </a:spcBef>
              <a:buNone/>
            </a:pPr>
            <a:r>
              <a:rPr lang="zh-CN" altLang="en-US" sz="1300" dirty="0">
                <a:solidFill>
                  <a:schemeClr val="tx1">
                    <a:lumMod val="75000"/>
                    <a:lumOff val="25000"/>
                  </a:schemeClr>
                </a:solidFill>
                <a:sym typeface="微软雅黑" panose="020B0503020204020204" pitchFamily="34" charset="-122"/>
              </a:rPr>
              <a:t>在此录入上述图表的综合描述说明，在此录入上述图表的描述说明，在此录入上述图表的描述说明。</a:t>
            </a:r>
          </a:p>
        </p:txBody>
      </p:sp>
      <p:sp>
        <p:nvSpPr>
          <p:cNvPr id="91" name="矩形 90"/>
          <p:cNvSpPr/>
          <p:nvPr/>
        </p:nvSpPr>
        <p:spPr>
          <a:xfrm>
            <a:off x="6444225" y="4418388"/>
            <a:ext cx="1877176" cy="430879"/>
          </a:xfrm>
          <a:prstGeom prst="rect">
            <a:avLst/>
          </a:prstGeom>
        </p:spPr>
        <p:txBody>
          <a:bodyPr wrap="none" lIns="91431" tIns="45716" rIns="91431" bIns="45716">
            <a:spAutoFit/>
          </a:bodyPr>
          <a:lstStyle/>
          <a:p>
            <a:pPr algn="ctr"/>
            <a:r>
              <a:rPr lang="zh-CN" altLang="en-US" sz="2200" b="1" dirty="0">
                <a:solidFill>
                  <a:schemeClr val="accent1"/>
                </a:solidFill>
                <a:latin typeface="微软雅黑" panose="020B0503020204020204" pitchFamily="34" charset="-122"/>
                <a:ea typeface="微软雅黑" panose="020B0503020204020204" pitchFamily="34" charset="-122"/>
              </a:rPr>
              <a:t>点击添加标题</a:t>
            </a:r>
            <a:endParaRPr lang="en-US" altLang="zh-CN" sz="2200" b="1" dirty="0">
              <a:solidFill>
                <a:schemeClr val="accent1"/>
              </a:solidFill>
              <a:latin typeface="微软雅黑" panose="020B0503020204020204" pitchFamily="34" charset="-122"/>
              <a:ea typeface="微软雅黑" panose="020B0503020204020204" pitchFamily="34" charset="-122"/>
            </a:endParaRPr>
          </a:p>
        </p:txBody>
      </p:sp>
      <p:sp>
        <p:nvSpPr>
          <p:cNvPr id="92" name="矩形 91"/>
          <p:cNvSpPr>
            <a:spLocks noChangeArrowheads="1"/>
          </p:cNvSpPr>
          <p:nvPr/>
        </p:nvSpPr>
        <p:spPr bwMode="auto">
          <a:xfrm>
            <a:off x="6269744" y="4912145"/>
            <a:ext cx="2227755" cy="105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lnSpc>
                <a:spcPct val="120000"/>
              </a:lnSpc>
              <a:spcBef>
                <a:spcPct val="0"/>
              </a:spcBef>
              <a:buNone/>
            </a:pPr>
            <a:r>
              <a:rPr lang="zh-CN" altLang="en-US" sz="1300" dirty="0">
                <a:solidFill>
                  <a:schemeClr val="tx1">
                    <a:lumMod val="75000"/>
                    <a:lumOff val="25000"/>
                  </a:schemeClr>
                </a:solidFill>
                <a:sym typeface="微软雅黑" panose="020B0503020204020204" pitchFamily="34" charset="-122"/>
              </a:rPr>
              <a:t>在此录入上述图表的综合描述说明，在此录入上述图表的描述说明，在此录入上述图表的描述说明。</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strips(upRight)">
                                      <p:cBhvr>
                                        <p:cTn id="7" dur="500"/>
                                        <p:tgtEl>
                                          <p:spTgt spid="49"/>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p:cTn id="11" dur="500" fill="hold"/>
                                        <p:tgtEl>
                                          <p:spTgt spid="53"/>
                                        </p:tgtEl>
                                        <p:attrNameLst>
                                          <p:attrName>ppt_w</p:attrName>
                                        </p:attrNameLst>
                                      </p:cBhvr>
                                      <p:tavLst>
                                        <p:tav tm="0">
                                          <p:val>
                                            <p:fltVal val="0"/>
                                          </p:val>
                                        </p:tav>
                                        <p:tav tm="100000">
                                          <p:val>
                                            <p:strVal val="#ppt_w"/>
                                          </p:val>
                                        </p:tav>
                                      </p:tavLst>
                                    </p:anim>
                                    <p:anim calcmode="lin" valueType="num">
                                      <p:cBhvr>
                                        <p:cTn id="12" dur="500" fill="hold"/>
                                        <p:tgtEl>
                                          <p:spTgt spid="53"/>
                                        </p:tgtEl>
                                        <p:attrNameLst>
                                          <p:attrName>ppt_h</p:attrName>
                                        </p:attrNameLst>
                                      </p:cBhvr>
                                      <p:tavLst>
                                        <p:tav tm="0">
                                          <p:val>
                                            <p:fltVal val="0"/>
                                          </p:val>
                                        </p:tav>
                                        <p:tav tm="100000">
                                          <p:val>
                                            <p:strVal val="#ppt_h"/>
                                          </p:val>
                                        </p:tav>
                                      </p:tavLst>
                                    </p:anim>
                                  </p:childTnLst>
                                </p:cTn>
                              </p:par>
                            </p:childTnLst>
                          </p:cTn>
                        </p:par>
                        <p:par>
                          <p:cTn id="13" fill="hold">
                            <p:stCondLst>
                              <p:cond delay="1000"/>
                            </p:stCondLst>
                            <p:childTnLst>
                              <p:par>
                                <p:cTn id="14" presetID="22" presetClass="entr" presetSubtype="1" fill="hold" nodeType="after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wipe(up)">
                                      <p:cBhvr>
                                        <p:cTn id="16" dur="500"/>
                                        <p:tgtEl>
                                          <p:spTgt spid="54"/>
                                        </p:tgtEl>
                                      </p:cBhvr>
                                    </p:animEffect>
                                  </p:childTnLst>
                                </p:cTn>
                              </p:par>
                            </p:childTnLst>
                          </p:cTn>
                        </p:par>
                        <p:par>
                          <p:cTn id="17" fill="hold">
                            <p:stCondLst>
                              <p:cond delay="1500"/>
                            </p:stCondLst>
                            <p:childTnLst>
                              <p:par>
                                <p:cTn id="18" presetID="2" presetClass="entr" presetSubtype="4" fill="hold" grpId="0" nodeType="afterEffect">
                                  <p:stCondLst>
                                    <p:cond delay="0"/>
                                  </p:stCondLst>
                                  <p:childTnLst>
                                    <p:set>
                                      <p:cBhvr>
                                        <p:cTn id="19" dur="1" fill="hold">
                                          <p:stCondLst>
                                            <p:cond delay="0"/>
                                          </p:stCondLst>
                                        </p:cTn>
                                        <p:tgtEl>
                                          <p:spTgt spid="85"/>
                                        </p:tgtEl>
                                        <p:attrNameLst>
                                          <p:attrName>style.visibility</p:attrName>
                                        </p:attrNameLst>
                                      </p:cBhvr>
                                      <p:to>
                                        <p:strVal val="visible"/>
                                      </p:to>
                                    </p:set>
                                    <p:anim calcmode="lin" valueType="num">
                                      <p:cBhvr additive="base">
                                        <p:cTn id="20" dur="350" fill="hold"/>
                                        <p:tgtEl>
                                          <p:spTgt spid="85"/>
                                        </p:tgtEl>
                                        <p:attrNameLst>
                                          <p:attrName>ppt_x</p:attrName>
                                        </p:attrNameLst>
                                      </p:cBhvr>
                                      <p:tavLst>
                                        <p:tav tm="0">
                                          <p:val>
                                            <p:strVal val="#ppt_x"/>
                                          </p:val>
                                        </p:tav>
                                        <p:tav tm="100000">
                                          <p:val>
                                            <p:strVal val="#ppt_x"/>
                                          </p:val>
                                        </p:tav>
                                      </p:tavLst>
                                    </p:anim>
                                    <p:anim calcmode="lin" valueType="num">
                                      <p:cBhvr additive="base">
                                        <p:cTn id="21" dur="350" fill="hold"/>
                                        <p:tgtEl>
                                          <p:spTgt spid="85"/>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86"/>
                                        </p:tgtEl>
                                        <p:attrNameLst>
                                          <p:attrName>style.visibility</p:attrName>
                                        </p:attrNameLst>
                                      </p:cBhvr>
                                      <p:to>
                                        <p:strVal val="visible"/>
                                      </p:to>
                                    </p:set>
                                    <p:anim calcmode="lin" valueType="num">
                                      <p:cBhvr additive="base">
                                        <p:cTn id="24" dur="350" fill="hold"/>
                                        <p:tgtEl>
                                          <p:spTgt spid="86"/>
                                        </p:tgtEl>
                                        <p:attrNameLst>
                                          <p:attrName>ppt_x</p:attrName>
                                        </p:attrNameLst>
                                      </p:cBhvr>
                                      <p:tavLst>
                                        <p:tav tm="0">
                                          <p:val>
                                            <p:strVal val="#ppt_x"/>
                                          </p:val>
                                        </p:tav>
                                        <p:tav tm="100000">
                                          <p:val>
                                            <p:strVal val="#ppt_x"/>
                                          </p:val>
                                        </p:tav>
                                      </p:tavLst>
                                    </p:anim>
                                    <p:anim calcmode="lin" valueType="num">
                                      <p:cBhvr additive="base">
                                        <p:cTn id="25" dur="350" fill="hold"/>
                                        <p:tgtEl>
                                          <p:spTgt spid="86"/>
                                        </p:tgtEl>
                                        <p:attrNameLst>
                                          <p:attrName>ppt_y</p:attrName>
                                        </p:attrNameLst>
                                      </p:cBhvr>
                                      <p:tavLst>
                                        <p:tav tm="0">
                                          <p:val>
                                            <p:strVal val="1+#ppt_h/2"/>
                                          </p:val>
                                        </p:tav>
                                        <p:tav tm="100000">
                                          <p:val>
                                            <p:strVal val="#ppt_y"/>
                                          </p:val>
                                        </p:tav>
                                      </p:tavLst>
                                    </p:anim>
                                  </p:childTnLst>
                                </p:cTn>
                              </p:par>
                            </p:childTnLst>
                          </p:cTn>
                        </p:par>
                        <p:par>
                          <p:cTn id="26" fill="hold">
                            <p:stCondLst>
                              <p:cond delay="2000"/>
                            </p:stCondLst>
                            <p:childTnLst>
                              <p:par>
                                <p:cTn id="27" presetID="12" presetClass="entr" presetSubtype="2" fill="hold" grpId="0" nodeType="after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slide(fromRight)">
                                      <p:cBhvr>
                                        <p:cTn id="29" dur="500"/>
                                        <p:tgtEl>
                                          <p:spTgt spid="33"/>
                                        </p:tgtEl>
                                      </p:cBhvr>
                                    </p:animEffect>
                                  </p:childTnLst>
                                </p:cTn>
                              </p:par>
                            </p:childTnLst>
                          </p:cTn>
                        </p:par>
                        <p:par>
                          <p:cTn id="30" fill="hold">
                            <p:stCondLst>
                              <p:cond delay="2500"/>
                            </p:stCondLst>
                            <p:childTnLst>
                              <p:par>
                                <p:cTn id="31" presetID="23" presetClass="entr" presetSubtype="16" fill="hold" grpId="0" nodeType="afterEffect">
                                  <p:stCondLst>
                                    <p:cond delay="0"/>
                                  </p:stCondLst>
                                  <p:childTnLst>
                                    <p:set>
                                      <p:cBhvr>
                                        <p:cTn id="32" dur="1" fill="hold">
                                          <p:stCondLst>
                                            <p:cond delay="0"/>
                                          </p:stCondLst>
                                        </p:cTn>
                                        <p:tgtEl>
                                          <p:spTgt spid="61"/>
                                        </p:tgtEl>
                                        <p:attrNameLst>
                                          <p:attrName>style.visibility</p:attrName>
                                        </p:attrNameLst>
                                      </p:cBhvr>
                                      <p:to>
                                        <p:strVal val="visible"/>
                                      </p:to>
                                    </p:set>
                                    <p:anim calcmode="lin" valueType="num">
                                      <p:cBhvr>
                                        <p:cTn id="33" dur="500" fill="hold"/>
                                        <p:tgtEl>
                                          <p:spTgt spid="61"/>
                                        </p:tgtEl>
                                        <p:attrNameLst>
                                          <p:attrName>ppt_w</p:attrName>
                                        </p:attrNameLst>
                                      </p:cBhvr>
                                      <p:tavLst>
                                        <p:tav tm="0">
                                          <p:val>
                                            <p:fltVal val="0"/>
                                          </p:val>
                                        </p:tav>
                                        <p:tav tm="100000">
                                          <p:val>
                                            <p:strVal val="#ppt_w"/>
                                          </p:val>
                                        </p:tav>
                                      </p:tavLst>
                                    </p:anim>
                                    <p:anim calcmode="lin" valueType="num">
                                      <p:cBhvr>
                                        <p:cTn id="34" dur="500" fill="hold"/>
                                        <p:tgtEl>
                                          <p:spTgt spid="61"/>
                                        </p:tgtEl>
                                        <p:attrNameLst>
                                          <p:attrName>ppt_h</p:attrName>
                                        </p:attrNameLst>
                                      </p:cBhvr>
                                      <p:tavLst>
                                        <p:tav tm="0">
                                          <p:val>
                                            <p:fltVal val="0"/>
                                          </p:val>
                                        </p:tav>
                                        <p:tav tm="100000">
                                          <p:val>
                                            <p:strVal val="#ppt_h"/>
                                          </p:val>
                                        </p:tav>
                                      </p:tavLst>
                                    </p:anim>
                                  </p:childTnLst>
                                </p:cTn>
                              </p:par>
                            </p:childTnLst>
                          </p:cTn>
                        </p:par>
                        <p:par>
                          <p:cTn id="35" fill="hold">
                            <p:stCondLst>
                              <p:cond delay="3000"/>
                            </p:stCondLst>
                            <p:childTnLst>
                              <p:par>
                                <p:cTn id="36" presetID="22" presetClass="entr" presetSubtype="1" fill="hold" nodeType="afterEffect">
                                  <p:stCondLst>
                                    <p:cond delay="0"/>
                                  </p:stCondLst>
                                  <p:childTnLst>
                                    <p:set>
                                      <p:cBhvr>
                                        <p:cTn id="37" dur="1" fill="hold">
                                          <p:stCondLst>
                                            <p:cond delay="0"/>
                                          </p:stCondLst>
                                        </p:cTn>
                                        <p:tgtEl>
                                          <p:spTgt spid="62"/>
                                        </p:tgtEl>
                                        <p:attrNameLst>
                                          <p:attrName>style.visibility</p:attrName>
                                        </p:attrNameLst>
                                      </p:cBhvr>
                                      <p:to>
                                        <p:strVal val="visible"/>
                                      </p:to>
                                    </p:set>
                                    <p:animEffect transition="in" filter="wipe(up)">
                                      <p:cBhvr>
                                        <p:cTn id="38" dur="500"/>
                                        <p:tgtEl>
                                          <p:spTgt spid="62"/>
                                        </p:tgtEl>
                                      </p:cBhvr>
                                    </p:animEffect>
                                  </p:childTnLst>
                                </p:cTn>
                              </p:par>
                            </p:childTnLst>
                          </p:cTn>
                        </p:par>
                        <p:par>
                          <p:cTn id="39" fill="hold">
                            <p:stCondLst>
                              <p:cond delay="3500"/>
                            </p:stCondLst>
                            <p:childTnLst>
                              <p:par>
                                <p:cTn id="40" presetID="2" presetClass="entr" presetSubtype="4" fill="hold" grpId="0" nodeType="afterEffect">
                                  <p:stCondLst>
                                    <p:cond delay="0"/>
                                  </p:stCondLst>
                                  <p:childTnLst>
                                    <p:set>
                                      <p:cBhvr>
                                        <p:cTn id="41" dur="1" fill="hold">
                                          <p:stCondLst>
                                            <p:cond delay="0"/>
                                          </p:stCondLst>
                                        </p:cTn>
                                        <p:tgtEl>
                                          <p:spTgt spid="89"/>
                                        </p:tgtEl>
                                        <p:attrNameLst>
                                          <p:attrName>style.visibility</p:attrName>
                                        </p:attrNameLst>
                                      </p:cBhvr>
                                      <p:to>
                                        <p:strVal val="visible"/>
                                      </p:to>
                                    </p:set>
                                    <p:anim calcmode="lin" valueType="num">
                                      <p:cBhvr additive="base">
                                        <p:cTn id="42" dur="350" fill="hold"/>
                                        <p:tgtEl>
                                          <p:spTgt spid="89"/>
                                        </p:tgtEl>
                                        <p:attrNameLst>
                                          <p:attrName>ppt_x</p:attrName>
                                        </p:attrNameLst>
                                      </p:cBhvr>
                                      <p:tavLst>
                                        <p:tav tm="0">
                                          <p:val>
                                            <p:strVal val="#ppt_x"/>
                                          </p:val>
                                        </p:tav>
                                        <p:tav tm="100000">
                                          <p:val>
                                            <p:strVal val="#ppt_x"/>
                                          </p:val>
                                        </p:tav>
                                      </p:tavLst>
                                    </p:anim>
                                    <p:anim calcmode="lin" valueType="num">
                                      <p:cBhvr additive="base">
                                        <p:cTn id="43" dur="350" fill="hold"/>
                                        <p:tgtEl>
                                          <p:spTgt spid="89"/>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90"/>
                                        </p:tgtEl>
                                        <p:attrNameLst>
                                          <p:attrName>style.visibility</p:attrName>
                                        </p:attrNameLst>
                                      </p:cBhvr>
                                      <p:to>
                                        <p:strVal val="visible"/>
                                      </p:to>
                                    </p:set>
                                    <p:anim calcmode="lin" valueType="num">
                                      <p:cBhvr additive="base">
                                        <p:cTn id="46" dur="350" fill="hold"/>
                                        <p:tgtEl>
                                          <p:spTgt spid="90"/>
                                        </p:tgtEl>
                                        <p:attrNameLst>
                                          <p:attrName>ppt_x</p:attrName>
                                        </p:attrNameLst>
                                      </p:cBhvr>
                                      <p:tavLst>
                                        <p:tav tm="0">
                                          <p:val>
                                            <p:strVal val="#ppt_x"/>
                                          </p:val>
                                        </p:tav>
                                        <p:tav tm="100000">
                                          <p:val>
                                            <p:strVal val="#ppt_x"/>
                                          </p:val>
                                        </p:tav>
                                      </p:tavLst>
                                    </p:anim>
                                    <p:anim calcmode="lin" valueType="num">
                                      <p:cBhvr additive="base">
                                        <p:cTn id="47" dur="350" fill="hold"/>
                                        <p:tgtEl>
                                          <p:spTgt spid="90"/>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12" presetClass="entr" presetSubtype="2" fill="hold" grpId="0"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slide(fromRight)">
                                      <p:cBhvr>
                                        <p:cTn id="51" dur="500"/>
                                        <p:tgtEl>
                                          <p:spTgt spid="34"/>
                                        </p:tgtEl>
                                      </p:cBhvr>
                                    </p:animEffect>
                                  </p:childTnLst>
                                </p:cTn>
                              </p:par>
                            </p:childTnLst>
                          </p:cTn>
                        </p:par>
                        <p:par>
                          <p:cTn id="52" fill="hold">
                            <p:stCondLst>
                              <p:cond delay="4500"/>
                            </p:stCondLst>
                            <p:childTnLst>
                              <p:par>
                                <p:cTn id="53" presetID="23" presetClass="entr" presetSubtype="16"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 calcmode="lin" valueType="num">
                                      <p:cBhvr>
                                        <p:cTn id="55" dur="500" fill="hold"/>
                                        <p:tgtEl>
                                          <p:spTgt spid="69"/>
                                        </p:tgtEl>
                                        <p:attrNameLst>
                                          <p:attrName>ppt_w</p:attrName>
                                        </p:attrNameLst>
                                      </p:cBhvr>
                                      <p:tavLst>
                                        <p:tav tm="0">
                                          <p:val>
                                            <p:fltVal val="0"/>
                                          </p:val>
                                        </p:tav>
                                        <p:tav tm="100000">
                                          <p:val>
                                            <p:strVal val="#ppt_w"/>
                                          </p:val>
                                        </p:tav>
                                      </p:tavLst>
                                    </p:anim>
                                    <p:anim calcmode="lin" valueType="num">
                                      <p:cBhvr>
                                        <p:cTn id="56" dur="500" fill="hold"/>
                                        <p:tgtEl>
                                          <p:spTgt spid="69"/>
                                        </p:tgtEl>
                                        <p:attrNameLst>
                                          <p:attrName>ppt_h</p:attrName>
                                        </p:attrNameLst>
                                      </p:cBhvr>
                                      <p:tavLst>
                                        <p:tav tm="0">
                                          <p:val>
                                            <p:fltVal val="0"/>
                                          </p:val>
                                        </p:tav>
                                        <p:tav tm="100000">
                                          <p:val>
                                            <p:strVal val="#ppt_h"/>
                                          </p:val>
                                        </p:tav>
                                      </p:tavLst>
                                    </p:anim>
                                  </p:childTnLst>
                                </p:cTn>
                              </p:par>
                            </p:childTnLst>
                          </p:cTn>
                        </p:par>
                        <p:par>
                          <p:cTn id="57" fill="hold">
                            <p:stCondLst>
                              <p:cond delay="5000"/>
                            </p:stCondLst>
                            <p:childTnLst>
                              <p:par>
                                <p:cTn id="58" presetID="22" presetClass="entr" presetSubtype="1" fill="hold" nodeType="afterEffect">
                                  <p:stCondLst>
                                    <p:cond delay="0"/>
                                  </p:stCondLst>
                                  <p:childTnLst>
                                    <p:set>
                                      <p:cBhvr>
                                        <p:cTn id="59" dur="1" fill="hold">
                                          <p:stCondLst>
                                            <p:cond delay="0"/>
                                          </p:stCondLst>
                                        </p:cTn>
                                        <p:tgtEl>
                                          <p:spTgt spid="74"/>
                                        </p:tgtEl>
                                        <p:attrNameLst>
                                          <p:attrName>style.visibility</p:attrName>
                                        </p:attrNameLst>
                                      </p:cBhvr>
                                      <p:to>
                                        <p:strVal val="visible"/>
                                      </p:to>
                                    </p:set>
                                    <p:animEffect transition="in" filter="wipe(up)">
                                      <p:cBhvr>
                                        <p:cTn id="60" dur="500"/>
                                        <p:tgtEl>
                                          <p:spTgt spid="74"/>
                                        </p:tgtEl>
                                      </p:cBhvr>
                                    </p:animEffect>
                                  </p:childTnLst>
                                </p:cTn>
                              </p:par>
                            </p:childTnLst>
                          </p:cTn>
                        </p:par>
                        <p:par>
                          <p:cTn id="61" fill="hold">
                            <p:stCondLst>
                              <p:cond delay="5500"/>
                            </p:stCondLst>
                            <p:childTnLst>
                              <p:par>
                                <p:cTn id="62" presetID="2" presetClass="entr" presetSubtype="4" fill="hold" grpId="0" nodeType="afterEffect">
                                  <p:stCondLst>
                                    <p:cond delay="0"/>
                                  </p:stCondLst>
                                  <p:childTnLst>
                                    <p:set>
                                      <p:cBhvr>
                                        <p:cTn id="63" dur="1" fill="hold">
                                          <p:stCondLst>
                                            <p:cond delay="0"/>
                                          </p:stCondLst>
                                        </p:cTn>
                                        <p:tgtEl>
                                          <p:spTgt spid="91"/>
                                        </p:tgtEl>
                                        <p:attrNameLst>
                                          <p:attrName>style.visibility</p:attrName>
                                        </p:attrNameLst>
                                      </p:cBhvr>
                                      <p:to>
                                        <p:strVal val="visible"/>
                                      </p:to>
                                    </p:set>
                                    <p:anim calcmode="lin" valueType="num">
                                      <p:cBhvr additive="base">
                                        <p:cTn id="64" dur="350" fill="hold"/>
                                        <p:tgtEl>
                                          <p:spTgt spid="91"/>
                                        </p:tgtEl>
                                        <p:attrNameLst>
                                          <p:attrName>ppt_x</p:attrName>
                                        </p:attrNameLst>
                                      </p:cBhvr>
                                      <p:tavLst>
                                        <p:tav tm="0">
                                          <p:val>
                                            <p:strVal val="#ppt_x"/>
                                          </p:val>
                                        </p:tav>
                                        <p:tav tm="100000">
                                          <p:val>
                                            <p:strVal val="#ppt_x"/>
                                          </p:val>
                                        </p:tav>
                                      </p:tavLst>
                                    </p:anim>
                                    <p:anim calcmode="lin" valueType="num">
                                      <p:cBhvr additive="base">
                                        <p:cTn id="65" dur="350" fill="hold"/>
                                        <p:tgtEl>
                                          <p:spTgt spid="91"/>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92"/>
                                        </p:tgtEl>
                                        <p:attrNameLst>
                                          <p:attrName>style.visibility</p:attrName>
                                        </p:attrNameLst>
                                      </p:cBhvr>
                                      <p:to>
                                        <p:strVal val="visible"/>
                                      </p:to>
                                    </p:set>
                                    <p:anim calcmode="lin" valueType="num">
                                      <p:cBhvr additive="base">
                                        <p:cTn id="68" dur="350" fill="hold"/>
                                        <p:tgtEl>
                                          <p:spTgt spid="92"/>
                                        </p:tgtEl>
                                        <p:attrNameLst>
                                          <p:attrName>ppt_x</p:attrName>
                                        </p:attrNameLst>
                                      </p:cBhvr>
                                      <p:tavLst>
                                        <p:tav tm="0">
                                          <p:val>
                                            <p:strVal val="#ppt_x"/>
                                          </p:val>
                                        </p:tav>
                                        <p:tav tm="100000">
                                          <p:val>
                                            <p:strVal val="#ppt_x"/>
                                          </p:val>
                                        </p:tav>
                                      </p:tavLst>
                                    </p:anim>
                                    <p:anim calcmode="lin" valueType="num">
                                      <p:cBhvr additive="base">
                                        <p:cTn id="69" dur="350" fill="hold"/>
                                        <p:tgtEl>
                                          <p:spTgt spid="92"/>
                                        </p:tgtEl>
                                        <p:attrNameLst>
                                          <p:attrName>ppt_y</p:attrName>
                                        </p:attrNameLst>
                                      </p:cBhvr>
                                      <p:tavLst>
                                        <p:tav tm="0">
                                          <p:val>
                                            <p:strVal val="1+#ppt_h/2"/>
                                          </p:val>
                                        </p:tav>
                                        <p:tav tm="100000">
                                          <p:val>
                                            <p:strVal val="#ppt_y"/>
                                          </p:val>
                                        </p:tav>
                                      </p:tavLst>
                                    </p:anim>
                                  </p:childTnLst>
                                </p:cTn>
                              </p:par>
                            </p:childTnLst>
                          </p:cTn>
                        </p:par>
                        <p:par>
                          <p:cTn id="70" fill="hold">
                            <p:stCondLst>
                              <p:cond delay="6000"/>
                            </p:stCondLst>
                            <p:childTnLst>
                              <p:par>
                                <p:cTn id="71" presetID="12" presetClass="entr" presetSubtype="2" fill="hold" grpId="0" nodeType="afterEffect">
                                  <p:stCondLst>
                                    <p:cond delay="0"/>
                                  </p:stCondLst>
                                  <p:childTnLst>
                                    <p:set>
                                      <p:cBhvr>
                                        <p:cTn id="72" dur="1" fill="hold">
                                          <p:stCondLst>
                                            <p:cond delay="0"/>
                                          </p:stCondLst>
                                        </p:cTn>
                                        <p:tgtEl>
                                          <p:spTgt spid="35"/>
                                        </p:tgtEl>
                                        <p:attrNameLst>
                                          <p:attrName>style.visibility</p:attrName>
                                        </p:attrNameLst>
                                      </p:cBhvr>
                                      <p:to>
                                        <p:strVal val="visible"/>
                                      </p:to>
                                    </p:set>
                                    <p:animEffect transition="in" filter="slide(fromRight)">
                                      <p:cBhvr>
                                        <p:cTn id="73" dur="500"/>
                                        <p:tgtEl>
                                          <p:spTgt spid="35"/>
                                        </p:tgtEl>
                                      </p:cBhvr>
                                    </p:animEffect>
                                  </p:childTnLst>
                                </p:cTn>
                              </p:par>
                            </p:childTnLst>
                          </p:cTn>
                        </p:par>
                        <p:par>
                          <p:cTn id="74" fill="hold">
                            <p:stCondLst>
                              <p:cond delay="6500"/>
                            </p:stCondLst>
                            <p:childTnLst>
                              <p:par>
                                <p:cTn id="75" presetID="23" presetClass="entr" presetSubtype="16" fill="hold" grpId="0" nodeType="afterEffect">
                                  <p:stCondLst>
                                    <p:cond delay="0"/>
                                  </p:stCondLst>
                                  <p:childTnLst>
                                    <p:set>
                                      <p:cBhvr>
                                        <p:cTn id="76" dur="1" fill="hold">
                                          <p:stCondLst>
                                            <p:cond delay="0"/>
                                          </p:stCondLst>
                                        </p:cTn>
                                        <p:tgtEl>
                                          <p:spTgt spid="81"/>
                                        </p:tgtEl>
                                        <p:attrNameLst>
                                          <p:attrName>style.visibility</p:attrName>
                                        </p:attrNameLst>
                                      </p:cBhvr>
                                      <p:to>
                                        <p:strVal val="visible"/>
                                      </p:to>
                                    </p:set>
                                    <p:anim calcmode="lin" valueType="num">
                                      <p:cBhvr>
                                        <p:cTn id="77" dur="500" fill="hold"/>
                                        <p:tgtEl>
                                          <p:spTgt spid="81"/>
                                        </p:tgtEl>
                                        <p:attrNameLst>
                                          <p:attrName>ppt_w</p:attrName>
                                        </p:attrNameLst>
                                      </p:cBhvr>
                                      <p:tavLst>
                                        <p:tav tm="0">
                                          <p:val>
                                            <p:fltVal val="0"/>
                                          </p:val>
                                        </p:tav>
                                        <p:tav tm="100000">
                                          <p:val>
                                            <p:strVal val="#ppt_w"/>
                                          </p:val>
                                        </p:tav>
                                      </p:tavLst>
                                    </p:anim>
                                    <p:anim calcmode="lin" valueType="num">
                                      <p:cBhvr>
                                        <p:cTn id="78" dur="500" fill="hold"/>
                                        <p:tgtEl>
                                          <p:spTgt spid="81"/>
                                        </p:tgtEl>
                                        <p:attrNameLst>
                                          <p:attrName>ppt_h</p:attrName>
                                        </p:attrNameLst>
                                      </p:cBhvr>
                                      <p:tavLst>
                                        <p:tav tm="0">
                                          <p:val>
                                            <p:fltVal val="0"/>
                                          </p:val>
                                        </p:tav>
                                        <p:tav tm="100000">
                                          <p:val>
                                            <p:strVal val="#ppt_h"/>
                                          </p:val>
                                        </p:tav>
                                      </p:tavLst>
                                    </p:anim>
                                  </p:childTnLst>
                                </p:cTn>
                              </p:par>
                            </p:childTnLst>
                          </p:cTn>
                        </p:par>
                        <p:par>
                          <p:cTn id="79" fill="hold">
                            <p:stCondLst>
                              <p:cond delay="7000"/>
                            </p:stCondLst>
                            <p:childTnLst>
                              <p:par>
                                <p:cTn id="80" presetID="22" presetClass="entr" presetSubtype="1" fill="hold" nodeType="afterEffect">
                                  <p:stCondLst>
                                    <p:cond delay="0"/>
                                  </p:stCondLst>
                                  <p:childTnLst>
                                    <p:set>
                                      <p:cBhvr>
                                        <p:cTn id="81" dur="1" fill="hold">
                                          <p:stCondLst>
                                            <p:cond delay="0"/>
                                          </p:stCondLst>
                                        </p:cTn>
                                        <p:tgtEl>
                                          <p:spTgt spid="82"/>
                                        </p:tgtEl>
                                        <p:attrNameLst>
                                          <p:attrName>style.visibility</p:attrName>
                                        </p:attrNameLst>
                                      </p:cBhvr>
                                      <p:to>
                                        <p:strVal val="visible"/>
                                      </p:to>
                                    </p:set>
                                    <p:animEffect transition="in" filter="wipe(up)">
                                      <p:cBhvr>
                                        <p:cTn id="82" dur="500"/>
                                        <p:tgtEl>
                                          <p:spTgt spid="82"/>
                                        </p:tgtEl>
                                      </p:cBhvr>
                                    </p:animEffect>
                                  </p:childTnLst>
                                </p:cTn>
                              </p:par>
                            </p:childTnLst>
                          </p:cTn>
                        </p:par>
                        <p:par>
                          <p:cTn id="83" fill="hold">
                            <p:stCondLst>
                              <p:cond delay="7500"/>
                            </p:stCondLst>
                            <p:childTnLst>
                              <p:par>
                                <p:cTn id="84" presetID="2" presetClass="entr" presetSubtype="4" fill="hold" grpId="0" nodeType="afterEffect">
                                  <p:stCondLst>
                                    <p:cond delay="0"/>
                                  </p:stCondLst>
                                  <p:childTnLst>
                                    <p:set>
                                      <p:cBhvr>
                                        <p:cTn id="85" dur="1" fill="hold">
                                          <p:stCondLst>
                                            <p:cond delay="0"/>
                                          </p:stCondLst>
                                        </p:cTn>
                                        <p:tgtEl>
                                          <p:spTgt spid="87"/>
                                        </p:tgtEl>
                                        <p:attrNameLst>
                                          <p:attrName>style.visibility</p:attrName>
                                        </p:attrNameLst>
                                      </p:cBhvr>
                                      <p:to>
                                        <p:strVal val="visible"/>
                                      </p:to>
                                    </p:set>
                                    <p:anim calcmode="lin" valueType="num">
                                      <p:cBhvr additive="base">
                                        <p:cTn id="86" dur="350" fill="hold"/>
                                        <p:tgtEl>
                                          <p:spTgt spid="87"/>
                                        </p:tgtEl>
                                        <p:attrNameLst>
                                          <p:attrName>ppt_x</p:attrName>
                                        </p:attrNameLst>
                                      </p:cBhvr>
                                      <p:tavLst>
                                        <p:tav tm="0">
                                          <p:val>
                                            <p:strVal val="#ppt_x"/>
                                          </p:val>
                                        </p:tav>
                                        <p:tav tm="100000">
                                          <p:val>
                                            <p:strVal val="#ppt_x"/>
                                          </p:val>
                                        </p:tav>
                                      </p:tavLst>
                                    </p:anim>
                                    <p:anim calcmode="lin" valueType="num">
                                      <p:cBhvr additive="base">
                                        <p:cTn id="87" dur="350" fill="hold"/>
                                        <p:tgtEl>
                                          <p:spTgt spid="87"/>
                                        </p:tgtEl>
                                        <p:attrNameLst>
                                          <p:attrName>ppt_y</p:attrName>
                                        </p:attrNameLst>
                                      </p:cBhvr>
                                      <p:tavLst>
                                        <p:tav tm="0">
                                          <p:val>
                                            <p:strVal val="1+#ppt_h/2"/>
                                          </p:val>
                                        </p:tav>
                                        <p:tav tm="100000">
                                          <p:val>
                                            <p:strVal val="#ppt_y"/>
                                          </p:val>
                                        </p:tav>
                                      </p:tavLst>
                                    </p:anim>
                                  </p:childTnLst>
                                </p:cTn>
                              </p:par>
                              <p:par>
                                <p:cTn id="88" presetID="2" presetClass="entr" presetSubtype="4" fill="hold" grpId="0" nodeType="with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additive="base">
                                        <p:cTn id="90" dur="350" fill="hold"/>
                                        <p:tgtEl>
                                          <p:spTgt spid="88"/>
                                        </p:tgtEl>
                                        <p:attrNameLst>
                                          <p:attrName>ppt_x</p:attrName>
                                        </p:attrNameLst>
                                      </p:cBhvr>
                                      <p:tavLst>
                                        <p:tav tm="0">
                                          <p:val>
                                            <p:strVal val="#ppt_x"/>
                                          </p:val>
                                        </p:tav>
                                        <p:tav tm="100000">
                                          <p:val>
                                            <p:strVal val="#ppt_x"/>
                                          </p:val>
                                        </p:tav>
                                      </p:tavLst>
                                    </p:anim>
                                    <p:anim calcmode="lin" valueType="num">
                                      <p:cBhvr additive="base">
                                        <p:cTn id="91" dur="350" fill="hold"/>
                                        <p:tgtEl>
                                          <p:spTgt spid="88"/>
                                        </p:tgtEl>
                                        <p:attrNameLst>
                                          <p:attrName>ppt_y</p:attrName>
                                        </p:attrNameLst>
                                      </p:cBhvr>
                                      <p:tavLst>
                                        <p:tav tm="0">
                                          <p:val>
                                            <p:strVal val="1+#ppt_h/2"/>
                                          </p:val>
                                        </p:tav>
                                        <p:tav tm="100000">
                                          <p:val>
                                            <p:strVal val="#ppt_y"/>
                                          </p:val>
                                        </p:tav>
                                      </p:tavLst>
                                    </p:anim>
                                  </p:childTnLst>
                                </p:cTn>
                              </p:par>
                            </p:childTnLst>
                          </p:cTn>
                        </p:par>
                        <p:par>
                          <p:cTn id="92" fill="hold">
                            <p:stCondLst>
                              <p:cond delay="8000"/>
                            </p:stCondLst>
                            <p:childTnLst>
                              <p:par>
                                <p:cTn id="93" presetID="12" presetClass="entr" presetSubtype="2" fill="hold" grpId="0" nodeType="afterEffect">
                                  <p:stCondLst>
                                    <p:cond delay="0"/>
                                  </p:stCondLst>
                                  <p:childTnLst>
                                    <p:set>
                                      <p:cBhvr>
                                        <p:cTn id="94" dur="1" fill="hold">
                                          <p:stCondLst>
                                            <p:cond delay="0"/>
                                          </p:stCondLst>
                                        </p:cTn>
                                        <p:tgtEl>
                                          <p:spTgt spid="36"/>
                                        </p:tgtEl>
                                        <p:attrNameLst>
                                          <p:attrName>style.visibility</p:attrName>
                                        </p:attrNameLst>
                                      </p:cBhvr>
                                      <p:to>
                                        <p:strVal val="visible"/>
                                      </p:to>
                                    </p:set>
                                    <p:animEffect transition="in" filter="slide(fromRight)">
                                      <p:cBhvr>
                                        <p:cTn id="95"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5" grpId="0"/>
      <p:bldP spid="36" grpId="0"/>
      <p:bldP spid="53" grpId="0" animBg="1"/>
      <p:bldP spid="61" grpId="0" animBg="1"/>
      <p:bldP spid="69" grpId="0" animBg="1"/>
      <p:bldP spid="81" grpId="0" animBg="1"/>
      <p:bldP spid="85" grpId="0"/>
      <p:bldP spid="86" grpId="0"/>
      <p:bldP spid="87" grpId="0"/>
      <p:bldP spid="88" grpId="0"/>
      <p:bldP spid="89" grpId="0"/>
      <p:bldP spid="90" grpId="0"/>
      <p:bldP spid="91" grpId="0"/>
      <p:bldP spid="9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 name="Straight Connector 43"/>
          <p:cNvCxnSpPr/>
          <p:nvPr/>
        </p:nvCxnSpPr>
        <p:spPr>
          <a:xfrm>
            <a:off x="1104046" y="3640592"/>
            <a:ext cx="9983913" cy="0"/>
          </a:xfrm>
          <a:prstGeom prst="line">
            <a:avLst/>
          </a:prstGeom>
          <a:ln w="19050">
            <a:solidFill>
              <a:schemeClr val="tx1">
                <a:lumMod val="65000"/>
                <a:lumOff val="3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97" name="Rounded Rectangle 37"/>
          <p:cNvSpPr>
            <a:spLocks noChangeAspect="1"/>
          </p:cNvSpPr>
          <p:nvPr/>
        </p:nvSpPr>
        <p:spPr>
          <a:xfrm>
            <a:off x="1459945" y="3259943"/>
            <a:ext cx="841402" cy="841507"/>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accent1"/>
                </a:solidFill>
              </a:rPr>
              <a:t>01</a:t>
            </a:r>
          </a:p>
        </p:txBody>
      </p:sp>
      <p:sp>
        <p:nvSpPr>
          <p:cNvPr id="100" name="Rounded Rectangle 39"/>
          <p:cNvSpPr>
            <a:spLocks noChangeAspect="1"/>
          </p:cNvSpPr>
          <p:nvPr/>
        </p:nvSpPr>
        <p:spPr>
          <a:xfrm>
            <a:off x="3146089" y="3259943"/>
            <a:ext cx="841402" cy="84150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bg1"/>
                </a:solidFill>
              </a:rPr>
              <a:t>02</a:t>
            </a:r>
            <a:endParaRPr lang="en-US" sz="3555" dirty="0">
              <a:solidFill>
                <a:schemeClr val="bg1"/>
              </a:solidFill>
            </a:endParaRPr>
          </a:p>
        </p:txBody>
      </p:sp>
      <p:sp>
        <p:nvSpPr>
          <p:cNvPr id="106" name="Rounded Rectangle 40"/>
          <p:cNvSpPr>
            <a:spLocks noChangeAspect="1"/>
          </p:cNvSpPr>
          <p:nvPr/>
        </p:nvSpPr>
        <p:spPr>
          <a:xfrm>
            <a:off x="4832232" y="3259943"/>
            <a:ext cx="841402" cy="841507"/>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accent1"/>
                </a:solidFill>
              </a:rPr>
              <a:t>03</a:t>
            </a:r>
            <a:endParaRPr lang="en-US" sz="3555" dirty="0">
              <a:solidFill>
                <a:schemeClr val="accent1"/>
              </a:solidFill>
            </a:endParaRPr>
          </a:p>
        </p:txBody>
      </p:sp>
      <p:sp>
        <p:nvSpPr>
          <p:cNvPr id="124" name="Rounded Rectangle 41"/>
          <p:cNvSpPr>
            <a:spLocks noChangeAspect="1"/>
          </p:cNvSpPr>
          <p:nvPr/>
        </p:nvSpPr>
        <p:spPr>
          <a:xfrm>
            <a:off x="6518375" y="3259943"/>
            <a:ext cx="841402" cy="84150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bg1"/>
                </a:solidFill>
              </a:rPr>
              <a:t>04</a:t>
            </a:r>
            <a:endParaRPr lang="en-US" sz="3555" dirty="0">
              <a:solidFill>
                <a:schemeClr val="bg1"/>
              </a:solidFill>
            </a:endParaRPr>
          </a:p>
        </p:txBody>
      </p:sp>
      <p:sp>
        <p:nvSpPr>
          <p:cNvPr id="131" name="Rounded Rectangle 53"/>
          <p:cNvSpPr>
            <a:spLocks noChangeAspect="1"/>
          </p:cNvSpPr>
          <p:nvPr/>
        </p:nvSpPr>
        <p:spPr>
          <a:xfrm>
            <a:off x="8204518" y="3259943"/>
            <a:ext cx="841402" cy="841507"/>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accent1"/>
                </a:solidFill>
              </a:rPr>
              <a:t>05</a:t>
            </a:r>
            <a:endParaRPr lang="en-US" sz="3555" dirty="0">
              <a:solidFill>
                <a:schemeClr val="accent1"/>
              </a:solidFill>
            </a:endParaRPr>
          </a:p>
        </p:txBody>
      </p:sp>
      <p:sp>
        <p:nvSpPr>
          <p:cNvPr id="135" name="Rounded Rectangle 74"/>
          <p:cNvSpPr>
            <a:spLocks noChangeAspect="1"/>
          </p:cNvSpPr>
          <p:nvPr/>
        </p:nvSpPr>
        <p:spPr>
          <a:xfrm>
            <a:off x="9890659" y="3259943"/>
            <a:ext cx="841402" cy="84150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bg1"/>
                </a:solidFill>
              </a:rPr>
              <a:t>06</a:t>
            </a:r>
            <a:endParaRPr lang="en-US" sz="3555" dirty="0">
              <a:solidFill>
                <a:schemeClr val="bg1"/>
              </a:solidFill>
            </a:endParaRPr>
          </a:p>
        </p:txBody>
      </p:sp>
      <p:sp>
        <p:nvSpPr>
          <p:cNvPr id="41" name="矩形 40"/>
          <p:cNvSpPr/>
          <p:nvPr/>
        </p:nvSpPr>
        <p:spPr>
          <a:xfrm>
            <a:off x="2506093" y="1537857"/>
            <a:ext cx="1210412" cy="400101"/>
          </a:xfrm>
          <a:prstGeom prst="rect">
            <a:avLst/>
          </a:prstGeom>
        </p:spPr>
        <p:txBody>
          <a:bodyPr wrap="none" lIns="91431" tIns="45716" rIns="91431" bIns="45716">
            <a:spAutoFit/>
          </a:bodyPr>
          <a:lstStyle/>
          <a:p>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2" name="矩形 47"/>
          <p:cNvSpPr>
            <a:spLocks noChangeArrowheads="1"/>
          </p:cNvSpPr>
          <p:nvPr/>
        </p:nvSpPr>
        <p:spPr bwMode="auto">
          <a:xfrm>
            <a:off x="2506090" y="1918566"/>
            <a:ext cx="2143254"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44" name="矩形 43"/>
          <p:cNvSpPr/>
          <p:nvPr/>
        </p:nvSpPr>
        <p:spPr>
          <a:xfrm>
            <a:off x="5881614" y="1537857"/>
            <a:ext cx="1210412" cy="400101"/>
          </a:xfrm>
          <a:prstGeom prst="rect">
            <a:avLst/>
          </a:prstGeom>
        </p:spPr>
        <p:txBody>
          <a:bodyPr wrap="none" lIns="91431" tIns="45716" rIns="91431" bIns="45716">
            <a:spAutoFit/>
          </a:bodyPr>
          <a:lstStyle/>
          <a:p>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5" name="矩形 47"/>
          <p:cNvSpPr>
            <a:spLocks noChangeArrowheads="1"/>
          </p:cNvSpPr>
          <p:nvPr/>
        </p:nvSpPr>
        <p:spPr bwMode="auto">
          <a:xfrm>
            <a:off x="5881611" y="1918566"/>
            <a:ext cx="2143254"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46" name="矩形 45"/>
          <p:cNvSpPr/>
          <p:nvPr/>
        </p:nvSpPr>
        <p:spPr>
          <a:xfrm>
            <a:off x="9250665" y="1537857"/>
            <a:ext cx="1210412" cy="400101"/>
          </a:xfrm>
          <a:prstGeom prst="rect">
            <a:avLst/>
          </a:prstGeom>
        </p:spPr>
        <p:txBody>
          <a:bodyPr wrap="none" lIns="91431" tIns="45716" rIns="91431" bIns="45716">
            <a:spAutoFit/>
          </a:bodyPr>
          <a:lstStyle/>
          <a:p>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7" name="矩形 47"/>
          <p:cNvSpPr>
            <a:spLocks noChangeArrowheads="1"/>
          </p:cNvSpPr>
          <p:nvPr/>
        </p:nvSpPr>
        <p:spPr bwMode="auto">
          <a:xfrm>
            <a:off x="9250662" y="1918566"/>
            <a:ext cx="2143254"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48" name="矩形 47"/>
          <p:cNvSpPr/>
          <p:nvPr/>
        </p:nvSpPr>
        <p:spPr>
          <a:xfrm>
            <a:off x="1723434" y="4610315"/>
            <a:ext cx="1210412" cy="400101"/>
          </a:xfrm>
          <a:prstGeom prst="rect">
            <a:avLst/>
          </a:prstGeom>
        </p:spPr>
        <p:txBody>
          <a:bodyPr wrap="none" lIns="91431" tIns="45716" rIns="91431" bIns="45716">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9" name="矩形 47"/>
          <p:cNvSpPr>
            <a:spLocks noChangeArrowheads="1"/>
          </p:cNvSpPr>
          <p:nvPr/>
        </p:nvSpPr>
        <p:spPr bwMode="auto">
          <a:xfrm>
            <a:off x="798097" y="4991024"/>
            <a:ext cx="2135751"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50" name="矩形 49"/>
          <p:cNvSpPr/>
          <p:nvPr/>
        </p:nvSpPr>
        <p:spPr>
          <a:xfrm>
            <a:off x="5098949" y="4610315"/>
            <a:ext cx="1210412" cy="400101"/>
          </a:xfrm>
          <a:prstGeom prst="rect">
            <a:avLst/>
          </a:prstGeom>
        </p:spPr>
        <p:txBody>
          <a:bodyPr wrap="none" lIns="91431" tIns="45716" rIns="91431" bIns="45716">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1" name="矩形 47"/>
          <p:cNvSpPr>
            <a:spLocks noChangeArrowheads="1"/>
          </p:cNvSpPr>
          <p:nvPr/>
        </p:nvSpPr>
        <p:spPr bwMode="auto">
          <a:xfrm>
            <a:off x="4173611" y="4991024"/>
            <a:ext cx="2135751"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52" name="矩形 51"/>
          <p:cNvSpPr/>
          <p:nvPr/>
        </p:nvSpPr>
        <p:spPr>
          <a:xfrm>
            <a:off x="8471231" y="4610315"/>
            <a:ext cx="1210412" cy="400101"/>
          </a:xfrm>
          <a:prstGeom prst="rect">
            <a:avLst/>
          </a:prstGeom>
        </p:spPr>
        <p:txBody>
          <a:bodyPr wrap="none" lIns="91431" tIns="45716" rIns="91431" bIns="45716">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3" name="矩形 47"/>
          <p:cNvSpPr>
            <a:spLocks noChangeArrowheads="1"/>
          </p:cNvSpPr>
          <p:nvPr/>
        </p:nvSpPr>
        <p:spPr bwMode="auto">
          <a:xfrm>
            <a:off x="7545894" y="4991024"/>
            <a:ext cx="2135751"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grpSp>
        <p:nvGrpSpPr>
          <p:cNvPr id="9" name="组合 8"/>
          <p:cNvGrpSpPr/>
          <p:nvPr/>
        </p:nvGrpSpPr>
        <p:grpSpPr>
          <a:xfrm>
            <a:off x="4649342" y="1551434"/>
            <a:ext cx="1207182" cy="1664759"/>
            <a:chOff x="4649153" y="1551432"/>
            <a:chExt cx="1207339" cy="1664759"/>
          </a:xfrm>
        </p:grpSpPr>
        <p:grpSp>
          <p:nvGrpSpPr>
            <p:cNvPr id="3" name="组合 2"/>
            <p:cNvGrpSpPr/>
            <p:nvPr/>
          </p:nvGrpSpPr>
          <p:grpSpPr>
            <a:xfrm>
              <a:off x="4649153" y="1551432"/>
              <a:ext cx="1207339" cy="1664759"/>
              <a:chOff x="4649153" y="1551432"/>
              <a:chExt cx="1207339" cy="1664759"/>
            </a:xfrm>
          </p:grpSpPr>
          <p:cxnSp>
            <p:nvCxnSpPr>
              <p:cNvPr id="104" name="Straight Connector 57"/>
              <p:cNvCxnSpPr/>
              <p:nvPr/>
            </p:nvCxnSpPr>
            <p:spPr>
              <a:xfrm>
                <a:off x="5252823" y="2787243"/>
                <a:ext cx="0" cy="428948"/>
              </a:xfrm>
              <a:prstGeom prst="line">
                <a:avLst/>
              </a:prstGeom>
              <a:ln w="19050" cap="rnd">
                <a:solidFill>
                  <a:schemeClr val="accent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05" name="Rounded Rectangle 35"/>
              <p:cNvSpPr/>
              <p:nvPr/>
            </p:nvSpPr>
            <p:spPr>
              <a:xfrm>
                <a:off x="4649153" y="1551432"/>
                <a:ext cx="1207339" cy="1207339"/>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43840" rIns="243840" bIns="210677" numCol="1" spcCol="1270" anchor="ctr" anchorCtr="0">
                <a:noAutofit/>
              </a:bodyPr>
              <a:lstStyle/>
              <a:p>
                <a:pPr algn="ctr" defTabSz="1184910">
                  <a:lnSpc>
                    <a:spcPct val="90000"/>
                  </a:lnSpc>
                  <a:spcBef>
                    <a:spcPct val="0"/>
                  </a:spcBef>
                  <a:spcAft>
                    <a:spcPct val="35000"/>
                  </a:spcAft>
                </a:pPr>
                <a:endParaRPr lang="en-US" sz="4265" dirty="0">
                  <a:latin typeface="FontAwesome" pitchFamily="2" charset="0"/>
                </a:endParaRPr>
              </a:p>
            </p:txBody>
          </p:sp>
        </p:grpSp>
        <p:grpSp>
          <p:nvGrpSpPr>
            <p:cNvPr id="55" name="组合 54"/>
            <p:cNvGrpSpPr>
              <a:grpSpLocks noChangeAspect="1"/>
            </p:cNvGrpSpPr>
            <p:nvPr/>
          </p:nvGrpSpPr>
          <p:grpSpPr>
            <a:xfrm>
              <a:off x="5047010" y="1833189"/>
              <a:ext cx="404678" cy="648000"/>
              <a:chOff x="8912226" y="6748292"/>
              <a:chExt cx="250825" cy="401638"/>
            </a:xfrm>
            <a:solidFill>
              <a:srgbClr val="9DA8B1"/>
            </a:solidFill>
          </p:grpSpPr>
          <p:sp>
            <p:nvSpPr>
              <p:cNvPr id="56" name="Freeform 550"/>
              <p:cNvSpPr/>
              <p:nvPr/>
            </p:nvSpPr>
            <p:spPr bwMode="auto">
              <a:xfrm>
                <a:off x="8912226" y="6859417"/>
                <a:ext cx="250825" cy="290513"/>
              </a:xfrm>
              <a:custGeom>
                <a:avLst/>
                <a:gdLst>
                  <a:gd name="T0" fmla="*/ 180 w 180"/>
                  <a:gd name="T1" fmla="*/ 68 h 209"/>
                  <a:gd name="T2" fmla="*/ 180 w 180"/>
                  <a:gd name="T3" fmla="*/ 15 h 209"/>
                  <a:gd name="T4" fmla="*/ 156 w 180"/>
                  <a:gd name="T5" fmla="*/ 15 h 209"/>
                  <a:gd name="T6" fmla="*/ 156 w 180"/>
                  <a:gd name="T7" fmla="*/ 68 h 209"/>
                  <a:gd name="T8" fmla="*/ 92 w 180"/>
                  <a:gd name="T9" fmla="*/ 132 h 209"/>
                  <a:gd name="T10" fmla="*/ 91 w 180"/>
                  <a:gd name="T11" fmla="*/ 132 h 209"/>
                  <a:gd name="T12" fmla="*/ 90 w 180"/>
                  <a:gd name="T13" fmla="*/ 132 h 209"/>
                  <a:gd name="T14" fmla="*/ 90 w 180"/>
                  <a:gd name="T15" fmla="*/ 132 h 209"/>
                  <a:gd name="T16" fmla="*/ 89 w 180"/>
                  <a:gd name="T17" fmla="*/ 132 h 209"/>
                  <a:gd name="T18" fmla="*/ 24 w 180"/>
                  <a:gd name="T19" fmla="*/ 68 h 209"/>
                  <a:gd name="T20" fmla="*/ 24 w 180"/>
                  <a:gd name="T21" fmla="*/ 15 h 209"/>
                  <a:gd name="T22" fmla="*/ 0 w 180"/>
                  <a:gd name="T23" fmla="*/ 15 h 209"/>
                  <a:gd name="T24" fmla="*/ 0 w 180"/>
                  <a:gd name="T25" fmla="*/ 68 h 209"/>
                  <a:gd name="T26" fmla="*/ 76 w 180"/>
                  <a:gd name="T27" fmla="*/ 156 h 209"/>
                  <a:gd name="T28" fmla="*/ 76 w 180"/>
                  <a:gd name="T29" fmla="*/ 194 h 209"/>
                  <a:gd name="T30" fmla="*/ 22 w 180"/>
                  <a:gd name="T31" fmla="*/ 209 h 209"/>
                  <a:gd name="T32" fmla="*/ 159 w 180"/>
                  <a:gd name="T33" fmla="*/ 209 h 209"/>
                  <a:gd name="T34" fmla="*/ 104 w 180"/>
                  <a:gd name="T35" fmla="*/ 193 h 209"/>
                  <a:gd name="T36" fmla="*/ 104 w 180"/>
                  <a:gd name="T37" fmla="*/ 156 h 209"/>
                  <a:gd name="T38" fmla="*/ 180 w 180"/>
                  <a:gd name="T39" fmla="*/ 6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209">
                    <a:moveTo>
                      <a:pt x="180" y="68"/>
                    </a:moveTo>
                    <a:cubicBezTo>
                      <a:pt x="180" y="68"/>
                      <a:pt x="180" y="38"/>
                      <a:pt x="180" y="15"/>
                    </a:cubicBezTo>
                    <a:cubicBezTo>
                      <a:pt x="180" y="0"/>
                      <a:pt x="156" y="0"/>
                      <a:pt x="156" y="15"/>
                    </a:cubicBezTo>
                    <a:cubicBezTo>
                      <a:pt x="156" y="38"/>
                      <a:pt x="156" y="68"/>
                      <a:pt x="156" y="68"/>
                    </a:cubicBezTo>
                    <a:cubicBezTo>
                      <a:pt x="156" y="104"/>
                      <a:pt x="128" y="132"/>
                      <a:pt x="92" y="132"/>
                    </a:cubicBezTo>
                    <a:cubicBezTo>
                      <a:pt x="92" y="132"/>
                      <a:pt x="91" y="132"/>
                      <a:pt x="91" y="132"/>
                    </a:cubicBezTo>
                    <a:cubicBezTo>
                      <a:pt x="90" y="132"/>
                      <a:pt x="90" y="132"/>
                      <a:pt x="90" y="132"/>
                    </a:cubicBezTo>
                    <a:cubicBezTo>
                      <a:pt x="90" y="132"/>
                      <a:pt x="90" y="132"/>
                      <a:pt x="90" y="132"/>
                    </a:cubicBezTo>
                    <a:cubicBezTo>
                      <a:pt x="90" y="132"/>
                      <a:pt x="89" y="132"/>
                      <a:pt x="89" y="132"/>
                    </a:cubicBezTo>
                    <a:cubicBezTo>
                      <a:pt x="53" y="132"/>
                      <a:pt x="24" y="104"/>
                      <a:pt x="24" y="68"/>
                    </a:cubicBezTo>
                    <a:cubicBezTo>
                      <a:pt x="24" y="68"/>
                      <a:pt x="24" y="38"/>
                      <a:pt x="24" y="15"/>
                    </a:cubicBezTo>
                    <a:cubicBezTo>
                      <a:pt x="24" y="0"/>
                      <a:pt x="0" y="0"/>
                      <a:pt x="0" y="15"/>
                    </a:cubicBezTo>
                    <a:cubicBezTo>
                      <a:pt x="0" y="22"/>
                      <a:pt x="0" y="68"/>
                      <a:pt x="0" y="68"/>
                    </a:cubicBezTo>
                    <a:cubicBezTo>
                      <a:pt x="0" y="113"/>
                      <a:pt x="33" y="149"/>
                      <a:pt x="76" y="156"/>
                    </a:cubicBezTo>
                    <a:cubicBezTo>
                      <a:pt x="76" y="194"/>
                      <a:pt x="76" y="194"/>
                      <a:pt x="76" y="194"/>
                    </a:cubicBezTo>
                    <a:cubicBezTo>
                      <a:pt x="22" y="209"/>
                      <a:pt x="22" y="209"/>
                      <a:pt x="22" y="209"/>
                    </a:cubicBezTo>
                    <a:cubicBezTo>
                      <a:pt x="159" y="209"/>
                      <a:pt x="159" y="209"/>
                      <a:pt x="159" y="209"/>
                    </a:cubicBezTo>
                    <a:cubicBezTo>
                      <a:pt x="104" y="193"/>
                      <a:pt x="104" y="193"/>
                      <a:pt x="104" y="193"/>
                    </a:cubicBezTo>
                    <a:cubicBezTo>
                      <a:pt x="104" y="156"/>
                      <a:pt x="104" y="156"/>
                      <a:pt x="104" y="156"/>
                    </a:cubicBezTo>
                    <a:cubicBezTo>
                      <a:pt x="147" y="150"/>
                      <a:pt x="180" y="113"/>
                      <a:pt x="180" y="68"/>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2490">
                  <a:solidFill>
                    <a:schemeClr val="tx2">
                      <a:lumMod val="7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57" name="Freeform 551"/>
              <p:cNvSpPr/>
              <p:nvPr/>
            </p:nvSpPr>
            <p:spPr bwMode="auto">
              <a:xfrm>
                <a:off x="8977313" y="6748292"/>
                <a:ext cx="120650" cy="263525"/>
              </a:xfrm>
              <a:custGeom>
                <a:avLst/>
                <a:gdLst>
                  <a:gd name="T0" fmla="*/ 43 w 87"/>
                  <a:gd name="T1" fmla="*/ 190 h 190"/>
                  <a:gd name="T2" fmla="*/ 43 w 87"/>
                  <a:gd name="T3" fmla="*/ 190 h 190"/>
                  <a:gd name="T4" fmla="*/ 44 w 87"/>
                  <a:gd name="T5" fmla="*/ 190 h 190"/>
                  <a:gd name="T6" fmla="*/ 87 w 87"/>
                  <a:gd name="T7" fmla="*/ 147 h 190"/>
                  <a:gd name="T8" fmla="*/ 87 w 87"/>
                  <a:gd name="T9" fmla="*/ 43 h 190"/>
                  <a:gd name="T10" fmla="*/ 44 w 87"/>
                  <a:gd name="T11" fmla="*/ 0 h 190"/>
                  <a:gd name="T12" fmla="*/ 43 w 87"/>
                  <a:gd name="T13" fmla="*/ 0 h 190"/>
                  <a:gd name="T14" fmla="*/ 43 w 87"/>
                  <a:gd name="T15" fmla="*/ 0 h 190"/>
                  <a:gd name="T16" fmla="*/ 0 w 87"/>
                  <a:gd name="T17" fmla="*/ 43 h 190"/>
                  <a:gd name="T18" fmla="*/ 0 w 87"/>
                  <a:gd name="T19" fmla="*/ 147 h 190"/>
                  <a:gd name="T20" fmla="*/ 43 w 87"/>
                  <a:gd name="T2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90">
                    <a:moveTo>
                      <a:pt x="43" y="190"/>
                    </a:moveTo>
                    <a:cubicBezTo>
                      <a:pt x="43" y="190"/>
                      <a:pt x="43" y="190"/>
                      <a:pt x="43" y="190"/>
                    </a:cubicBezTo>
                    <a:cubicBezTo>
                      <a:pt x="44" y="190"/>
                      <a:pt x="44" y="190"/>
                      <a:pt x="44" y="190"/>
                    </a:cubicBezTo>
                    <a:cubicBezTo>
                      <a:pt x="68" y="190"/>
                      <a:pt x="87" y="171"/>
                      <a:pt x="87" y="147"/>
                    </a:cubicBezTo>
                    <a:cubicBezTo>
                      <a:pt x="87" y="43"/>
                      <a:pt x="87" y="43"/>
                      <a:pt x="87" y="43"/>
                    </a:cubicBezTo>
                    <a:cubicBezTo>
                      <a:pt x="87" y="19"/>
                      <a:pt x="68" y="0"/>
                      <a:pt x="44" y="0"/>
                    </a:cubicBezTo>
                    <a:cubicBezTo>
                      <a:pt x="44" y="0"/>
                      <a:pt x="44" y="0"/>
                      <a:pt x="43" y="0"/>
                    </a:cubicBezTo>
                    <a:cubicBezTo>
                      <a:pt x="43" y="0"/>
                      <a:pt x="43" y="0"/>
                      <a:pt x="43" y="0"/>
                    </a:cubicBezTo>
                    <a:cubicBezTo>
                      <a:pt x="19" y="0"/>
                      <a:pt x="0" y="19"/>
                      <a:pt x="0" y="43"/>
                    </a:cubicBezTo>
                    <a:cubicBezTo>
                      <a:pt x="0" y="147"/>
                      <a:pt x="0" y="147"/>
                      <a:pt x="0" y="147"/>
                    </a:cubicBezTo>
                    <a:cubicBezTo>
                      <a:pt x="0" y="171"/>
                      <a:pt x="19" y="190"/>
                      <a:pt x="43" y="190"/>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2490">
                  <a:solidFill>
                    <a:schemeClr val="tx2">
                      <a:lumMod val="75000"/>
                    </a:schemeClr>
                  </a:solidFill>
                  <a:latin typeface="Arial" panose="020B0604020202020204" pitchFamily="34" charset="0"/>
                  <a:ea typeface="微软雅黑" panose="020B0503020204020204" pitchFamily="34" charset="-122"/>
                  <a:cs typeface="Arial" panose="020B0604020202020204" pitchFamily="34" charset="0"/>
                </a:endParaRPr>
              </a:p>
            </p:txBody>
          </p:sp>
        </p:grpSp>
      </p:grpSp>
      <p:grpSp>
        <p:nvGrpSpPr>
          <p:cNvPr id="13" name="组合 12"/>
          <p:cNvGrpSpPr/>
          <p:nvPr/>
        </p:nvGrpSpPr>
        <p:grpSpPr>
          <a:xfrm>
            <a:off x="6335486" y="4147215"/>
            <a:ext cx="1207182" cy="1711733"/>
            <a:chOff x="6335516" y="4147213"/>
            <a:chExt cx="1207339" cy="1711733"/>
          </a:xfrm>
        </p:grpSpPr>
        <p:grpSp>
          <p:nvGrpSpPr>
            <p:cNvPr id="6" name="组合 5"/>
            <p:cNvGrpSpPr/>
            <p:nvPr/>
          </p:nvGrpSpPr>
          <p:grpSpPr>
            <a:xfrm>
              <a:off x="6335516" y="4147213"/>
              <a:ext cx="1207339" cy="1711733"/>
              <a:chOff x="6335516" y="4147213"/>
              <a:chExt cx="1207339" cy="1711733"/>
            </a:xfrm>
          </p:grpSpPr>
          <p:cxnSp>
            <p:nvCxnSpPr>
              <p:cNvPr id="122" name="Straight Connector 61"/>
              <p:cNvCxnSpPr/>
              <p:nvPr/>
            </p:nvCxnSpPr>
            <p:spPr>
              <a:xfrm flipV="1">
                <a:off x="6939185" y="4147213"/>
                <a:ext cx="0" cy="468680"/>
              </a:xfrm>
              <a:prstGeom prst="line">
                <a:avLst/>
              </a:prstGeom>
              <a:ln w="19050" cap="rnd">
                <a:solidFill>
                  <a:schemeClr val="accent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23" name="Rounded Rectangle 34"/>
              <p:cNvSpPr/>
              <p:nvPr/>
            </p:nvSpPr>
            <p:spPr>
              <a:xfrm>
                <a:off x="6335516" y="4651607"/>
                <a:ext cx="1207339" cy="1207339"/>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10677" rIns="210677" bIns="121920" numCol="1" spcCol="1270" anchor="ctr" anchorCtr="0">
                <a:noAutofit/>
              </a:bodyPr>
              <a:lstStyle/>
              <a:p>
                <a:pPr algn="ctr" defTabSz="1184910">
                  <a:lnSpc>
                    <a:spcPct val="90000"/>
                  </a:lnSpc>
                  <a:spcBef>
                    <a:spcPct val="0"/>
                  </a:spcBef>
                  <a:spcAft>
                    <a:spcPct val="35000"/>
                  </a:spcAft>
                </a:pPr>
                <a:endParaRPr lang="en-US" sz="4265" dirty="0"/>
              </a:p>
            </p:txBody>
          </p:sp>
        </p:grpSp>
        <p:grpSp>
          <p:nvGrpSpPr>
            <p:cNvPr id="58" name="Group 9"/>
            <p:cNvGrpSpPr>
              <a:grpSpLocks noChangeAspect="1"/>
            </p:cNvGrpSpPr>
            <p:nvPr/>
          </p:nvGrpSpPr>
          <p:grpSpPr>
            <a:xfrm>
              <a:off x="6543185" y="4951791"/>
              <a:ext cx="792000" cy="587287"/>
              <a:chOff x="4572000" y="3414713"/>
              <a:chExt cx="374651" cy="277813"/>
            </a:xfrm>
            <a:solidFill>
              <a:schemeClr val="bg1"/>
            </a:solidFill>
          </p:grpSpPr>
          <p:sp>
            <p:nvSpPr>
              <p:cNvPr id="61" name="Freeform 17"/>
              <p:cNvSpPr/>
              <p:nvPr/>
            </p:nvSpPr>
            <p:spPr bwMode="auto">
              <a:xfrm>
                <a:off x="4713288" y="3481388"/>
                <a:ext cx="233363" cy="211138"/>
              </a:xfrm>
              <a:custGeom>
                <a:avLst/>
                <a:gdLst>
                  <a:gd name="T0" fmla="*/ 89 w 89"/>
                  <a:gd name="T1" fmla="*/ 33 h 81"/>
                  <a:gd name="T2" fmla="*/ 43 w 89"/>
                  <a:gd name="T3" fmla="*/ 0 h 81"/>
                  <a:gd name="T4" fmla="*/ 40 w 89"/>
                  <a:gd name="T5" fmla="*/ 1 h 81"/>
                  <a:gd name="T6" fmla="*/ 43 w 89"/>
                  <a:gd name="T7" fmla="*/ 11 h 81"/>
                  <a:gd name="T8" fmla="*/ 0 w 89"/>
                  <a:gd name="T9" fmla="*/ 44 h 81"/>
                  <a:gd name="T10" fmla="*/ 0 w 89"/>
                  <a:gd name="T11" fmla="*/ 44 h 81"/>
                  <a:gd name="T12" fmla="*/ 40 w 89"/>
                  <a:gd name="T13" fmla="*/ 65 h 81"/>
                  <a:gd name="T14" fmla="*/ 74 w 89"/>
                  <a:gd name="T15" fmla="*/ 81 h 81"/>
                  <a:gd name="T16" fmla="*/ 64 w 89"/>
                  <a:gd name="T17" fmla="*/ 62 h 81"/>
                  <a:gd name="T18" fmla="*/ 89 w 89"/>
                  <a:gd name="T19" fmla="*/ 3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1">
                    <a:moveTo>
                      <a:pt x="89" y="33"/>
                    </a:moveTo>
                    <a:cubicBezTo>
                      <a:pt x="89" y="15"/>
                      <a:pt x="68" y="0"/>
                      <a:pt x="43" y="0"/>
                    </a:cubicBezTo>
                    <a:cubicBezTo>
                      <a:pt x="42" y="0"/>
                      <a:pt x="41" y="1"/>
                      <a:pt x="40" y="1"/>
                    </a:cubicBezTo>
                    <a:cubicBezTo>
                      <a:pt x="42" y="4"/>
                      <a:pt x="43" y="8"/>
                      <a:pt x="43" y="11"/>
                    </a:cubicBezTo>
                    <a:cubicBezTo>
                      <a:pt x="43" y="29"/>
                      <a:pt x="24" y="43"/>
                      <a:pt x="0" y="44"/>
                    </a:cubicBezTo>
                    <a:cubicBezTo>
                      <a:pt x="0" y="44"/>
                      <a:pt x="0" y="44"/>
                      <a:pt x="0" y="44"/>
                    </a:cubicBezTo>
                    <a:cubicBezTo>
                      <a:pt x="6" y="56"/>
                      <a:pt x="21" y="64"/>
                      <a:pt x="40" y="65"/>
                    </a:cubicBezTo>
                    <a:cubicBezTo>
                      <a:pt x="53" y="75"/>
                      <a:pt x="74" y="81"/>
                      <a:pt x="74" y="81"/>
                    </a:cubicBezTo>
                    <a:cubicBezTo>
                      <a:pt x="64" y="72"/>
                      <a:pt x="63" y="65"/>
                      <a:pt x="64" y="62"/>
                    </a:cubicBezTo>
                    <a:cubicBezTo>
                      <a:pt x="79" y="56"/>
                      <a:pt x="89" y="46"/>
                      <a:pt x="89" y="33"/>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sp>
            <p:nvSpPr>
              <p:cNvPr id="62" name="Freeform 18"/>
              <p:cNvSpPr/>
              <p:nvPr/>
            </p:nvSpPr>
            <p:spPr bwMode="auto">
              <a:xfrm>
                <a:off x="4572000" y="3414713"/>
                <a:ext cx="241300" cy="209550"/>
              </a:xfrm>
              <a:custGeom>
                <a:avLst/>
                <a:gdLst>
                  <a:gd name="T0" fmla="*/ 89 w 92"/>
                  <a:gd name="T1" fmla="*/ 21 h 80"/>
                  <a:gd name="T2" fmla="*/ 46 w 92"/>
                  <a:gd name="T3" fmla="*/ 0 h 80"/>
                  <a:gd name="T4" fmla="*/ 0 w 92"/>
                  <a:gd name="T5" fmla="*/ 32 h 80"/>
                  <a:gd name="T6" fmla="*/ 25 w 92"/>
                  <a:gd name="T7" fmla="*/ 61 h 80"/>
                  <a:gd name="T8" fmla="*/ 14 w 92"/>
                  <a:gd name="T9" fmla="*/ 80 h 80"/>
                  <a:gd name="T10" fmla="*/ 48 w 92"/>
                  <a:gd name="T11" fmla="*/ 65 h 80"/>
                  <a:gd name="T12" fmla="*/ 49 w 92"/>
                  <a:gd name="T13" fmla="*/ 64 h 80"/>
                  <a:gd name="T14" fmla="*/ 92 w 92"/>
                  <a:gd name="T15" fmla="*/ 32 h 80"/>
                  <a:gd name="T16" fmla="*/ 89 w 92"/>
                  <a:gd name="T17"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80">
                    <a:moveTo>
                      <a:pt x="89" y="21"/>
                    </a:moveTo>
                    <a:cubicBezTo>
                      <a:pt x="83" y="9"/>
                      <a:pt x="66" y="0"/>
                      <a:pt x="46" y="0"/>
                    </a:cubicBezTo>
                    <a:cubicBezTo>
                      <a:pt x="20" y="0"/>
                      <a:pt x="0" y="14"/>
                      <a:pt x="0" y="32"/>
                    </a:cubicBezTo>
                    <a:cubicBezTo>
                      <a:pt x="0" y="45"/>
                      <a:pt x="10" y="56"/>
                      <a:pt x="25" y="61"/>
                    </a:cubicBezTo>
                    <a:cubicBezTo>
                      <a:pt x="26" y="65"/>
                      <a:pt x="25" y="71"/>
                      <a:pt x="14" y="80"/>
                    </a:cubicBezTo>
                    <a:cubicBezTo>
                      <a:pt x="14" y="80"/>
                      <a:pt x="36" y="75"/>
                      <a:pt x="48" y="65"/>
                    </a:cubicBezTo>
                    <a:cubicBezTo>
                      <a:pt x="49" y="64"/>
                      <a:pt x="49" y="64"/>
                      <a:pt x="49" y="64"/>
                    </a:cubicBezTo>
                    <a:cubicBezTo>
                      <a:pt x="73" y="63"/>
                      <a:pt x="92" y="49"/>
                      <a:pt x="92" y="32"/>
                    </a:cubicBezTo>
                    <a:cubicBezTo>
                      <a:pt x="92" y="28"/>
                      <a:pt x="91" y="25"/>
                      <a:pt x="89" y="21"/>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grpSp>
      </p:grpSp>
      <p:grpSp>
        <p:nvGrpSpPr>
          <p:cNvPr id="14" name="组合 13"/>
          <p:cNvGrpSpPr/>
          <p:nvPr/>
        </p:nvGrpSpPr>
        <p:grpSpPr>
          <a:xfrm>
            <a:off x="2963200" y="4147215"/>
            <a:ext cx="1207182" cy="1684495"/>
            <a:chOff x="2962791" y="4158915"/>
            <a:chExt cx="1207339" cy="1684495"/>
          </a:xfrm>
        </p:grpSpPr>
        <p:grpSp>
          <p:nvGrpSpPr>
            <p:cNvPr id="5" name="组合 4"/>
            <p:cNvGrpSpPr/>
            <p:nvPr/>
          </p:nvGrpSpPr>
          <p:grpSpPr>
            <a:xfrm>
              <a:off x="2962791" y="4158915"/>
              <a:ext cx="1207339" cy="1684495"/>
              <a:chOff x="2962791" y="4158915"/>
              <a:chExt cx="1207339" cy="1684495"/>
            </a:xfrm>
          </p:grpSpPr>
          <p:cxnSp>
            <p:nvCxnSpPr>
              <p:cNvPr id="98" name="Straight Connector 50"/>
              <p:cNvCxnSpPr/>
              <p:nvPr/>
            </p:nvCxnSpPr>
            <p:spPr>
              <a:xfrm flipV="1">
                <a:off x="3566460" y="4158915"/>
                <a:ext cx="0" cy="434813"/>
              </a:xfrm>
              <a:prstGeom prst="line">
                <a:avLst/>
              </a:prstGeom>
              <a:ln w="19050" cap="rnd">
                <a:solidFill>
                  <a:schemeClr val="accent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99" name="Rounded Rectangle 36"/>
              <p:cNvSpPr/>
              <p:nvPr/>
            </p:nvSpPr>
            <p:spPr>
              <a:xfrm>
                <a:off x="2962791" y="4636071"/>
                <a:ext cx="1207339" cy="1207339"/>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1184910">
                  <a:lnSpc>
                    <a:spcPct val="90000"/>
                  </a:lnSpc>
                  <a:spcBef>
                    <a:spcPct val="0"/>
                  </a:spcBef>
                  <a:spcAft>
                    <a:spcPct val="35000"/>
                  </a:spcAft>
                </a:pPr>
                <a:endParaRPr lang="en-US" sz="4265" dirty="0">
                  <a:latin typeface="FontAwesome" pitchFamily="2" charset="0"/>
                </a:endParaRPr>
              </a:p>
            </p:txBody>
          </p:sp>
        </p:grpSp>
        <p:grpSp>
          <p:nvGrpSpPr>
            <p:cNvPr id="63" name="Group 12"/>
            <p:cNvGrpSpPr>
              <a:grpSpLocks noChangeAspect="1"/>
            </p:cNvGrpSpPr>
            <p:nvPr/>
          </p:nvGrpSpPr>
          <p:grpSpPr>
            <a:xfrm>
              <a:off x="3227975" y="4903464"/>
              <a:ext cx="697327" cy="684000"/>
              <a:chOff x="2905125" y="4002088"/>
              <a:chExt cx="249238" cy="244475"/>
            </a:xfrm>
            <a:solidFill>
              <a:schemeClr val="bg1"/>
            </a:solidFill>
          </p:grpSpPr>
          <p:sp>
            <p:nvSpPr>
              <p:cNvPr id="64" name="Freeform 50"/>
              <p:cNvSpPr>
                <a:spLocks noEditPoints="1"/>
              </p:cNvSpPr>
              <p:nvPr/>
            </p:nvSpPr>
            <p:spPr bwMode="auto">
              <a:xfrm>
                <a:off x="2905125" y="4002088"/>
                <a:ext cx="249238" cy="244475"/>
              </a:xfrm>
              <a:custGeom>
                <a:avLst/>
                <a:gdLst>
                  <a:gd name="T0" fmla="*/ 82 w 95"/>
                  <a:gd name="T1" fmla="*/ 58 h 93"/>
                  <a:gd name="T2" fmla="*/ 95 w 95"/>
                  <a:gd name="T3" fmla="*/ 52 h 93"/>
                  <a:gd name="T4" fmla="*/ 95 w 95"/>
                  <a:gd name="T5" fmla="*/ 42 h 93"/>
                  <a:gd name="T6" fmla="*/ 82 w 95"/>
                  <a:gd name="T7" fmla="*/ 36 h 93"/>
                  <a:gd name="T8" fmla="*/ 79 w 95"/>
                  <a:gd name="T9" fmla="*/ 31 h 93"/>
                  <a:gd name="T10" fmla="*/ 84 w 95"/>
                  <a:gd name="T11" fmla="*/ 18 h 93"/>
                  <a:gd name="T12" fmla="*/ 77 w 95"/>
                  <a:gd name="T13" fmla="*/ 10 h 93"/>
                  <a:gd name="T14" fmla="*/ 64 w 95"/>
                  <a:gd name="T15" fmla="*/ 16 h 93"/>
                  <a:gd name="T16" fmla="*/ 58 w 95"/>
                  <a:gd name="T17" fmla="*/ 13 h 93"/>
                  <a:gd name="T18" fmla="*/ 52 w 95"/>
                  <a:gd name="T19" fmla="*/ 0 h 93"/>
                  <a:gd name="T20" fmla="*/ 42 w 95"/>
                  <a:gd name="T21" fmla="*/ 0 h 93"/>
                  <a:gd name="T22" fmla="*/ 36 w 95"/>
                  <a:gd name="T23" fmla="*/ 13 h 93"/>
                  <a:gd name="T24" fmla="*/ 31 w 95"/>
                  <a:gd name="T25" fmla="*/ 16 h 93"/>
                  <a:gd name="T26" fmla="*/ 17 w 95"/>
                  <a:gd name="T27" fmla="*/ 11 h 93"/>
                  <a:gd name="T28" fmla="*/ 10 w 95"/>
                  <a:gd name="T29" fmla="*/ 18 h 93"/>
                  <a:gd name="T30" fmla="*/ 15 w 95"/>
                  <a:gd name="T31" fmla="*/ 31 h 93"/>
                  <a:gd name="T32" fmla="*/ 13 w 95"/>
                  <a:gd name="T33" fmla="*/ 36 h 93"/>
                  <a:gd name="T34" fmla="*/ 0 w 95"/>
                  <a:gd name="T35" fmla="*/ 42 h 93"/>
                  <a:gd name="T36" fmla="*/ 0 w 95"/>
                  <a:gd name="T37" fmla="*/ 52 h 93"/>
                  <a:gd name="T38" fmla="*/ 13 w 95"/>
                  <a:gd name="T39" fmla="*/ 58 h 93"/>
                  <a:gd name="T40" fmla="*/ 15 w 95"/>
                  <a:gd name="T41" fmla="*/ 63 h 93"/>
                  <a:gd name="T42" fmla="*/ 10 w 95"/>
                  <a:gd name="T43" fmla="*/ 76 h 93"/>
                  <a:gd name="T44" fmla="*/ 18 w 95"/>
                  <a:gd name="T45" fmla="*/ 84 h 93"/>
                  <a:gd name="T46" fmla="*/ 31 w 95"/>
                  <a:gd name="T47" fmla="*/ 78 h 93"/>
                  <a:gd name="T48" fmla="*/ 37 w 95"/>
                  <a:gd name="T49" fmla="*/ 81 h 93"/>
                  <a:gd name="T50" fmla="*/ 42 w 95"/>
                  <a:gd name="T51" fmla="*/ 93 h 93"/>
                  <a:gd name="T52" fmla="*/ 53 w 95"/>
                  <a:gd name="T53" fmla="*/ 93 h 93"/>
                  <a:gd name="T54" fmla="*/ 58 w 95"/>
                  <a:gd name="T55" fmla="*/ 81 h 93"/>
                  <a:gd name="T56" fmla="*/ 64 w 95"/>
                  <a:gd name="T57" fmla="*/ 78 h 93"/>
                  <a:gd name="T58" fmla="*/ 77 w 95"/>
                  <a:gd name="T59" fmla="*/ 83 h 93"/>
                  <a:gd name="T60" fmla="*/ 85 w 95"/>
                  <a:gd name="T61" fmla="*/ 76 h 93"/>
                  <a:gd name="T62" fmla="*/ 79 w 95"/>
                  <a:gd name="T63" fmla="*/ 63 h 93"/>
                  <a:gd name="T64" fmla="*/ 82 w 95"/>
                  <a:gd name="T65" fmla="*/ 58 h 93"/>
                  <a:gd name="T66" fmla="*/ 47 w 95"/>
                  <a:gd name="T67" fmla="*/ 62 h 93"/>
                  <a:gd name="T68" fmla="*/ 32 w 95"/>
                  <a:gd name="T69" fmla="*/ 47 h 93"/>
                  <a:gd name="T70" fmla="*/ 47 w 95"/>
                  <a:gd name="T71" fmla="*/ 32 h 93"/>
                  <a:gd name="T72" fmla="*/ 63 w 95"/>
                  <a:gd name="T73" fmla="*/ 47 h 93"/>
                  <a:gd name="T74" fmla="*/ 47 w 95"/>
                  <a:gd name="T75" fmla="*/ 6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3">
                    <a:moveTo>
                      <a:pt x="82" y="58"/>
                    </a:moveTo>
                    <a:cubicBezTo>
                      <a:pt x="82" y="58"/>
                      <a:pt x="95" y="53"/>
                      <a:pt x="95" y="52"/>
                    </a:cubicBezTo>
                    <a:cubicBezTo>
                      <a:pt x="95" y="42"/>
                      <a:pt x="95" y="42"/>
                      <a:pt x="95" y="42"/>
                    </a:cubicBezTo>
                    <a:cubicBezTo>
                      <a:pt x="95" y="41"/>
                      <a:pt x="82" y="36"/>
                      <a:pt x="82" y="36"/>
                    </a:cubicBezTo>
                    <a:cubicBezTo>
                      <a:pt x="79" y="31"/>
                      <a:pt x="79" y="31"/>
                      <a:pt x="79" y="31"/>
                    </a:cubicBezTo>
                    <a:cubicBezTo>
                      <a:pt x="79" y="31"/>
                      <a:pt x="85" y="18"/>
                      <a:pt x="84" y="18"/>
                    </a:cubicBezTo>
                    <a:cubicBezTo>
                      <a:pt x="77" y="10"/>
                      <a:pt x="77" y="10"/>
                      <a:pt x="77" y="10"/>
                    </a:cubicBezTo>
                    <a:cubicBezTo>
                      <a:pt x="77" y="10"/>
                      <a:pt x="64" y="16"/>
                      <a:pt x="64" y="16"/>
                    </a:cubicBezTo>
                    <a:cubicBezTo>
                      <a:pt x="58" y="13"/>
                      <a:pt x="58" y="13"/>
                      <a:pt x="58" y="13"/>
                    </a:cubicBezTo>
                    <a:cubicBezTo>
                      <a:pt x="58" y="13"/>
                      <a:pt x="53" y="0"/>
                      <a:pt x="52" y="0"/>
                    </a:cubicBezTo>
                    <a:cubicBezTo>
                      <a:pt x="42" y="0"/>
                      <a:pt x="42" y="0"/>
                      <a:pt x="42" y="0"/>
                    </a:cubicBezTo>
                    <a:cubicBezTo>
                      <a:pt x="41" y="0"/>
                      <a:pt x="36" y="13"/>
                      <a:pt x="36" y="13"/>
                    </a:cubicBezTo>
                    <a:cubicBezTo>
                      <a:pt x="31" y="16"/>
                      <a:pt x="31" y="16"/>
                      <a:pt x="31" y="16"/>
                    </a:cubicBezTo>
                    <a:cubicBezTo>
                      <a:pt x="31" y="16"/>
                      <a:pt x="18" y="10"/>
                      <a:pt x="17" y="11"/>
                    </a:cubicBezTo>
                    <a:cubicBezTo>
                      <a:pt x="10" y="18"/>
                      <a:pt x="10" y="18"/>
                      <a:pt x="10" y="18"/>
                    </a:cubicBezTo>
                    <a:cubicBezTo>
                      <a:pt x="9" y="18"/>
                      <a:pt x="15" y="31"/>
                      <a:pt x="15" y="31"/>
                    </a:cubicBezTo>
                    <a:cubicBezTo>
                      <a:pt x="13" y="36"/>
                      <a:pt x="13" y="36"/>
                      <a:pt x="13" y="36"/>
                    </a:cubicBezTo>
                    <a:cubicBezTo>
                      <a:pt x="13" y="36"/>
                      <a:pt x="0" y="41"/>
                      <a:pt x="0" y="42"/>
                    </a:cubicBezTo>
                    <a:cubicBezTo>
                      <a:pt x="0" y="52"/>
                      <a:pt x="0" y="52"/>
                      <a:pt x="0" y="52"/>
                    </a:cubicBezTo>
                    <a:cubicBezTo>
                      <a:pt x="0" y="53"/>
                      <a:pt x="13" y="58"/>
                      <a:pt x="13" y="58"/>
                    </a:cubicBezTo>
                    <a:cubicBezTo>
                      <a:pt x="15" y="63"/>
                      <a:pt x="15" y="63"/>
                      <a:pt x="15" y="63"/>
                    </a:cubicBezTo>
                    <a:cubicBezTo>
                      <a:pt x="15" y="63"/>
                      <a:pt x="10" y="76"/>
                      <a:pt x="10" y="76"/>
                    </a:cubicBezTo>
                    <a:cubicBezTo>
                      <a:pt x="18" y="84"/>
                      <a:pt x="18" y="84"/>
                      <a:pt x="18" y="84"/>
                    </a:cubicBezTo>
                    <a:cubicBezTo>
                      <a:pt x="18" y="84"/>
                      <a:pt x="31" y="78"/>
                      <a:pt x="31" y="78"/>
                    </a:cubicBezTo>
                    <a:cubicBezTo>
                      <a:pt x="37" y="81"/>
                      <a:pt x="37" y="81"/>
                      <a:pt x="37" y="81"/>
                    </a:cubicBezTo>
                    <a:cubicBezTo>
                      <a:pt x="37" y="81"/>
                      <a:pt x="42" y="93"/>
                      <a:pt x="42" y="93"/>
                    </a:cubicBezTo>
                    <a:cubicBezTo>
                      <a:pt x="53" y="93"/>
                      <a:pt x="53" y="93"/>
                      <a:pt x="53" y="93"/>
                    </a:cubicBezTo>
                    <a:cubicBezTo>
                      <a:pt x="53" y="93"/>
                      <a:pt x="58" y="81"/>
                      <a:pt x="58" y="81"/>
                    </a:cubicBezTo>
                    <a:cubicBezTo>
                      <a:pt x="64" y="78"/>
                      <a:pt x="64" y="78"/>
                      <a:pt x="64" y="78"/>
                    </a:cubicBezTo>
                    <a:cubicBezTo>
                      <a:pt x="64" y="78"/>
                      <a:pt x="77" y="84"/>
                      <a:pt x="77" y="83"/>
                    </a:cubicBezTo>
                    <a:cubicBezTo>
                      <a:pt x="85" y="76"/>
                      <a:pt x="85" y="76"/>
                      <a:pt x="85" y="76"/>
                    </a:cubicBezTo>
                    <a:cubicBezTo>
                      <a:pt x="85" y="76"/>
                      <a:pt x="79" y="63"/>
                      <a:pt x="79" y="63"/>
                    </a:cubicBezTo>
                    <a:lnTo>
                      <a:pt x="82" y="58"/>
                    </a:lnTo>
                    <a:close/>
                    <a:moveTo>
                      <a:pt x="47" y="62"/>
                    </a:moveTo>
                    <a:cubicBezTo>
                      <a:pt x="39" y="62"/>
                      <a:pt x="32" y="55"/>
                      <a:pt x="32" y="47"/>
                    </a:cubicBezTo>
                    <a:cubicBezTo>
                      <a:pt x="32" y="39"/>
                      <a:pt x="39" y="32"/>
                      <a:pt x="47" y="32"/>
                    </a:cubicBezTo>
                    <a:cubicBezTo>
                      <a:pt x="56" y="32"/>
                      <a:pt x="63" y="39"/>
                      <a:pt x="63" y="47"/>
                    </a:cubicBezTo>
                    <a:cubicBezTo>
                      <a:pt x="63" y="55"/>
                      <a:pt x="56" y="62"/>
                      <a:pt x="47" y="62"/>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sp>
            <p:nvSpPr>
              <p:cNvPr id="65" name="Oval 51"/>
              <p:cNvSpPr>
                <a:spLocks noChangeArrowheads="1"/>
              </p:cNvSpPr>
              <p:nvPr/>
            </p:nvSpPr>
            <p:spPr bwMode="auto">
              <a:xfrm>
                <a:off x="3005138" y="4102100"/>
                <a:ext cx="49213" cy="47625"/>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grpSp>
      </p:grpSp>
      <p:grpSp>
        <p:nvGrpSpPr>
          <p:cNvPr id="8" name="组合 7"/>
          <p:cNvGrpSpPr/>
          <p:nvPr/>
        </p:nvGrpSpPr>
        <p:grpSpPr>
          <a:xfrm>
            <a:off x="1277056" y="1549863"/>
            <a:ext cx="1207182" cy="1666328"/>
            <a:chOff x="1276428" y="1549863"/>
            <a:chExt cx="1207339" cy="1666328"/>
          </a:xfrm>
        </p:grpSpPr>
        <p:grpSp>
          <p:nvGrpSpPr>
            <p:cNvPr id="2" name="组合 1"/>
            <p:cNvGrpSpPr/>
            <p:nvPr/>
          </p:nvGrpSpPr>
          <p:grpSpPr>
            <a:xfrm>
              <a:off x="1276428" y="1549863"/>
              <a:ext cx="1207339" cy="1666328"/>
              <a:chOff x="1276428" y="1549863"/>
              <a:chExt cx="1207339" cy="1666328"/>
            </a:xfrm>
          </p:grpSpPr>
          <p:cxnSp>
            <p:nvCxnSpPr>
              <p:cNvPr id="94" name="Straight Connector 38"/>
              <p:cNvCxnSpPr/>
              <p:nvPr/>
            </p:nvCxnSpPr>
            <p:spPr>
              <a:xfrm>
                <a:off x="1880097" y="2787243"/>
                <a:ext cx="0" cy="428948"/>
              </a:xfrm>
              <a:prstGeom prst="line">
                <a:avLst/>
              </a:prstGeom>
              <a:ln w="19050" cap="rnd">
                <a:solidFill>
                  <a:schemeClr val="accent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96" name="Rounded Rectangle 32"/>
              <p:cNvSpPr/>
              <p:nvPr/>
            </p:nvSpPr>
            <p:spPr>
              <a:xfrm>
                <a:off x="1276428" y="1549863"/>
                <a:ext cx="1207339" cy="1207339"/>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43840" rIns="210677" bIns="210677" numCol="1" spcCol="1270" anchor="ctr" anchorCtr="0">
                <a:noAutofit/>
              </a:bodyPr>
              <a:lstStyle/>
              <a:p>
                <a:pPr algn="ctr" defTabSz="1184910">
                  <a:lnSpc>
                    <a:spcPct val="90000"/>
                  </a:lnSpc>
                  <a:spcBef>
                    <a:spcPct val="0"/>
                  </a:spcBef>
                  <a:spcAft>
                    <a:spcPct val="35000"/>
                  </a:spcAft>
                </a:pPr>
                <a:endParaRPr lang="en-US" sz="4800" dirty="0">
                  <a:latin typeface="FontAwesome" pitchFamily="2" charset="0"/>
                </a:endParaRPr>
              </a:p>
            </p:txBody>
          </p:sp>
        </p:grpSp>
        <p:grpSp>
          <p:nvGrpSpPr>
            <p:cNvPr id="66" name="Group 15"/>
            <p:cNvGrpSpPr>
              <a:grpSpLocks noChangeAspect="1"/>
            </p:cNvGrpSpPr>
            <p:nvPr/>
          </p:nvGrpSpPr>
          <p:grpSpPr>
            <a:xfrm>
              <a:off x="1494695" y="1824528"/>
              <a:ext cx="792000" cy="584918"/>
              <a:chOff x="3052763" y="2647950"/>
              <a:chExt cx="346075" cy="255588"/>
            </a:xfrm>
            <a:solidFill>
              <a:schemeClr val="bg1"/>
            </a:solidFill>
          </p:grpSpPr>
          <p:sp>
            <p:nvSpPr>
              <p:cNvPr id="67" name="Freeform 108"/>
              <p:cNvSpPr/>
              <p:nvPr/>
            </p:nvSpPr>
            <p:spPr bwMode="auto">
              <a:xfrm>
                <a:off x="3175000" y="2825750"/>
                <a:ext cx="100013" cy="77788"/>
              </a:xfrm>
              <a:custGeom>
                <a:avLst/>
                <a:gdLst>
                  <a:gd name="T0" fmla="*/ 36 w 38"/>
                  <a:gd name="T1" fmla="*/ 11 h 30"/>
                  <a:gd name="T2" fmla="*/ 1 w 38"/>
                  <a:gd name="T3" fmla="*/ 11 h 30"/>
                  <a:gd name="T4" fmla="*/ 1 w 38"/>
                  <a:gd name="T5" fmla="*/ 13 h 30"/>
                  <a:gd name="T6" fmla="*/ 19 w 38"/>
                  <a:gd name="T7" fmla="*/ 30 h 30"/>
                  <a:gd name="T8" fmla="*/ 36 w 38"/>
                  <a:gd name="T9" fmla="*/ 13 h 30"/>
                  <a:gd name="T10" fmla="*/ 36 w 38"/>
                  <a:gd name="T11" fmla="*/ 11 h 30"/>
                </a:gdLst>
                <a:ahLst/>
                <a:cxnLst>
                  <a:cxn ang="0">
                    <a:pos x="T0" y="T1"/>
                  </a:cxn>
                  <a:cxn ang="0">
                    <a:pos x="T2" y="T3"/>
                  </a:cxn>
                  <a:cxn ang="0">
                    <a:pos x="T4" y="T5"/>
                  </a:cxn>
                  <a:cxn ang="0">
                    <a:pos x="T6" y="T7"/>
                  </a:cxn>
                  <a:cxn ang="0">
                    <a:pos x="T8" y="T9"/>
                  </a:cxn>
                  <a:cxn ang="0">
                    <a:pos x="T10" y="T11"/>
                  </a:cxn>
                </a:cxnLst>
                <a:rect l="0" t="0" r="r" b="b"/>
                <a:pathLst>
                  <a:path w="38" h="30">
                    <a:moveTo>
                      <a:pt x="36" y="11"/>
                    </a:moveTo>
                    <a:cubicBezTo>
                      <a:pt x="26" y="1"/>
                      <a:pt x="12" y="0"/>
                      <a:pt x="1" y="11"/>
                    </a:cubicBezTo>
                    <a:cubicBezTo>
                      <a:pt x="0" y="11"/>
                      <a:pt x="0" y="12"/>
                      <a:pt x="1" y="13"/>
                    </a:cubicBezTo>
                    <a:cubicBezTo>
                      <a:pt x="19" y="30"/>
                      <a:pt x="19" y="30"/>
                      <a:pt x="19" y="30"/>
                    </a:cubicBezTo>
                    <a:cubicBezTo>
                      <a:pt x="36" y="13"/>
                      <a:pt x="36" y="13"/>
                      <a:pt x="36" y="13"/>
                    </a:cubicBezTo>
                    <a:cubicBezTo>
                      <a:pt x="38" y="12"/>
                      <a:pt x="37" y="11"/>
                      <a:pt x="36" y="11"/>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sp>
            <p:nvSpPr>
              <p:cNvPr id="68" name="Freeform 109"/>
              <p:cNvSpPr/>
              <p:nvPr/>
            </p:nvSpPr>
            <p:spPr bwMode="auto">
              <a:xfrm>
                <a:off x="3109913" y="2736850"/>
                <a:ext cx="230188" cy="101600"/>
              </a:xfrm>
              <a:custGeom>
                <a:avLst/>
                <a:gdLst>
                  <a:gd name="T0" fmla="*/ 87 w 88"/>
                  <a:gd name="T1" fmla="*/ 24 h 39"/>
                  <a:gd name="T2" fmla="*/ 0 w 88"/>
                  <a:gd name="T3" fmla="*/ 24 h 39"/>
                  <a:gd name="T4" fmla="*/ 0 w 88"/>
                  <a:gd name="T5" fmla="*/ 26 h 39"/>
                  <a:gd name="T6" fmla="*/ 13 w 88"/>
                  <a:gd name="T7" fmla="*/ 38 h 39"/>
                  <a:gd name="T8" fmla="*/ 15 w 88"/>
                  <a:gd name="T9" fmla="*/ 38 h 39"/>
                  <a:gd name="T10" fmla="*/ 73 w 88"/>
                  <a:gd name="T11" fmla="*/ 38 h 39"/>
                  <a:gd name="T12" fmla="*/ 75 w 88"/>
                  <a:gd name="T13" fmla="*/ 38 h 39"/>
                  <a:gd name="T14" fmla="*/ 87 w 88"/>
                  <a:gd name="T15" fmla="*/ 26 h 39"/>
                  <a:gd name="T16" fmla="*/ 87 w 88"/>
                  <a:gd name="T17" fmla="*/ 26 h 39"/>
                  <a:gd name="T18" fmla="*/ 87 w 88"/>
                  <a:gd name="T1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9">
                    <a:moveTo>
                      <a:pt x="87" y="24"/>
                    </a:moveTo>
                    <a:cubicBezTo>
                      <a:pt x="63" y="0"/>
                      <a:pt x="24" y="0"/>
                      <a:pt x="0" y="24"/>
                    </a:cubicBezTo>
                    <a:cubicBezTo>
                      <a:pt x="0" y="24"/>
                      <a:pt x="0" y="25"/>
                      <a:pt x="0" y="26"/>
                    </a:cubicBezTo>
                    <a:cubicBezTo>
                      <a:pt x="13" y="38"/>
                      <a:pt x="13" y="38"/>
                      <a:pt x="13" y="38"/>
                    </a:cubicBezTo>
                    <a:cubicBezTo>
                      <a:pt x="13" y="39"/>
                      <a:pt x="14" y="39"/>
                      <a:pt x="15" y="38"/>
                    </a:cubicBezTo>
                    <a:cubicBezTo>
                      <a:pt x="31" y="22"/>
                      <a:pt x="57" y="22"/>
                      <a:pt x="73" y="38"/>
                    </a:cubicBezTo>
                    <a:cubicBezTo>
                      <a:pt x="73" y="39"/>
                      <a:pt x="74" y="39"/>
                      <a:pt x="75" y="38"/>
                    </a:cubicBezTo>
                    <a:cubicBezTo>
                      <a:pt x="87" y="26"/>
                      <a:pt x="87" y="26"/>
                      <a:pt x="87" y="26"/>
                    </a:cubicBezTo>
                    <a:cubicBezTo>
                      <a:pt x="87" y="26"/>
                      <a:pt x="87" y="26"/>
                      <a:pt x="87" y="26"/>
                    </a:cubicBezTo>
                    <a:cubicBezTo>
                      <a:pt x="88" y="25"/>
                      <a:pt x="88" y="24"/>
                      <a:pt x="87" y="24"/>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sp>
            <p:nvSpPr>
              <p:cNvPr id="69" name="Freeform 110"/>
              <p:cNvSpPr/>
              <p:nvPr/>
            </p:nvSpPr>
            <p:spPr bwMode="auto">
              <a:xfrm>
                <a:off x="3052763" y="2647950"/>
                <a:ext cx="346075" cy="134938"/>
              </a:xfrm>
              <a:custGeom>
                <a:avLst/>
                <a:gdLst>
                  <a:gd name="T0" fmla="*/ 131 w 132"/>
                  <a:gd name="T1" fmla="*/ 36 h 52"/>
                  <a:gd name="T2" fmla="*/ 131 w 132"/>
                  <a:gd name="T3" fmla="*/ 36 h 52"/>
                  <a:gd name="T4" fmla="*/ 1 w 132"/>
                  <a:gd name="T5" fmla="*/ 36 h 52"/>
                  <a:gd name="T6" fmla="*/ 1 w 132"/>
                  <a:gd name="T7" fmla="*/ 38 h 52"/>
                  <a:gd name="T8" fmla="*/ 13 w 132"/>
                  <a:gd name="T9" fmla="*/ 51 h 52"/>
                  <a:gd name="T10" fmla="*/ 16 w 132"/>
                  <a:gd name="T11" fmla="*/ 51 h 52"/>
                  <a:gd name="T12" fmla="*/ 116 w 132"/>
                  <a:gd name="T13" fmla="*/ 51 h 52"/>
                  <a:gd name="T14" fmla="*/ 118 w 132"/>
                  <a:gd name="T15" fmla="*/ 51 h 52"/>
                  <a:gd name="T16" fmla="*/ 131 w 132"/>
                  <a:gd name="T17" fmla="*/ 38 h 52"/>
                  <a:gd name="T18" fmla="*/ 131 w 132"/>
                  <a:gd name="T19" fmla="*/ 38 h 52"/>
                  <a:gd name="T20" fmla="*/ 131 w 132"/>
                  <a:gd name="T21"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52">
                    <a:moveTo>
                      <a:pt x="131" y="36"/>
                    </a:moveTo>
                    <a:cubicBezTo>
                      <a:pt x="131" y="36"/>
                      <a:pt x="131" y="36"/>
                      <a:pt x="131" y="36"/>
                    </a:cubicBezTo>
                    <a:cubicBezTo>
                      <a:pt x="95" y="0"/>
                      <a:pt x="36" y="0"/>
                      <a:pt x="1" y="36"/>
                    </a:cubicBezTo>
                    <a:cubicBezTo>
                      <a:pt x="0" y="37"/>
                      <a:pt x="0" y="38"/>
                      <a:pt x="1" y="38"/>
                    </a:cubicBezTo>
                    <a:cubicBezTo>
                      <a:pt x="13" y="51"/>
                      <a:pt x="13" y="51"/>
                      <a:pt x="13" y="51"/>
                    </a:cubicBezTo>
                    <a:cubicBezTo>
                      <a:pt x="14" y="52"/>
                      <a:pt x="15" y="52"/>
                      <a:pt x="16" y="51"/>
                    </a:cubicBezTo>
                    <a:cubicBezTo>
                      <a:pt x="43" y="23"/>
                      <a:pt x="88" y="23"/>
                      <a:pt x="116" y="51"/>
                    </a:cubicBezTo>
                    <a:cubicBezTo>
                      <a:pt x="117" y="52"/>
                      <a:pt x="118" y="52"/>
                      <a:pt x="118" y="51"/>
                    </a:cubicBezTo>
                    <a:cubicBezTo>
                      <a:pt x="131" y="38"/>
                      <a:pt x="131" y="38"/>
                      <a:pt x="131" y="38"/>
                    </a:cubicBezTo>
                    <a:cubicBezTo>
                      <a:pt x="131" y="38"/>
                      <a:pt x="131" y="38"/>
                      <a:pt x="131" y="38"/>
                    </a:cubicBezTo>
                    <a:cubicBezTo>
                      <a:pt x="132" y="38"/>
                      <a:pt x="132" y="37"/>
                      <a:pt x="131" y="36"/>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grpSp>
      </p:grpSp>
      <p:grpSp>
        <p:nvGrpSpPr>
          <p:cNvPr id="10" name="组合 9"/>
          <p:cNvGrpSpPr/>
          <p:nvPr/>
        </p:nvGrpSpPr>
        <p:grpSpPr>
          <a:xfrm>
            <a:off x="8021629" y="1551434"/>
            <a:ext cx="1207182" cy="1664759"/>
            <a:chOff x="8021879" y="1551432"/>
            <a:chExt cx="1207339" cy="1664759"/>
          </a:xfrm>
        </p:grpSpPr>
        <p:grpSp>
          <p:nvGrpSpPr>
            <p:cNvPr id="4" name="组合 3"/>
            <p:cNvGrpSpPr/>
            <p:nvPr/>
          </p:nvGrpSpPr>
          <p:grpSpPr>
            <a:xfrm>
              <a:off x="8021879" y="1551432"/>
              <a:ext cx="1207339" cy="1664759"/>
              <a:chOff x="8021879" y="1551432"/>
              <a:chExt cx="1207339" cy="1664759"/>
            </a:xfrm>
          </p:grpSpPr>
          <p:cxnSp>
            <p:nvCxnSpPr>
              <p:cNvPr id="129" name="Straight Connector 51"/>
              <p:cNvCxnSpPr/>
              <p:nvPr/>
            </p:nvCxnSpPr>
            <p:spPr>
              <a:xfrm>
                <a:off x="8625548" y="2787243"/>
                <a:ext cx="0" cy="428948"/>
              </a:xfrm>
              <a:prstGeom prst="line">
                <a:avLst/>
              </a:prstGeom>
              <a:ln w="19050" cap="rnd">
                <a:solidFill>
                  <a:schemeClr val="accent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30" name="Rounded Rectangle 52"/>
              <p:cNvSpPr/>
              <p:nvPr/>
            </p:nvSpPr>
            <p:spPr>
              <a:xfrm>
                <a:off x="8021879" y="1551432"/>
                <a:ext cx="1207339" cy="1207339"/>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43840" rIns="243840" bIns="365760" numCol="1" spcCol="1270" anchor="ctr" anchorCtr="0">
                <a:noAutofit/>
              </a:bodyPr>
              <a:lstStyle/>
              <a:p>
                <a:pPr algn="ctr" defTabSz="1184910">
                  <a:lnSpc>
                    <a:spcPct val="90000"/>
                  </a:lnSpc>
                  <a:spcBef>
                    <a:spcPct val="0"/>
                  </a:spcBef>
                  <a:spcAft>
                    <a:spcPct val="35000"/>
                  </a:spcAft>
                </a:pPr>
                <a:endParaRPr lang="en-US" sz="5335" dirty="0">
                  <a:latin typeface="FontAwesome" pitchFamily="2" charset="0"/>
                </a:endParaRPr>
              </a:p>
            </p:txBody>
          </p:sp>
        </p:grpSp>
        <p:grpSp>
          <p:nvGrpSpPr>
            <p:cNvPr id="70" name="组合 69"/>
            <p:cNvGrpSpPr/>
            <p:nvPr/>
          </p:nvGrpSpPr>
          <p:grpSpPr>
            <a:xfrm>
              <a:off x="8265548" y="1903661"/>
              <a:ext cx="720000" cy="486000"/>
              <a:chOff x="5356779" y="2874996"/>
              <a:chExt cx="240638" cy="182454"/>
            </a:xfrm>
          </p:grpSpPr>
          <p:sp>
            <p:nvSpPr>
              <p:cNvPr id="72" name="Freeform 12"/>
              <p:cNvSpPr/>
              <p:nvPr/>
            </p:nvSpPr>
            <p:spPr bwMode="auto">
              <a:xfrm>
                <a:off x="5364675" y="2874996"/>
                <a:ext cx="232742" cy="113878"/>
              </a:xfrm>
              <a:custGeom>
                <a:avLst/>
                <a:gdLst>
                  <a:gd name="T0" fmla="*/ 103 w 237"/>
                  <a:gd name="T1" fmla="*/ 99 h 116"/>
                  <a:gd name="T2" fmla="*/ 134 w 237"/>
                  <a:gd name="T3" fmla="*/ 95 h 116"/>
                  <a:gd name="T4" fmla="*/ 226 w 237"/>
                  <a:gd name="T5" fmla="*/ 12 h 116"/>
                  <a:gd name="T6" fmla="*/ 219 w 237"/>
                  <a:gd name="T7" fmla="*/ 0 h 116"/>
                  <a:gd name="T8" fmla="*/ 13 w 237"/>
                  <a:gd name="T9" fmla="*/ 0 h 116"/>
                  <a:gd name="T10" fmla="*/ 6 w 237"/>
                  <a:gd name="T11" fmla="*/ 10 h 116"/>
                  <a:gd name="T12" fmla="*/ 103 w 237"/>
                  <a:gd name="T13" fmla="*/ 99 h 116"/>
                </a:gdLst>
                <a:ahLst/>
                <a:cxnLst>
                  <a:cxn ang="0">
                    <a:pos x="T0" y="T1"/>
                  </a:cxn>
                  <a:cxn ang="0">
                    <a:pos x="T2" y="T3"/>
                  </a:cxn>
                  <a:cxn ang="0">
                    <a:pos x="T4" y="T5"/>
                  </a:cxn>
                  <a:cxn ang="0">
                    <a:pos x="T6" y="T7"/>
                  </a:cxn>
                  <a:cxn ang="0">
                    <a:pos x="T8" y="T9"/>
                  </a:cxn>
                  <a:cxn ang="0">
                    <a:pos x="T10" y="T11"/>
                  </a:cxn>
                  <a:cxn ang="0">
                    <a:pos x="T12" y="T13"/>
                  </a:cxn>
                </a:cxnLst>
                <a:rect l="0" t="0" r="r" b="b"/>
                <a:pathLst>
                  <a:path w="237" h="116">
                    <a:moveTo>
                      <a:pt x="103" y="99"/>
                    </a:moveTo>
                    <a:cubicBezTo>
                      <a:pt x="103" y="99"/>
                      <a:pt x="115" y="116"/>
                      <a:pt x="134" y="95"/>
                    </a:cubicBezTo>
                    <a:cubicBezTo>
                      <a:pt x="226" y="12"/>
                      <a:pt x="226" y="12"/>
                      <a:pt x="226" y="12"/>
                    </a:cubicBezTo>
                    <a:cubicBezTo>
                      <a:pt x="226" y="12"/>
                      <a:pt x="237" y="1"/>
                      <a:pt x="219" y="0"/>
                    </a:cubicBezTo>
                    <a:cubicBezTo>
                      <a:pt x="13" y="0"/>
                      <a:pt x="13" y="0"/>
                      <a:pt x="13" y="0"/>
                    </a:cubicBezTo>
                    <a:cubicBezTo>
                      <a:pt x="13" y="0"/>
                      <a:pt x="0" y="1"/>
                      <a:pt x="6" y="10"/>
                    </a:cubicBezTo>
                    <a:lnTo>
                      <a:pt x="103" y="99"/>
                    </a:ln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Freeform 13"/>
              <p:cNvSpPr/>
              <p:nvPr/>
            </p:nvSpPr>
            <p:spPr bwMode="auto">
              <a:xfrm>
                <a:off x="5515126" y="2893699"/>
                <a:ext cx="81460" cy="149205"/>
              </a:xfrm>
              <a:custGeom>
                <a:avLst/>
                <a:gdLst>
                  <a:gd name="T0" fmla="*/ 82 w 83"/>
                  <a:gd name="T1" fmla="*/ 132 h 152"/>
                  <a:gd name="T2" fmla="*/ 82 w 83"/>
                  <a:gd name="T3" fmla="*/ 17 h 152"/>
                  <a:gd name="T4" fmla="*/ 70 w 83"/>
                  <a:gd name="T5" fmla="*/ 12 h 152"/>
                  <a:gd name="T6" fmla="*/ 6 w 83"/>
                  <a:gd name="T7" fmla="*/ 74 h 152"/>
                  <a:gd name="T8" fmla="*/ 10 w 83"/>
                  <a:gd name="T9" fmla="*/ 84 h 152"/>
                  <a:gd name="T10" fmla="*/ 67 w 83"/>
                  <a:gd name="T11" fmla="*/ 137 h 152"/>
                  <a:gd name="T12" fmla="*/ 82 w 83"/>
                  <a:gd name="T13" fmla="*/ 132 h 152"/>
                </a:gdLst>
                <a:ahLst/>
                <a:cxnLst>
                  <a:cxn ang="0">
                    <a:pos x="T0" y="T1"/>
                  </a:cxn>
                  <a:cxn ang="0">
                    <a:pos x="T2" y="T3"/>
                  </a:cxn>
                  <a:cxn ang="0">
                    <a:pos x="T4" y="T5"/>
                  </a:cxn>
                  <a:cxn ang="0">
                    <a:pos x="T6" y="T7"/>
                  </a:cxn>
                  <a:cxn ang="0">
                    <a:pos x="T8" y="T9"/>
                  </a:cxn>
                  <a:cxn ang="0">
                    <a:pos x="T10" y="T11"/>
                  </a:cxn>
                  <a:cxn ang="0">
                    <a:pos x="T12" y="T13"/>
                  </a:cxn>
                </a:cxnLst>
                <a:rect l="0" t="0" r="r" b="b"/>
                <a:pathLst>
                  <a:path w="83" h="152">
                    <a:moveTo>
                      <a:pt x="82" y="132"/>
                    </a:moveTo>
                    <a:cubicBezTo>
                      <a:pt x="82" y="17"/>
                      <a:pt x="82" y="17"/>
                      <a:pt x="82" y="17"/>
                    </a:cubicBezTo>
                    <a:cubicBezTo>
                      <a:pt x="80" y="0"/>
                      <a:pt x="70" y="12"/>
                      <a:pt x="70" y="12"/>
                    </a:cubicBezTo>
                    <a:cubicBezTo>
                      <a:pt x="6" y="74"/>
                      <a:pt x="6" y="74"/>
                      <a:pt x="6" y="74"/>
                    </a:cubicBezTo>
                    <a:cubicBezTo>
                      <a:pt x="0" y="80"/>
                      <a:pt x="10" y="84"/>
                      <a:pt x="10" y="84"/>
                    </a:cubicBezTo>
                    <a:cubicBezTo>
                      <a:pt x="67" y="137"/>
                      <a:pt x="67" y="137"/>
                      <a:pt x="67" y="137"/>
                    </a:cubicBezTo>
                    <a:cubicBezTo>
                      <a:pt x="83" y="152"/>
                      <a:pt x="82" y="132"/>
                      <a:pt x="82" y="132"/>
                    </a:cubicBezTo>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 name="Freeform 14"/>
              <p:cNvSpPr/>
              <p:nvPr/>
            </p:nvSpPr>
            <p:spPr bwMode="auto">
              <a:xfrm>
                <a:off x="5362597" y="2980977"/>
                <a:ext cx="229832" cy="76473"/>
              </a:xfrm>
              <a:custGeom>
                <a:avLst/>
                <a:gdLst>
                  <a:gd name="T0" fmla="*/ 224 w 234"/>
                  <a:gd name="T1" fmla="*/ 66 h 78"/>
                  <a:gd name="T2" fmla="*/ 144 w 234"/>
                  <a:gd name="T3" fmla="*/ 0 h 78"/>
                  <a:gd name="T4" fmla="*/ 117 w 234"/>
                  <a:gd name="T5" fmla="*/ 13 h 78"/>
                  <a:gd name="T6" fmla="*/ 90 w 234"/>
                  <a:gd name="T7" fmla="*/ 0 h 78"/>
                  <a:gd name="T8" fmla="*/ 10 w 234"/>
                  <a:gd name="T9" fmla="*/ 66 h 78"/>
                  <a:gd name="T10" fmla="*/ 13 w 234"/>
                  <a:gd name="T11" fmla="*/ 78 h 78"/>
                  <a:gd name="T12" fmla="*/ 117 w 234"/>
                  <a:gd name="T13" fmla="*/ 78 h 78"/>
                  <a:gd name="T14" fmla="*/ 118 w 234"/>
                  <a:gd name="T15" fmla="*/ 78 h 78"/>
                  <a:gd name="T16" fmla="*/ 221 w 234"/>
                  <a:gd name="T17" fmla="*/ 78 h 78"/>
                  <a:gd name="T18" fmla="*/ 224 w 234"/>
                  <a:gd name="T19"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78">
                    <a:moveTo>
                      <a:pt x="224" y="66"/>
                    </a:moveTo>
                    <a:cubicBezTo>
                      <a:pt x="144" y="0"/>
                      <a:pt x="144" y="0"/>
                      <a:pt x="144" y="0"/>
                    </a:cubicBezTo>
                    <a:cubicBezTo>
                      <a:pt x="144" y="0"/>
                      <a:pt x="132" y="12"/>
                      <a:pt x="117" y="13"/>
                    </a:cubicBezTo>
                    <a:cubicBezTo>
                      <a:pt x="102" y="12"/>
                      <a:pt x="90" y="0"/>
                      <a:pt x="90" y="0"/>
                    </a:cubicBezTo>
                    <a:cubicBezTo>
                      <a:pt x="10" y="66"/>
                      <a:pt x="10" y="66"/>
                      <a:pt x="10" y="66"/>
                    </a:cubicBezTo>
                    <a:cubicBezTo>
                      <a:pt x="0" y="73"/>
                      <a:pt x="13" y="78"/>
                      <a:pt x="13" y="78"/>
                    </a:cubicBezTo>
                    <a:cubicBezTo>
                      <a:pt x="117" y="78"/>
                      <a:pt x="117" y="78"/>
                      <a:pt x="117" y="78"/>
                    </a:cubicBezTo>
                    <a:cubicBezTo>
                      <a:pt x="118" y="78"/>
                      <a:pt x="118" y="78"/>
                      <a:pt x="118" y="78"/>
                    </a:cubicBezTo>
                    <a:cubicBezTo>
                      <a:pt x="221" y="78"/>
                      <a:pt x="221" y="78"/>
                      <a:pt x="221" y="78"/>
                    </a:cubicBezTo>
                    <a:cubicBezTo>
                      <a:pt x="221" y="78"/>
                      <a:pt x="234" y="73"/>
                      <a:pt x="224" y="66"/>
                    </a:cubicBezTo>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 name="Freeform 15"/>
              <p:cNvSpPr/>
              <p:nvPr/>
            </p:nvSpPr>
            <p:spPr bwMode="auto">
              <a:xfrm>
                <a:off x="5356779" y="2896608"/>
                <a:ext cx="88525" cy="143386"/>
              </a:xfrm>
              <a:custGeom>
                <a:avLst/>
                <a:gdLst>
                  <a:gd name="T0" fmla="*/ 1 w 90"/>
                  <a:gd name="T1" fmla="*/ 127 h 146"/>
                  <a:gd name="T2" fmla="*/ 1 w 90"/>
                  <a:gd name="T3" fmla="*/ 17 h 146"/>
                  <a:gd name="T4" fmla="*/ 14 w 90"/>
                  <a:gd name="T5" fmla="*/ 11 h 146"/>
                  <a:gd name="T6" fmla="*/ 84 w 90"/>
                  <a:gd name="T7" fmla="*/ 71 h 146"/>
                  <a:gd name="T8" fmla="*/ 79 w 90"/>
                  <a:gd name="T9" fmla="*/ 81 h 146"/>
                  <a:gd name="T10" fmla="*/ 17 w 90"/>
                  <a:gd name="T11" fmla="*/ 131 h 146"/>
                  <a:gd name="T12" fmla="*/ 1 w 90"/>
                  <a:gd name="T13" fmla="*/ 127 h 146"/>
                </a:gdLst>
                <a:ahLst/>
                <a:cxnLst>
                  <a:cxn ang="0">
                    <a:pos x="T0" y="T1"/>
                  </a:cxn>
                  <a:cxn ang="0">
                    <a:pos x="T2" y="T3"/>
                  </a:cxn>
                  <a:cxn ang="0">
                    <a:pos x="T4" y="T5"/>
                  </a:cxn>
                  <a:cxn ang="0">
                    <a:pos x="T6" y="T7"/>
                  </a:cxn>
                  <a:cxn ang="0">
                    <a:pos x="T8" y="T9"/>
                  </a:cxn>
                  <a:cxn ang="0">
                    <a:pos x="T10" y="T11"/>
                  </a:cxn>
                  <a:cxn ang="0">
                    <a:pos x="T12" y="T13"/>
                  </a:cxn>
                </a:cxnLst>
                <a:rect l="0" t="0" r="r" b="b"/>
                <a:pathLst>
                  <a:path w="90" h="146">
                    <a:moveTo>
                      <a:pt x="1" y="127"/>
                    </a:moveTo>
                    <a:cubicBezTo>
                      <a:pt x="1" y="17"/>
                      <a:pt x="1" y="17"/>
                      <a:pt x="1" y="17"/>
                    </a:cubicBezTo>
                    <a:cubicBezTo>
                      <a:pt x="4" y="0"/>
                      <a:pt x="14" y="11"/>
                      <a:pt x="14" y="11"/>
                    </a:cubicBezTo>
                    <a:cubicBezTo>
                      <a:pt x="84" y="71"/>
                      <a:pt x="84" y="71"/>
                      <a:pt x="84" y="71"/>
                    </a:cubicBezTo>
                    <a:cubicBezTo>
                      <a:pt x="90" y="76"/>
                      <a:pt x="79" y="81"/>
                      <a:pt x="79" y="81"/>
                    </a:cubicBezTo>
                    <a:cubicBezTo>
                      <a:pt x="17" y="131"/>
                      <a:pt x="17" y="131"/>
                      <a:pt x="17" y="131"/>
                    </a:cubicBezTo>
                    <a:cubicBezTo>
                      <a:pt x="0" y="146"/>
                      <a:pt x="1" y="127"/>
                      <a:pt x="1" y="127"/>
                    </a:cubicBezTo>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12" name="组合 11"/>
          <p:cNvGrpSpPr/>
          <p:nvPr/>
        </p:nvGrpSpPr>
        <p:grpSpPr>
          <a:xfrm>
            <a:off x="9707770" y="4147215"/>
            <a:ext cx="1207182" cy="1711733"/>
            <a:chOff x="9708239" y="4147213"/>
            <a:chExt cx="1207339" cy="1711733"/>
          </a:xfrm>
        </p:grpSpPr>
        <p:grpSp>
          <p:nvGrpSpPr>
            <p:cNvPr id="7" name="组合 6"/>
            <p:cNvGrpSpPr/>
            <p:nvPr/>
          </p:nvGrpSpPr>
          <p:grpSpPr>
            <a:xfrm>
              <a:off x="9708239" y="4147213"/>
              <a:ext cx="1207339" cy="1711733"/>
              <a:chOff x="9708239" y="4147213"/>
              <a:chExt cx="1207339" cy="1711733"/>
            </a:xfrm>
          </p:grpSpPr>
          <p:cxnSp>
            <p:nvCxnSpPr>
              <p:cNvPr id="133" name="Straight Connector 71"/>
              <p:cNvCxnSpPr/>
              <p:nvPr/>
            </p:nvCxnSpPr>
            <p:spPr>
              <a:xfrm flipV="1">
                <a:off x="10311908" y="4147213"/>
                <a:ext cx="0" cy="468680"/>
              </a:xfrm>
              <a:prstGeom prst="line">
                <a:avLst/>
              </a:prstGeom>
              <a:ln w="19050" cap="rnd">
                <a:solidFill>
                  <a:schemeClr val="accent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34" name="Rounded Rectangle 73"/>
              <p:cNvSpPr/>
              <p:nvPr/>
            </p:nvSpPr>
            <p:spPr>
              <a:xfrm>
                <a:off x="9708239" y="4651607"/>
                <a:ext cx="1207339" cy="1207339"/>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10677" rIns="210677" bIns="210677" numCol="1" spcCol="1270" anchor="ctr" anchorCtr="0">
                <a:noAutofit/>
              </a:bodyPr>
              <a:lstStyle/>
              <a:p>
                <a:pPr algn="ctr" defTabSz="1184910">
                  <a:lnSpc>
                    <a:spcPct val="90000"/>
                  </a:lnSpc>
                  <a:spcBef>
                    <a:spcPct val="0"/>
                  </a:spcBef>
                  <a:spcAft>
                    <a:spcPct val="35000"/>
                  </a:spcAft>
                </a:pPr>
                <a:endParaRPr lang="en-US" sz="4265" dirty="0">
                  <a:latin typeface="FontAwesome" pitchFamily="2" charset="0"/>
                </a:endParaRPr>
              </a:p>
            </p:txBody>
          </p:sp>
        </p:grpSp>
        <p:grpSp>
          <p:nvGrpSpPr>
            <p:cNvPr id="76" name="组合 75"/>
            <p:cNvGrpSpPr/>
            <p:nvPr/>
          </p:nvGrpSpPr>
          <p:grpSpPr>
            <a:xfrm>
              <a:off x="10034838" y="4952084"/>
              <a:ext cx="576000" cy="576000"/>
              <a:chOff x="5367288" y="3705211"/>
              <a:chExt cx="252966" cy="252966"/>
            </a:xfrm>
          </p:grpSpPr>
          <p:sp>
            <p:nvSpPr>
              <p:cNvPr id="78" name="Freeform 20"/>
              <p:cNvSpPr/>
              <p:nvPr/>
            </p:nvSpPr>
            <p:spPr bwMode="auto">
              <a:xfrm>
                <a:off x="5486631" y="3705211"/>
                <a:ext cx="133623" cy="133623"/>
              </a:xfrm>
              <a:custGeom>
                <a:avLst/>
                <a:gdLst>
                  <a:gd name="T0" fmla="*/ 31 w 111"/>
                  <a:gd name="T1" fmla="*/ 108 h 111"/>
                  <a:gd name="T2" fmla="*/ 42 w 111"/>
                  <a:gd name="T3" fmla="*/ 96 h 111"/>
                  <a:gd name="T4" fmla="*/ 54 w 111"/>
                  <a:gd name="T5" fmla="*/ 85 h 111"/>
                  <a:gd name="T6" fmla="*/ 58 w 111"/>
                  <a:gd name="T7" fmla="*/ 83 h 111"/>
                  <a:gd name="T8" fmla="*/ 71 w 111"/>
                  <a:gd name="T9" fmla="*/ 70 h 111"/>
                  <a:gd name="T10" fmla="*/ 82 w 111"/>
                  <a:gd name="T11" fmla="*/ 58 h 111"/>
                  <a:gd name="T12" fmla="*/ 53 w 111"/>
                  <a:gd name="T13" fmla="*/ 29 h 111"/>
                  <a:gd name="T14" fmla="*/ 41 w 111"/>
                  <a:gd name="T15" fmla="*/ 40 h 111"/>
                  <a:gd name="T16" fmla="*/ 28 w 111"/>
                  <a:gd name="T17" fmla="*/ 52 h 111"/>
                  <a:gd name="T18" fmla="*/ 26 w 111"/>
                  <a:gd name="T19" fmla="*/ 57 h 111"/>
                  <a:gd name="T20" fmla="*/ 14 w 111"/>
                  <a:gd name="T21" fmla="*/ 69 h 111"/>
                  <a:gd name="T22" fmla="*/ 2 w 111"/>
                  <a:gd name="T23" fmla="*/ 80 h 111"/>
                  <a:gd name="T24" fmla="*/ 0 w 111"/>
                  <a:gd name="T25" fmla="*/ 62 h 111"/>
                  <a:gd name="T26" fmla="*/ 22 w 111"/>
                  <a:gd name="T27" fmla="*/ 24 h 111"/>
                  <a:gd name="T28" fmla="*/ 67 w 111"/>
                  <a:gd name="T29" fmla="*/ 2 h 111"/>
                  <a:gd name="T30" fmla="*/ 109 w 111"/>
                  <a:gd name="T31" fmla="*/ 50 h 111"/>
                  <a:gd name="T32" fmla="*/ 87 w 111"/>
                  <a:gd name="T33" fmla="*/ 88 h 111"/>
                  <a:gd name="T34" fmla="*/ 49 w 111"/>
                  <a:gd name="T35" fmla="*/ 110 h 111"/>
                  <a:gd name="T36" fmla="*/ 31 w 111"/>
                  <a:gd name="T37" fmla="*/ 10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111">
                    <a:moveTo>
                      <a:pt x="31" y="108"/>
                    </a:moveTo>
                    <a:cubicBezTo>
                      <a:pt x="34" y="104"/>
                      <a:pt x="38" y="100"/>
                      <a:pt x="42" y="96"/>
                    </a:cubicBezTo>
                    <a:cubicBezTo>
                      <a:pt x="46" y="93"/>
                      <a:pt x="49" y="88"/>
                      <a:pt x="54" y="85"/>
                    </a:cubicBezTo>
                    <a:cubicBezTo>
                      <a:pt x="55" y="84"/>
                      <a:pt x="57" y="84"/>
                      <a:pt x="58" y="83"/>
                    </a:cubicBezTo>
                    <a:cubicBezTo>
                      <a:pt x="62" y="80"/>
                      <a:pt x="66" y="75"/>
                      <a:pt x="71" y="70"/>
                    </a:cubicBezTo>
                    <a:cubicBezTo>
                      <a:pt x="75" y="66"/>
                      <a:pt x="80" y="62"/>
                      <a:pt x="82" y="58"/>
                    </a:cubicBezTo>
                    <a:cubicBezTo>
                      <a:pt x="93" y="39"/>
                      <a:pt x="73" y="18"/>
                      <a:pt x="53" y="29"/>
                    </a:cubicBezTo>
                    <a:cubicBezTo>
                      <a:pt x="49" y="31"/>
                      <a:pt x="45" y="36"/>
                      <a:pt x="41" y="40"/>
                    </a:cubicBezTo>
                    <a:cubicBezTo>
                      <a:pt x="37" y="44"/>
                      <a:pt x="31" y="49"/>
                      <a:pt x="28" y="52"/>
                    </a:cubicBezTo>
                    <a:cubicBezTo>
                      <a:pt x="27" y="54"/>
                      <a:pt x="27" y="56"/>
                      <a:pt x="26" y="57"/>
                    </a:cubicBezTo>
                    <a:cubicBezTo>
                      <a:pt x="23" y="62"/>
                      <a:pt x="18" y="65"/>
                      <a:pt x="14" y="69"/>
                    </a:cubicBezTo>
                    <a:cubicBezTo>
                      <a:pt x="10" y="73"/>
                      <a:pt x="7" y="77"/>
                      <a:pt x="2" y="80"/>
                    </a:cubicBezTo>
                    <a:cubicBezTo>
                      <a:pt x="1" y="74"/>
                      <a:pt x="0" y="70"/>
                      <a:pt x="0" y="62"/>
                    </a:cubicBezTo>
                    <a:cubicBezTo>
                      <a:pt x="2" y="45"/>
                      <a:pt x="12" y="35"/>
                      <a:pt x="22" y="24"/>
                    </a:cubicBezTo>
                    <a:cubicBezTo>
                      <a:pt x="34" y="12"/>
                      <a:pt x="45" y="0"/>
                      <a:pt x="67" y="2"/>
                    </a:cubicBezTo>
                    <a:cubicBezTo>
                      <a:pt x="90" y="3"/>
                      <a:pt x="111" y="22"/>
                      <a:pt x="109" y="50"/>
                    </a:cubicBezTo>
                    <a:cubicBezTo>
                      <a:pt x="108" y="68"/>
                      <a:pt x="98" y="77"/>
                      <a:pt x="87" y="88"/>
                    </a:cubicBezTo>
                    <a:cubicBezTo>
                      <a:pt x="76" y="98"/>
                      <a:pt x="67" y="109"/>
                      <a:pt x="49" y="110"/>
                    </a:cubicBezTo>
                    <a:cubicBezTo>
                      <a:pt x="42" y="111"/>
                      <a:pt x="37" y="110"/>
                      <a:pt x="31" y="108"/>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9" name="Freeform 21"/>
              <p:cNvSpPr/>
              <p:nvPr/>
            </p:nvSpPr>
            <p:spPr bwMode="auto">
              <a:xfrm>
                <a:off x="5439710" y="3776102"/>
                <a:ext cx="109653" cy="109653"/>
              </a:xfrm>
              <a:custGeom>
                <a:avLst/>
                <a:gdLst>
                  <a:gd name="T0" fmla="*/ 75 w 91"/>
                  <a:gd name="T1" fmla="*/ 2 h 91"/>
                  <a:gd name="T2" fmla="*/ 90 w 91"/>
                  <a:gd name="T3" fmla="*/ 15 h 91"/>
                  <a:gd name="T4" fmla="*/ 72 w 91"/>
                  <a:gd name="T5" fmla="*/ 36 h 91"/>
                  <a:gd name="T6" fmla="*/ 34 w 91"/>
                  <a:gd name="T7" fmla="*/ 74 h 91"/>
                  <a:gd name="T8" fmla="*/ 12 w 91"/>
                  <a:gd name="T9" fmla="*/ 91 h 91"/>
                  <a:gd name="T10" fmla="*/ 0 w 91"/>
                  <a:gd name="T11" fmla="*/ 79 h 91"/>
                  <a:gd name="T12" fmla="*/ 7 w 91"/>
                  <a:gd name="T13" fmla="*/ 67 h 91"/>
                  <a:gd name="T14" fmla="*/ 64 w 91"/>
                  <a:gd name="T15" fmla="*/ 10 h 91"/>
                  <a:gd name="T16" fmla="*/ 75 w 91"/>
                  <a:gd name="T17" fmla="*/ 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1">
                    <a:moveTo>
                      <a:pt x="75" y="2"/>
                    </a:moveTo>
                    <a:cubicBezTo>
                      <a:pt x="84" y="0"/>
                      <a:pt x="91" y="6"/>
                      <a:pt x="90" y="15"/>
                    </a:cubicBezTo>
                    <a:cubicBezTo>
                      <a:pt x="89" y="22"/>
                      <a:pt x="77" y="31"/>
                      <a:pt x="72" y="36"/>
                    </a:cubicBezTo>
                    <a:cubicBezTo>
                      <a:pt x="58" y="49"/>
                      <a:pt x="47" y="60"/>
                      <a:pt x="34" y="74"/>
                    </a:cubicBezTo>
                    <a:cubicBezTo>
                      <a:pt x="28" y="79"/>
                      <a:pt x="21" y="90"/>
                      <a:pt x="12" y="91"/>
                    </a:cubicBezTo>
                    <a:cubicBezTo>
                      <a:pt x="6" y="91"/>
                      <a:pt x="0" y="86"/>
                      <a:pt x="0" y="79"/>
                    </a:cubicBezTo>
                    <a:cubicBezTo>
                      <a:pt x="0" y="74"/>
                      <a:pt x="3" y="70"/>
                      <a:pt x="7" y="67"/>
                    </a:cubicBezTo>
                    <a:cubicBezTo>
                      <a:pt x="26" y="47"/>
                      <a:pt x="45" y="29"/>
                      <a:pt x="64" y="10"/>
                    </a:cubicBezTo>
                    <a:cubicBezTo>
                      <a:pt x="67" y="7"/>
                      <a:pt x="70" y="2"/>
                      <a:pt x="75" y="2"/>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0" name="Freeform 22"/>
              <p:cNvSpPr/>
              <p:nvPr/>
            </p:nvSpPr>
            <p:spPr bwMode="auto">
              <a:xfrm>
                <a:off x="5367288" y="3824554"/>
                <a:ext cx="133623" cy="133623"/>
              </a:xfrm>
              <a:custGeom>
                <a:avLst/>
                <a:gdLst>
                  <a:gd name="T0" fmla="*/ 80 w 111"/>
                  <a:gd name="T1" fmla="*/ 2 h 111"/>
                  <a:gd name="T2" fmla="*/ 78 w 111"/>
                  <a:gd name="T3" fmla="*/ 5 h 111"/>
                  <a:gd name="T4" fmla="*/ 57 w 111"/>
                  <a:gd name="T5" fmla="*/ 26 h 111"/>
                  <a:gd name="T6" fmla="*/ 40 w 111"/>
                  <a:gd name="T7" fmla="*/ 41 h 111"/>
                  <a:gd name="T8" fmla="*/ 26 w 111"/>
                  <a:gd name="T9" fmla="*/ 64 h 111"/>
                  <a:gd name="T10" fmla="*/ 56 w 111"/>
                  <a:gd name="T11" fmla="*/ 83 h 111"/>
                  <a:gd name="T12" fmla="*/ 70 w 111"/>
                  <a:gd name="T13" fmla="*/ 71 h 111"/>
                  <a:gd name="T14" fmla="*/ 82 w 111"/>
                  <a:gd name="T15" fmla="*/ 59 h 111"/>
                  <a:gd name="T16" fmla="*/ 85 w 111"/>
                  <a:gd name="T17" fmla="*/ 53 h 111"/>
                  <a:gd name="T18" fmla="*/ 97 w 111"/>
                  <a:gd name="T19" fmla="*/ 42 h 111"/>
                  <a:gd name="T20" fmla="*/ 108 w 111"/>
                  <a:gd name="T21" fmla="*/ 31 h 111"/>
                  <a:gd name="T22" fmla="*/ 111 w 111"/>
                  <a:gd name="T23" fmla="*/ 45 h 111"/>
                  <a:gd name="T24" fmla="*/ 89 w 111"/>
                  <a:gd name="T25" fmla="*/ 85 h 111"/>
                  <a:gd name="T26" fmla="*/ 42 w 111"/>
                  <a:gd name="T27" fmla="*/ 109 h 111"/>
                  <a:gd name="T28" fmla="*/ 2 w 111"/>
                  <a:gd name="T29" fmla="*/ 68 h 111"/>
                  <a:gd name="T30" fmla="*/ 25 w 111"/>
                  <a:gd name="T31" fmla="*/ 22 h 111"/>
                  <a:gd name="T32" fmla="*/ 64 w 111"/>
                  <a:gd name="T33" fmla="*/ 0 h 111"/>
                  <a:gd name="T34" fmla="*/ 80 w 111"/>
                  <a:gd name="T35"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11">
                    <a:moveTo>
                      <a:pt x="80" y="2"/>
                    </a:moveTo>
                    <a:cubicBezTo>
                      <a:pt x="80" y="4"/>
                      <a:pt x="78" y="4"/>
                      <a:pt x="78" y="5"/>
                    </a:cubicBezTo>
                    <a:cubicBezTo>
                      <a:pt x="71" y="12"/>
                      <a:pt x="64" y="19"/>
                      <a:pt x="57" y="26"/>
                    </a:cubicBezTo>
                    <a:cubicBezTo>
                      <a:pt x="51" y="29"/>
                      <a:pt x="46" y="35"/>
                      <a:pt x="40" y="41"/>
                    </a:cubicBezTo>
                    <a:cubicBezTo>
                      <a:pt x="34" y="47"/>
                      <a:pt x="26" y="52"/>
                      <a:pt x="26" y="64"/>
                    </a:cubicBezTo>
                    <a:cubicBezTo>
                      <a:pt x="26" y="79"/>
                      <a:pt x="41" y="90"/>
                      <a:pt x="56" y="83"/>
                    </a:cubicBezTo>
                    <a:cubicBezTo>
                      <a:pt x="61" y="81"/>
                      <a:pt x="65" y="76"/>
                      <a:pt x="70" y="71"/>
                    </a:cubicBezTo>
                    <a:cubicBezTo>
                      <a:pt x="74" y="67"/>
                      <a:pt x="79" y="63"/>
                      <a:pt x="82" y="59"/>
                    </a:cubicBezTo>
                    <a:cubicBezTo>
                      <a:pt x="83" y="57"/>
                      <a:pt x="84" y="55"/>
                      <a:pt x="85" y="53"/>
                    </a:cubicBezTo>
                    <a:cubicBezTo>
                      <a:pt x="88" y="49"/>
                      <a:pt x="93" y="45"/>
                      <a:pt x="97" y="42"/>
                    </a:cubicBezTo>
                    <a:cubicBezTo>
                      <a:pt x="101" y="38"/>
                      <a:pt x="104" y="34"/>
                      <a:pt x="108" y="31"/>
                    </a:cubicBezTo>
                    <a:cubicBezTo>
                      <a:pt x="110" y="36"/>
                      <a:pt x="111" y="40"/>
                      <a:pt x="111" y="45"/>
                    </a:cubicBezTo>
                    <a:cubicBezTo>
                      <a:pt x="111" y="65"/>
                      <a:pt x="100" y="74"/>
                      <a:pt x="89" y="85"/>
                    </a:cubicBezTo>
                    <a:cubicBezTo>
                      <a:pt x="77" y="97"/>
                      <a:pt x="67" y="111"/>
                      <a:pt x="42" y="109"/>
                    </a:cubicBezTo>
                    <a:cubicBezTo>
                      <a:pt x="21" y="107"/>
                      <a:pt x="4" y="90"/>
                      <a:pt x="2" y="68"/>
                    </a:cubicBezTo>
                    <a:cubicBezTo>
                      <a:pt x="0" y="44"/>
                      <a:pt x="13" y="34"/>
                      <a:pt x="25" y="22"/>
                    </a:cubicBezTo>
                    <a:cubicBezTo>
                      <a:pt x="36" y="11"/>
                      <a:pt x="45" y="1"/>
                      <a:pt x="64" y="0"/>
                    </a:cubicBezTo>
                    <a:cubicBezTo>
                      <a:pt x="70" y="0"/>
                      <a:pt x="75" y="1"/>
                      <a:pt x="80" y="2"/>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
        <p:nvSpPr>
          <p:cNvPr id="11" name="标题 10"/>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strips(upRight)">
                                      <p:cBhvr>
                                        <p:cTn id="7" dur="500"/>
                                        <p:tgtEl>
                                          <p:spTgt spid="81"/>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97"/>
                                        </p:tgtEl>
                                        <p:attrNameLst>
                                          <p:attrName>style.visibility</p:attrName>
                                        </p:attrNameLst>
                                      </p:cBhvr>
                                      <p:to>
                                        <p:strVal val="visible"/>
                                      </p:to>
                                    </p:set>
                                    <p:anim calcmode="lin" valueType="num">
                                      <p:cBhvr>
                                        <p:cTn id="11" dur="350" fill="hold"/>
                                        <p:tgtEl>
                                          <p:spTgt spid="97"/>
                                        </p:tgtEl>
                                        <p:attrNameLst>
                                          <p:attrName>ppt_w</p:attrName>
                                        </p:attrNameLst>
                                      </p:cBhvr>
                                      <p:tavLst>
                                        <p:tav tm="0">
                                          <p:val>
                                            <p:fltVal val="0"/>
                                          </p:val>
                                        </p:tav>
                                        <p:tav tm="100000">
                                          <p:val>
                                            <p:strVal val="#ppt_w"/>
                                          </p:val>
                                        </p:tav>
                                      </p:tavLst>
                                    </p:anim>
                                    <p:anim calcmode="lin" valueType="num">
                                      <p:cBhvr>
                                        <p:cTn id="12" dur="350" fill="hold"/>
                                        <p:tgtEl>
                                          <p:spTgt spid="97"/>
                                        </p:tgtEl>
                                        <p:attrNameLst>
                                          <p:attrName>ppt_h</p:attrName>
                                        </p:attrNameLst>
                                      </p:cBhvr>
                                      <p:tavLst>
                                        <p:tav tm="0">
                                          <p:val>
                                            <p:fltVal val="0"/>
                                          </p:val>
                                        </p:tav>
                                        <p:tav tm="100000">
                                          <p:val>
                                            <p:strVal val="#ppt_h"/>
                                          </p:val>
                                        </p:tav>
                                      </p:tavLst>
                                    </p:anim>
                                  </p:childTnLst>
                                </p:cTn>
                              </p:par>
                            </p:childTnLst>
                          </p:cTn>
                        </p:par>
                        <p:par>
                          <p:cTn id="13" fill="hold">
                            <p:stCondLst>
                              <p:cond delay="1000"/>
                            </p:stCondLst>
                            <p:childTnLst>
                              <p:par>
                                <p:cTn id="14" presetID="2" presetClass="entr" presetSubtype="1"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250" fill="hold"/>
                                        <p:tgtEl>
                                          <p:spTgt spid="8"/>
                                        </p:tgtEl>
                                        <p:attrNameLst>
                                          <p:attrName>ppt_x</p:attrName>
                                        </p:attrNameLst>
                                      </p:cBhvr>
                                      <p:tavLst>
                                        <p:tav tm="0">
                                          <p:val>
                                            <p:strVal val="#ppt_x"/>
                                          </p:val>
                                        </p:tav>
                                        <p:tav tm="100000">
                                          <p:val>
                                            <p:strVal val="#ppt_x"/>
                                          </p:val>
                                        </p:tav>
                                      </p:tavLst>
                                    </p:anim>
                                    <p:anim calcmode="lin" valueType="num">
                                      <p:cBhvr additive="base">
                                        <p:cTn id="17" dur="250" fill="hold"/>
                                        <p:tgtEl>
                                          <p:spTgt spid="8"/>
                                        </p:tgtEl>
                                        <p:attrNameLst>
                                          <p:attrName>ppt_y</p:attrName>
                                        </p:attrNameLst>
                                      </p:cBhvr>
                                      <p:tavLst>
                                        <p:tav tm="0">
                                          <p:val>
                                            <p:strVal val="0-#ppt_h/2"/>
                                          </p:val>
                                        </p:tav>
                                        <p:tav tm="100000">
                                          <p:val>
                                            <p:strVal val="#ppt_y"/>
                                          </p:val>
                                        </p:tav>
                                      </p:tavLst>
                                    </p:anim>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wipe(left)">
                                      <p:cBhvr>
                                        <p:cTn id="21" dur="400"/>
                                        <p:tgtEl>
                                          <p:spTgt spid="41"/>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wipe(left)">
                                      <p:cBhvr>
                                        <p:cTn id="24" dur="400"/>
                                        <p:tgtEl>
                                          <p:spTgt spid="42"/>
                                        </p:tgtEl>
                                      </p:cBhvr>
                                    </p:animEffect>
                                  </p:childTnLst>
                                </p:cTn>
                              </p:par>
                            </p:childTnLst>
                          </p:cTn>
                        </p:par>
                        <p:par>
                          <p:cTn id="25" fill="hold">
                            <p:stCondLst>
                              <p:cond delay="2000"/>
                            </p:stCondLst>
                            <p:childTnLst>
                              <p:par>
                                <p:cTn id="26" presetID="23" presetClass="entr" presetSubtype="16" fill="hold" grpId="0" nodeType="afterEffect">
                                  <p:stCondLst>
                                    <p:cond delay="250"/>
                                  </p:stCondLst>
                                  <p:childTnLst>
                                    <p:set>
                                      <p:cBhvr>
                                        <p:cTn id="27" dur="1" fill="hold">
                                          <p:stCondLst>
                                            <p:cond delay="0"/>
                                          </p:stCondLst>
                                        </p:cTn>
                                        <p:tgtEl>
                                          <p:spTgt spid="100"/>
                                        </p:tgtEl>
                                        <p:attrNameLst>
                                          <p:attrName>style.visibility</p:attrName>
                                        </p:attrNameLst>
                                      </p:cBhvr>
                                      <p:to>
                                        <p:strVal val="visible"/>
                                      </p:to>
                                    </p:set>
                                    <p:anim calcmode="lin" valueType="num">
                                      <p:cBhvr>
                                        <p:cTn id="28" dur="350" fill="hold"/>
                                        <p:tgtEl>
                                          <p:spTgt spid="100"/>
                                        </p:tgtEl>
                                        <p:attrNameLst>
                                          <p:attrName>ppt_w</p:attrName>
                                        </p:attrNameLst>
                                      </p:cBhvr>
                                      <p:tavLst>
                                        <p:tav tm="0">
                                          <p:val>
                                            <p:fltVal val="0"/>
                                          </p:val>
                                        </p:tav>
                                        <p:tav tm="100000">
                                          <p:val>
                                            <p:strVal val="#ppt_w"/>
                                          </p:val>
                                        </p:tav>
                                      </p:tavLst>
                                    </p:anim>
                                    <p:anim calcmode="lin" valueType="num">
                                      <p:cBhvr>
                                        <p:cTn id="29" dur="350" fill="hold"/>
                                        <p:tgtEl>
                                          <p:spTgt spid="100"/>
                                        </p:tgtEl>
                                        <p:attrNameLst>
                                          <p:attrName>ppt_h</p:attrName>
                                        </p:attrNameLst>
                                      </p:cBhvr>
                                      <p:tavLst>
                                        <p:tav tm="0">
                                          <p:val>
                                            <p:fltVal val="0"/>
                                          </p:val>
                                        </p:tav>
                                        <p:tav tm="100000">
                                          <p:val>
                                            <p:strVal val="#ppt_h"/>
                                          </p:val>
                                        </p:tav>
                                      </p:tavLst>
                                    </p:anim>
                                  </p:childTnLst>
                                </p:cTn>
                              </p:par>
                            </p:childTnLst>
                          </p:cTn>
                        </p:par>
                        <p:par>
                          <p:cTn id="30" fill="hold">
                            <p:stCondLst>
                              <p:cond delay="2750"/>
                            </p:stCondLst>
                            <p:childTnLst>
                              <p:par>
                                <p:cTn id="31" presetID="2" presetClass="entr" presetSubtype="4"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additive="base">
                                        <p:cTn id="33" dur="250" fill="hold"/>
                                        <p:tgtEl>
                                          <p:spTgt spid="14"/>
                                        </p:tgtEl>
                                        <p:attrNameLst>
                                          <p:attrName>ppt_x</p:attrName>
                                        </p:attrNameLst>
                                      </p:cBhvr>
                                      <p:tavLst>
                                        <p:tav tm="0">
                                          <p:val>
                                            <p:strVal val="#ppt_x"/>
                                          </p:val>
                                        </p:tav>
                                        <p:tav tm="100000">
                                          <p:val>
                                            <p:strVal val="#ppt_x"/>
                                          </p:val>
                                        </p:tav>
                                      </p:tavLst>
                                    </p:anim>
                                    <p:anim calcmode="lin" valueType="num">
                                      <p:cBhvr additive="base">
                                        <p:cTn id="34" dur="250" fill="hold"/>
                                        <p:tgtEl>
                                          <p:spTgt spid="14"/>
                                        </p:tgtEl>
                                        <p:attrNameLst>
                                          <p:attrName>ppt_y</p:attrName>
                                        </p:attrNameLst>
                                      </p:cBhvr>
                                      <p:tavLst>
                                        <p:tav tm="0">
                                          <p:val>
                                            <p:strVal val="1+#ppt_h/2"/>
                                          </p:val>
                                        </p:tav>
                                        <p:tav tm="100000">
                                          <p:val>
                                            <p:strVal val="#ppt_y"/>
                                          </p:val>
                                        </p:tav>
                                      </p:tavLst>
                                    </p:anim>
                                  </p:childTnLst>
                                </p:cTn>
                              </p:par>
                            </p:childTnLst>
                          </p:cTn>
                        </p:par>
                        <p:par>
                          <p:cTn id="35" fill="hold">
                            <p:stCondLst>
                              <p:cond delay="3250"/>
                            </p:stCondLst>
                            <p:childTnLst>
                              <p:par>
                                <p:cTn id="36" presetID="22" presetClass="entr" presetSubtype="2" fill="hold" grpId="0" nodeType="after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wipe(right)">
                                      <p:cBhvr>
                                        <p:cTn id="38" dur="400"/>
                                        <p:tgtEl>
                                          <p:spTgt spid="48"/>
                                        </p:tgtEl>
                                      </p:cBhvr>
                                    </p:animEffect>
                                  </p:childTnLst>
                                </p:cTn>
                              </p:par>
                              <p:par>
                                <p:cTn id="39" presetID="22" presetClass="entr" presetSubtype="2"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wipe(right)">
                                      <p:cBhvr>
                                        <p:cTn id="41" dur="400"/>
                                        <p:tgtEl>
                                          <p:spTgt spid="49"/>
                                        </p:tgtEl>
                                      </p:cBhvr>
                                    </p:animEffect>
                                  </p:childTnLst>
                                </p:cTn>
                              </p:par>
                            </p:childTnLst>
                          </p:cTn>
                        </p:par>
                        <p:par>
                          <p:cTn id="42" fill="hold">
                            <p:stCondLst>
                              <p:cond delay="3750"/>
                            </p:stCondLst>
                            <p:childTnLst>
                              <p:par>
                                <p:cTn id="43" presetID="23" presetClass="entr" presetSubtype="16" fill="hold" grpId="0" nodeType="afterEffect">
                                  <p:stCondLst>
                                    <p:cond delay="250"/>
                                  </p:stCondLst>
                                  <p:childTnLst>
                                    <p:set>
                                      <p:cBhvr>
                                        <p:cTn id="44" dur="1" fill="hold">
                                          <p:stCondLst>
                                            <p:cond delay="0"/>
                                          </p:stCondLst>
                                        </p:cTn>
                                        <p:tgtEl>
                                          <p:spTgt spid="106"/>
                                        </p:tgtEl>
                                        <p:attrNameLst>
                                          <p:attrName>style.visibility</p:attrName>
                                        </p:attrNameLst>
                                      </p:cBhvr>
                                      <p:to>
                                        <p:strVal val="visible"/>
                                      </p:to>
                                    </p:set>
                                    <p:anim calcmode="lin" valueType="num">
                                      <p:cBhvr>
                                        <p:cTn id="45" dur="350" fill="hold"/>
                                        <p:tgtEl>
                                          <p:spTgt spid="106"/>
                                        </p:tgtEl>
                                        <p:attrNameLst>
                                          <p:attrName>ppt_w</p:attrName>
                                        </p:attrNameLst>
                                      </p:cBhvr>
                                      <p:tavLst>
                                        <p:tav tm="0">
                                          <p:val>
                                            <p:fltVal val="0"/>
                                          </p:val>
                                        </p:tav>
                                        <p:tav tm="100000">
                                          <p:val>
                                            <p:strVal val="#ppt_w"/>
                                          </p:val>
                                        </p:tav>
                                      </p:tavLst>
                                    </p:anim>
                                    <p:anim calcmode="lin" valueType="num">
                                      <p:cBhvr>
                                        <p:cTn id="46" dur="350" fill="hold"/>
                                        <p:tgtEl>
                                          <p:spTgt spid="106"/>
                                        </p:tgtEl>
                                        <p:attrNameLst>
                                          <p:attrName>ppt_h</p:attrName>
                                        </p:attrNameLst>
                                      </p:cBhvr>
                                      <p:tavLst>
                                        <p:tav tm="0">
                                          <p:val>
                                            <p:fltVal val="0"/>
                                          </p:val>
                                        </p:tav>
                                        <p:tav tm="100000">
                                          <p:val>
                                            <p:strVal val="#ppt_h"/>
                                          </p:val>
                                        </p:tav>
                                      </p:tavLst>
                                    </p:anim>
                                  </p:childTnLst>
                                </p:cTn>
                              </p:par>
                            </p:childTnLst>
                          </p:cTn>
                        </p:par>
                        <p:par>
                          <p:cTn id="47" fill="hold">
                            <p:stCondLst>
                              <p:cond delay="4500"/>
                            </p:stCondLst>
                            <p:childTnLst>
                              <p:par>
                                <p:cTn id="48" presetID="2" presetClass="entr" presetSubtype="1" fill="hold" nodeType="afterEffect">
                                  <p:stCondLst>
                                    <p:cond delay="0"/>
                                  </p:stCondLst>
                                  <p:childTnLst>
                                    <p:set>
                                      <p:cBhvr>
                                        <p:cTn id="49" dur="1" fill="hold">
                                          <p:stCondLst>
                                            <p:cond delay="0"/>
                                          </p:stCondLst>
                                        </p:cTn>
                                        <p:tgtEl>
                                          <p:spTgt spid="9"/>
                                        </p:tgtEl>
                                        <p:attrNameLst>
                                          <p:attrName>style.visibility</p:attrName>
                                        </p:attrNameLst>
                                      </p:cBhvr>
                                      <p:to>
                                        <p:strVal val="visible"/>
                                      </p:to>
                                    </p:set>
                                    <p:anim calcmode="lin" valueType="num">
                                      <p:cBhvr additive="base">
                                        <p:cTn id="50" dur="250" fill="hold"/>
                                        <p:tgtEl>
                                          <p:spTgt spid="9"/>
                                        </p:tgtEl>
                                        <p:attrNameLst>
                                          <p:attrName>ppt_x</p:attrName>
                                        </p:attrNameLst>
                                      </p:cBhvr>
                                      <p:tavLst>
                                        <p:tav tm="0">
                                          <p:val>
                                            <p:strVal val="#ppt_x"/>
                                          </p:val>
                                        </p:tav>
                                        <p:tav tm="100000">
                                          <p:val>
                                            <p:strVal val="#ppt_x"/>
                                          </p:val>
                                        </p:tav>
                                      </p:tavLst>
                                    </p:anim>
                                    <p:anim calcmode="lin" valueType="num">
                                      <p:cBhvr additive="base">
                                        <p:cTn id="51" dur="250" fill="hold"/>
                                        <p:tgtEl>
                                          <p:spTgt spid="9"/>
                                        </p:tgtEl>
                                        <p:attrNameLst>
                                          <p:attrName>ppt_y</p:attrName>
                                        </p:attrNameLst>
                                      </p:cBhvr>
                                      <p:tavLst>
                                        <p:tav tm="0">
                                          <p:val>
                                            <p:strVal val="0-#ppt_h/2"/>
                                          </p:val>
                                        </p:tav>
                                        <p:tav tm="100000">
                                          <p:val>
                                            <p:strVal val="#ppt_y"/>
                                          </p:val>
                                        </p:tav>
                                      </p:tavLst>
                                    </p:anim>
                                  </p:childTnLst>
                                </p:cTn>
                              </p:par>
                            </p:childTnLst>
                          </p:cTn>
                        </p:par>
                        <p:par>
                          <p:cTn id="52" fill="hold">
                            <p:stCondLst>
                              <p:cond delay="5000"/>
                            </p:stCondLst>
                            <p:childTnLst>
                              <p:par>
                                <p:cTn id="53" presetID="22" presetClass="entr" presetSubtype="8" fill="hold" grpId="0" nodeType="after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wipe(left)">
                                      <p:cBhvr>
                                        <p:cTn id="55" dur="400"/>
                                        <p:tgtEl>
                                          <p:spTgt spid="44"/>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5"/>
                                        </p:tgtEl>
                                        <p:attrNameLst>
                                          <p:attrName>style.visibility</p:attrName>
                                        </p:attrNameLst>
                                      </p:cBhvr>
                                      <p:to>
                                        <p:strVal val="visible"/>
                                      </p:to>
                                    </p:set>
                                    <p:animEffect transition="in" filter="wipe(left)">
                                      <p:cBhvr>
                                        <p:cTn id="58" dur="400"/>
                                        <p:tgtEl>
                                          <p:spTgt spid="45"/>
                                        </p:tgtEl>
                                      </p:cBhvr>
                                    </p:animEffect>
                                  </p:childTnLst>
                                </p:cTn>
                              </p:par>
                            </p:childTnLst>
                          </p:cTn>
                        </p:par>
                        <p:par>
                          <p:cTn id="59" fill="hold">
                            <p:stCondLst>
                              <p:cond delay="5500"/>
                            </p:stCondLst>
                            <p:childTnLst>
                              <p:par>
                                <p:cTn id="60" presetID="23" presetClass="entr" presetSubtype="16" fill="hold" grpId="0" nodeType="afterEffect">
                                  <p:stCondLst>
                                    <p:cond delay="250"/>
                                  </p:stCondLst>
                                  <p:childTnLst>
                                    <p:set>
                                      <p:cBhvr>
                                        <p:cTn id="61" dur="1" fill="hold">
                                          <p:stCondLst>
                                            <p:cond delay="0"/>
                                          </p:stCondLst>
                                        </p:cTn>
                                        <p:tgtEl>
                                          <p:spTgt spid="124"/>
                                        </p:tgtEl>
                                        <p:attrNameLst>
                                          <p:attrName>style.visibility</p:attrName>
                                        </p:attrNameLst>
                                      </p:cBhvr>
                                      <p:to>
                                        <p:strVal val="visible"/>
                                      </p:to>
                                    </p:set>
                                    <p:anim calcmode="lin" valueType="num">
                                      <p:cBhvr>
                                        <p:cTn id="62" dur="350" fill="hold"/>
                                        <p:tgtEl>
                                          <p:spTgt spid="124"/>
                                        </p:tgtEl>
                                        <p:attrNameLst>
                                          <p:attrName>ppt_w</p:attrName>
                                        </p:attrNameLst>
                                      </p:cBhvr>
                                      <p:tavLst>
                                        <p:tav tm="0">
                                          <p:val>
                                            <p:fltVal val="0"/>
                                          </p:val>
                                        </p:tav>
                                        <p:tav tm="100000">
                                          <p:val>
                                            <p:strVal val="#ppt_w"/>
                                          </p:val>
                                        </p:tav>
                                      </p:tavLst>
                                    </p:anim>
                                    <p:anim calcmode="lin" valueType="num">
                                      <p:cBhvr>
                                        <p:cTn id="63" dur="350" fill="hold"/>
                                        <p:tgtEl>
                                          <p:spTgt spid="124"/>
                                        </p:tgtEl>
                                        <p:attrNameLst>
                                          <p:attrName>ppt_h</p:attrName>
                                        </p:attrNameLst>
                                      </p:cBhvr>
                                      <p:tavLst>
                                        <p:tav tm="0">
                                          <p:val>
                                            <p:fltVal val="0"/>
                                          </p:val>
                                        </p:tav>
                                        <p:tav tm="100000">
                                          <p:val>
                                            <p:strVal val="#ppt_h"/>
                                          </p:val>
                                        </p:tav>
                                      </p:tavLst>
                                    </p:anim>
                                  </p:childTnLst>
                                </p:cTn>
                              </p:par>
                            </p:childTnLst>
                          </p:cTn>
                        </p:par>
                        <p:par>
                          <p:cTn id="64" fill="hold">
                            <p:stCondLst>
                              <p:cond delay="6250"/>
                            </p:stCondLst>
                            <p:childTnLst>
                              <p:par>
                                <p:cTn id="65" presetID="2" presetClass="entr" presetSubtype="4" fill="hold" nodeType="afterEffect">
                                  <p:stCondLst>
                                    <p:cond delay="0"/>
                                  </p:stCondLst>
                                  <p:childTnLst>
                                    <p:set>
                                      <p:cBhvr>
                                        <p:cTn id="66" dur="1" fill="hold">
                                          <p:stCondLst>
                                            <p:cond delay="0"/>
                                          </p:stCondLst>
                                        </p:cTn>
                                        <p:tgtEl>
                                          <p:spTgt spid="13"/>
                                        </p:tgtEl>
                                        <p:attrNameLst>
                                          <p:attrName>style.visibility</p:attrName>
                                        </p:attrNameLst>
                                      </p:cBhvr>
                                      <p:to>
                                        <p:strVal val="visible"/>
                                      </p:to>
                                    </p:set>
                                    <p:anim calcmode="lin" valueType="num">
                                      <p:cBhvr additive="base">
                                        <p:cTn id="67" dur="250" fill="hold"/>
                                        <p:tgtEl>
                                          <p:spTgt spid="13"/>
                                        </p:tgtEl>
                                        <p:attrNameLst>
                                          <p:attrName>ppt_x</p:attrName>
                                        </p:attrNameLst>
                                      </p:cBhvr>
                                      <p:tavLst>
                                        <p:tav tm="0">
                                          <p:val>
                                            <p:strVal val="#ppt_x"/>
                                          </p:val>
                                        </p:tav>
                                        <p:tav tm="100000">
                                          <p:val>
                                            <p:strVal val="#ppt_x"/>
                                          </p:val>
                                        </p:tav>
                                      </p:tavLst>
                                    </p:anim>
                                    <p:anim calcmode="lin" valueType="num">
                                      <p:cBhvr additive="base">
                                        <p:cTn id="68" dur="250" fill="hold"/>
                                        <p:tgtEl>
                                          <p:spTgt spid="13"/>
                                        </p:tgtEl>
                                        <p:attrNameLst>
                                          <p:attrName>ppt_y</p:attrName>
                                        </p:attrNameLst>
                                      </p:cBhvr>
                                      <p:tavLst>
                                        <p:tav tm="0">
                                          <p:val>
                                            <p:strVal val="1+#ppt_h/2"/>
                                          </p:val>
                                        </p:tav>
                                        <p:tav tm="100000">
                                          <p:val>
                                            <p:strVal val="#ppt_y"/>
                                          </p:val>
                                        </p:tav>
                                      </p:tavLst>
                                    </p:anim>
                                  </p:childTnLst>
                                </p:cTn>
                              </p:par>
                            </p:childTnLst>
                          </p:cTn>
                        </p:par>
                        <p:par>
                          <p:cTn id="69" fill="hold">
                            <p:stCondLst>
                              <p:cond delay="6750"/>
                            </p:stCondLst>
                            <p:childTnLst>
                              <p:par>
                                <p:cTn id="70" presetID="22" presetClass="entr" presetSubtype="2" fill="hold" grpId="0" nodeType="afterEffect">
                                  <p:stCondLst>
                                    <p:cond delay="0"/>
                                  </p:stCondLst>
                                  <p:childTnLst>
                                    <p:set>
                                      <p:cBhvr>
                                        <p:cTn id="71" dur="1" fill="hold">
                                          <p:stCondLst>
                                            <p:cond delay="0"/>
                                          </p:stCondLst>
                                        </p:cTn>
                                        <p:tgtEl>
                                          <p:spTgt spid="50"/>
                                        </p:tgtEl>
                                        <p:attrNameLst>
                                          <p:attrName>style.visibility</p:attrName>
                                        </p:attrNameLst>
                                      </p:cBhvr>
                                      <p:to>
                                        <p:strVal val="visible"/>
                                      </p:to>
                                    </p:set>
                                    <p:animEffect transition="in" filter="wipe(right)">
                                      <p:cBhvr>
                                        <p:cTn id="72" dur="400"/>
                                        <p:tgtEl>
                                          <p:spTgt spid="50"/>
                                        </p:tgtEl>
                                      </p:cBhvr>
                                    </p:animEffect>
                                  </p:childTnLst>
                                </p:cTn>
                              </p:par>
                              <p:par>
                                <p:cTn id="73" presetID="22" presetClass="entr" presetSubtype="2" fill="hold" grpId="0" nodeType="withEffect">
                                  <p:stCondLst>
                                    <p:cond delay="0"/>
                                  </p:stCondLst>
                                  <p:childTnLst>
                                    <p:set>
                                      <p:cBhvr>
                                        <p:cTn id="74" dur="1" fill="hold">
                                          <p:stCondLst>
                                            <p:cond delay="0"/>
                                          </p:stCondLst>
                                        </p:cTn>
                                        <p:tgtEl>
                                          <p:spTgt spid="51"/>
                                        </p:tgtEl>
                                        <p:attrNameLst>
                                          <p:attrName>style.visibility</p:attrName>
                                        </p:attrNameLst>
                                      </p:cBhvr>
                                      <p:to>
                                        <p:strVal val="visible"/>
                                      </p:to>
                                    </p:set>
                                    <p:animEffect transition="in" filter="wipe(right)">
                                      <p:cBhvr>
                                        <p:cTn id="75" dur="400"/>
                                        <p:tgtEl>
                                          <p:spTgt spid="51"/>
                                        </p:tgtEl>
                                      </p:cBhvr>
                                    </p:animEffect>
                                  </p:childTnLst>
                                </p:cTn>
                              </p:par>
                            </p:childTnLst>
                          </p:cTn>
                        </p:par>
                        <p:par>
                          <p:cTn id="76" fill="hold">
                            <p:stCondLst>
                              <p:cond delay="7250"/>
                            </p:stCondLst>
                            <p:childTnLst>
                              <p:par>
                                <p:cTn id="77" presetID="23" presetClass="entr" presetSubtype="16" fill="hold" grpId="0" nodeType="afterEffect">
                                  <p:stCondLst>
                                    <p:cond delay="250"/>
                                  </p:stCondLst>
                                  <p:childTnLst>
                                    <p:set>
                                      <p:cBhvr>
                                        <p:cTn id="78" dur="1" fill="hold">
                                          <p:stCondLst>
                                            <p:cond delay="0"/>
                                          </p:stCondLst>
                                        </p:cTn>
                                        <p:tgtEl>
                                          <p:spTgt spid="131"/>
                                        </p:tgtEl>
                                        <p:attrNameLst>
                                          <p:attrName>style.visibility</p:attrName>
                                        </p:attrNameLst>
                                      </p:cBhvr>
                                      <p:to>
                                        <p:strVal val="visible"/>
                                      </p:to>
                                    </p:set>
                                    <p:anim calcmode="lin" valueType="num">
                                      <p:cBhvr>
                                        <p:cTn id="79" dur="350" fill="hold"/>
                                        <p:tgtEl>
                                          <p:spTgt spid="131"/>
                                        </p:tgtEl>
                                        <p:attrNameLst>
                                          <p:attrName>ppt_w</p:attrName>
                                        </p:attrNameLst>
                                      </p:cBhvr>
                                      <p:tavLst>
                                        <p:tav tm="0">
                                          <p:val>
                                            <p:fltVal val="0"/>
                                          </p:val>
                                        </p:tav>
                                        <p:tav tm="100000">
                                          <p:val>
                                            <p:strVal val="#ppt_w"/>
                                          </p:val>
                                        </p:tav>
                                      </p:tavLst>
                                    </p:anim>
                                    <p:anim calcmode="lin" valueType="num">
                                      <p:cBhvr>
                                        <p:cTn id="80" dur="350" fill="hold"/>
                                        <p:tgtEl>
                                          <p:spTgt spid="131"/>
                                        </p:tgtEl>
                                        <p:attrNameLst>
                                          <p:attrName>ppt_h</p:attrName>
                                        </p:attrNameLst>
                                      </p:cBhvr>
                                      <p:tavLst>
                                        <p:tav tm="0">
                                          <p:val>
                                            <p:fltVal val="0"/>
                                          </p:val>
                                        </p:tav>
                                        <p:tav tm="100000">
                                          <p:val>
                                            <p:strVal val="#ppt_h"/>
                                          </p:val>
                                        </p:tav>
                                      </p:tavLst>
                                    </p:anim>
                                  </p:childTnLst>
                                </p:cTn>
                              </p:par>
                            </p:childTnLst>
                          </p:cTn>
                        </p:par>
                        <p:par>
                          <p:cTn id="81" fill="hold">
                            <p:stCondLst>
                              <p:cond delay="8000"/>
                            </p:stCondLst>
                            <p:childTnLst>
                              <p:par>
                                <p:cTn id="82" presetID="2" presetClass="entr" presetSubtype="1" fill="hold" nodeType="afterEffect">
                                  <p:stCondLst>
                                    <p:cond delay="0"/>
                                  </p:stCondLst>
                                  <p:childTnLst>
                                    <p:set>
                                      <p:cBhvr>
                                        <p:cTn id="83" dur="1" fill="hold">
                                          <p:stCondLst>
                                            <p:cond delay="0"/>
                                          </p:stCondLst>
                                        </p:cTn>
                                        <p:tgtEl>
                                          <p:spTgt spid="10"/>
                                        </p:tgtEl>
                                        <p:attrNameLst>
                                          <p:attrName>style.visibility</p:attrName>
                                        </p:attrNameLst>
                                      </p:cBhvr>
                                      <p:to>
                                        <p:strVal val="visible"/>
                                      </p:to>
                                    </p:set>
                                    <p:anim calcmode="lin" valueType="num">
                                      <p:cBhvr additive="base">
                                        <p:cTn id="84" dur="250" fill="hold"/>
                                        <p:tgtEl>
                                          <p:spTgt spid="10"/>
                                        </p:tgtEl>
                                        <p:attrNameLst>
                                          <p:attrName>ppt_x</p:attrName>
                                        </p:attrNameLst>
                                      </p:cBhvr>
                                      <p:tavLst>
                                        <p:tav tm="0">
                                          <p:val>
                                            <p:strVal val="#ppt_x"/>
                                          </p:val>
                                        </p:tav>
                                        <p:tav tm="100000">
                                          <p:val>
                                            <p:strVal val="#ppt_x"/>
                                          </p:val>
                                        </p:tav>
                                      </p:tavLst>
                                    </p:anim>
                                    <p:anim calcmode="lin" valueType="num">
                                      <p:cBhvr additive="base">
                                        <p:cTn id="85" dur="250" fill="hold"/>
                                        <p:tgtEl>
                                          <p:spTgt spid="10"/>
                                        </p:tgtEl>
                                        <p:attrNameLst>
                                          <p:attrName>ppt_y</p:attrName>
                                        </p:attrNameLst>
                                      </p:cBhvr>
                                      <p:tavLst>
                                        <p:tav tm="0">
                                          <p:val>
                                            <p:strVal val="0-#ppt_h/2"/>
                                          </p:val>
                                        </p:tav>
                                        <p:tav tm="100000">
                                          <p:val>
                                            <p:strVal val="#ppt_y"/>
                                          </p:val>
                                        </p:tav>
                                      </p:tavLst>
                                    </p:anim>
                                  </p:childTnLst>
                                </p:cTn>
                              </p:par>
                            </p:childTnLst>
                          </p:cTn>
                        </p:par>
                        <p:par>
                          <p:cTn id="86" fill="hold">
                            <p:stCondLst>
                              <p:cond delay="8500"/>
                            </p:stCondLst>
                            <p:childTnLst>
                              <p:par>
                                <p:cTn id="87" presetID="22" presetClass="entr" presetSubtype="8" fill="hold" grpId="0" nodeType="afterEffect">
                                  <p:stCondLst>
                                    <p:cond delay="0"/>
                                  </p:stCondLst>
                                  <p:childTnLst>
                                    <p:set>
                                      <p:cBhvr>
                                        <p:cTn id="88" dur="1" fill="hold">
                                          <p:stCondLst>
                                            <p:cond delay="0"/>
                                          </p:stCondLst>
                                        </p:cTn>
                                        <p:tgtEl>
                                          <p:spTgt spid="46"/>
                                        </p:tgtEl>
                                        <p:attrNameLst>
                                          <p:attrName>style.visibility</p:attrName>
                                        </p:attrNameLst>
                                      </p:cBhvr>
                                      <p:to>
                                        <p:strVal val="visible"/>
                                      </p:to>
                                    </p:set>
                                    <p:animEffect transition="in" filter="wipe(left)">
                                      <p:cBhvr>
                                        <p:cTn id="89" dur="400"/>
                                        <p:tgtEl>
                                          <p:spTgt spid="46"/>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47"/>
                                        </p:tgtEl>
                                        <p:attrNameLst>
                                          <p:attrName>style.visibility</p:attrName>
                                        </p:attrNameLst>
                                      </p:cBhvr>
                                      <p:to>
                                        <p:strVal val="visible"/>
                                      </p:to>
                                    </p:set>
                                    <p:animEffect transition="in" filter="wipe(left)">
                                      <p:cBhvr>
                                        <p:cTn id="92" dur="400"/>
                                        <p:tgtEl>
                                          <p:spTgt spid="47"/>
                                        </p:tgtEl>
                                      </p:cBhvr>
                                    </p:animEffect>
                                  </p:childTnLst>
                                </p:cTn>
                              </p:par>
                            </p:childTnLst>
                          </p:cTn>
                        </p:par>
                        <p:par>
                          <p:cTn id="93" fill="hold">
                            <p:stCondLst>
                              <p:cond delay="9000"/>
                            </p:stCondLst>
                            <p:childTnLst>
                              <p:par>
                                <p:cTn id="94" presetID="23" presetClass="entr" presetSubtype="16" fill="hold" grpId="0" nodeType="afterEffect">
                                  <p:stCondLst>
                                    <p:cond delay="250"/>
                                  </p:stCondLst>
                                  <p:childTnLst>
                                    <p:set>
                                      <p:cBhvr>
                                        <p:cTn id="95" dur="1" fill="hold">
                                          <p:stCondLst>
                                            <p:cond delay="0"/>
                                          </p:stCondLst>
                                        </p:cTn>
                                        <p:tgtEl>
                                          <p:spTgt spid="135"/>
                                        </p:tgtEl>
                                        <p:attrNameLst>
                                          <p:attrName>style.visibility</p:attrName>
                                        </p:attrNameLst>
                                      </p:cBhvr>
                                      <p:to>
                                        <p:strVal val="visible"/>
                                      </p:to>
                                    </p:set>
                                    <p:anim calcmode="lin" valueType="num">
                                      <p:cBhvr>
                                        <p:cTn id="96" dur="350" fill="hold"/>
                                        <p:tgtEl>
                                          <p:spTgt spid="135"/>
                                        </p:tgtEl>
                                        <p:attrNameLst>
                                          <p:attrName>ppt_w</p:attrName>
                                        </p:attrNameLst>
                                      </p:cBhvr>
                                      <p:tavLst>
                                        <p:tav tm="0">
                                          <p:val>
                                            <p:fltVal val="0"/>
                                          </p:val>
                                        </p:tav>
                                        <p:tav tm="100000">
                                          <p:val>
                                            <p:strVal val="#ppt_w"/>
                                          </p:val>
                                        </p:tav>
                                      </p:tavLst>
                                    </p:anim>
                                    <p:anim calcmode="lin" valueType="num">
                                      <p:cBhvr>
                                        <p:cTn id="97" dur="350" fill="hold"/>
                                        <p:tgtEl>
                                          <p:spTgt spid="135"/>
                                        </p:tgtEl>
                                        <p:attrNameLst>
                                          <p:attrName>ppt_h</p:attrName>
                                        </p:attrNameLst>
                                      </p:cBhvr>
                                      <p:tavLst>
                                        <p:tav tm="0">
                                          <p:val>
                                            <p:fltVal val="0"/>
                                          </p:val>
                                        </p:tav>
                                        <p:tav tm="100000">
                                          <p:val>
                                            <p:strVal val="#ppt_h"/>
                                          </p:val>
                                        </p:tav>
                                      </p:tavLst>
                                    </p:anim>
                                  </p:childTnLst>
                                </p:cTn>
                              </p:par>
                            </p:childTnLst>
                          </p:cTn>
                        </p:par>
                        <p:par>
                          <p:cTn id="98" fill="hold">
                            <p:stCondLst>
                              <p:cond delay="9750"/>
                            </p:stCondLst>
                            <p:childTnLst>
                              <p:par>
                                <p:cTn id="99" presetID="2" presetClass="entr" presetSubtype="4" fill="hold" nodeType="after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250" fill="hold"/>
                                        <p:tgtEl>
                                          <p:spTgt spid="12"/>
                                        </p:tgtEl>
                                        <p:attrNameLst>
                                          <p:attrName>ppt_x</p:attrName>
                                        </p:attrNameLst>
                                      </p:cBhvr>
                                      <p:tavLst>
                                        <p:tav tm="0">
                                          <p:val>
                                            <p:strVal val="#ppt_x"/>
                                          </p:val>
                                        </p:tav>
                                        <p:tav tm="100000">
                                          <p:val>
                                            <p:strVal val="#ppt_x"/>
                                          </p:val>
                                        </p:tav>
                                      </p:tavLst>
                                    </p:anim>
                                    <p:anim calcmode="lin" valueType="num">
                                      <p:cBhvr additive="base">
                                        <p:cTn id="102" dur="250" fill="hold"/>
                                        <p:tgtEl>
                                          <p:spTgt spid="12"/>
                                        </p:tgtEl>
                                        <p:attrNameLst>
                                          <p:attrName>ppt_y</p:attrName>
                                        </p:attrNameLst>
                                      </p:cBhvr>
                                      <p:tavLst>
                                        <p:tav tm="0">
                                          <p:val>
                                            <p:strVal val="1+#ppt_h/2"/>
                                          </p:val>
                                        </p:tav>
                                        <p:tav tm="100000">
                                          <p:val>
                                            <p:strVal val="#ppt_y"/>
                                          </p:val>
                                        </p:tav>
                                      </p:tavLst>
                                    </p:anim>
                                  </p:childTnLst>
                                </p:cTn>
                              </p:par>
                            </p:childTnLst>
                          </p:cTn>
                        </p:par>
                        <p:par>
                          <p:cTn id="103" fill="hold">
                            <p:stCondLst>
                              <p:cond delay="10250"/>
                            </p:stCondLst>
                            <p:childTnLst>
                              <p:par>
                                <p:cTn id="104" presetID="22" presetClass="entr" presetSubtype="2" fill="hold" grpId="0" nodeType="afterEffect">
                                  <p:stCondLst>
                                    <p:cond delay="0"/>
                                  </p:stCondLst>
                                  <p:childTnLst>
                                    <p:set>
                                      <p:cBhvr>
                                        <p:cTn id="105" dur="1" fill="hold">
                                          <p:stCondLst>
                                            <p:cond delay="0"/>
                                          </p:stCondLst>
                                        </p:cTn>
                                        <p:tgtEl>
                                          <p:spTgt spid="52"/>
                                        </p:tgtEl>
                                        <p:attrNameLst>
                                          <p:attrName>style.visibility</p:attrName>
                                        </p:attrNameLst>
                                      </p:cBhvr>
                                      <p:to>
                                        <p:strVal val="visible"/>
                                      </p:to>
                                    </p:set>
                                    <p:animEffect transition="in" filter="wipe(right)">
                                      <p:cBhvr>
                                        <p:cTn id="106" dur="400"/>
                                        <p:tgtEl>
                                          <p:spTgt spid="52"/>
                                        </p:tgtEl>
                                      </p:cBhvr>
                                    </p:animEffect>
                                  </p:childTnLst>
                                </p:cTn>
                              </p:par>
                              <p:par>
                                <p:cTn id="107" presetID="22" presetClass="entr" presetSubtype="2" fill="hold" grpId="0" nodeType="withEffect">
                                  <p:stCondLst>
                                    <p:cond delay="0"/>
                                  </p:stCondLst>
                                  <p:childTnLst>
                                    <p:set>
                                      <p:cBhvr>
                                        <p:cTn id="108" dur="1" fill="hold">
                                          <p:stCondLst>
                                            <p:cond delay="0"/>
                                          </p:stCondLst>
                                        </p:cTn>
                                        <p:tgtEl>
                                          <p:spTgt spid="53"/>
                                        </p:tgtEl>
                                        <p:attrNameLst>
                                          <p:attrName>style.visibility</p:attrName>
                                        </p:attrNameLst>
                                      </p:cBhvr>
                                      <p:to>
                                        <p:strVal val="visible"/>
                                      </p:to>
                                    </p:set>
                                    <p:animEffect transition="in" filter="wipe(right)">
                                      <p:cBhvr>
                                        <p:cTn id="109" dur="4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100" grpId="0" animBg="1"/>
      <p:bldP spid="106" grpId="0" animBg="1"/>
      <p:bldP spid="124" grpId="0" animBg="1"/>
      <p:bldP spid="131" grpId="0" animBg="1"/>
      <p:bldP spid="135" grpId="0" animBg="1"/>
      <p:bldP spid="41" grpId="0"/>
      <p:bldP spid="42" grpId="0"/>
      <p:bldP spid="44" grpId="0"/>
      <p:bldP spid="45" grpId="0"/>
      <p:bldP spid="46" grpId="0"/>
      <p:bldP spid="47" grpId="0"/>
      <p:bldP spid="48" grpId="0"/>
      <p:bldP spid="49" grpId="0"/>
      <p:bldP spid="50" grpId="0"/>
      <p:bldP spid="51" grpId="0"/>
      <p:bldP spid="52" grpId="0"/>
      <p:bldP spid="5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6433" y="2618085"/>
            <a:ext cx="12179136" cy="134981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95" b="1" dirty="0">
              <a:solidFill>
                <a:schemeClr val="tx1"/>
              </a:solidFill>
              <a:latin typeface="方正兰亭黑简体" panose="02000000000000000000" pitchFamily="2" charset="-122"/>
              <a:ea typeface="方正兰亭黑简体" panose="02000000000000000000" pitchFamily="2" charset="-122"/>
            </a:endParaRPr>
          </a:p>
        </p:txBody>
      </p:sp>
      <p:graphicFrame>
        <p:nvGraphicFramePr>
          <p:cNvPr id="18" name="图表 17"/>
          <p:cNvGraphicFramePr/>
          <p:nvPr/>
        </p:nvGraphicFramePr>
        <p:xfrm>
          <a:off x="464728" y="1958090"/>
          <a:ext cx="2494765" cy="26480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图表 18"/>
          <p:cNvGraphicFramePr/>
          <p:nvPr/>
        </p:nvGraphicFramePr>
        <p:xfrm>
          <a:off x="3354202" y="1958090"/>
          <a:ext cx="2494765" cy="26480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图表 19"/>
          <p:cNvGraphicFramePr/>
          <p:nvPr/>
        </p:nvGraphicFramePr>
        <p:xfrm>
          <a:off x="6243675" y="1958090"/>
          <a:ext cx="2494765" cy="26480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图表 20"/>
          <p:cNvGraphicFramePr/>
          <p:nvPr/>
        </p:nvGraphicFramePr>
        <p:xfrm>
          <a:off x="9133150" y="1958090"/>
          <a:ext cx="2494765" cy="2648047"/>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9"/>
          <p:cNvSpPr txBox="1"/>
          <p:nvPr/>
        </p:nvSpPr>
        <p:spPr>
          <a:xfrm>
            <a:off x="9584144" y="2927355"/>
            <a:ext cx="1589442" cy="707886"/>
          </a:xfrm>
          <a:prstGeom prst="rect">
            <a:avLst/>
          </a:prstGeom>
          <a:noFill/>
        </p:spPr>
        <p:txBody>
          <a:bodyPr wrap="square" rtlCol="0" anchor="ctr">
            <a:spAutoFit/>
          </a:bodyPr>
          <a:lstStyle/>
          <a:p>
            <a:pPr algn="ctr"/>
            <a:r>
              <a:rPr lang="en-US" altLang="zh-CN" sz="4000" dirty="0">
                <a:solidFill>
                  <a:schemeClr val="tx1">
                    <a:lumMod val="90000"/>
                    <a:lumOff val="10000"/>
                  </a:schemeClr>
                </a:solidFill>
                <a:latin typeface="Impact" panose="020B0806030902050204" pitchFamily="34" charset="0"/>
                <a:ea typeface="微软雅黑" panose="020B0503020204020204" pitchFamily="34" charset="-122"/>
              </a:rPr>
              <a:t>90</a:t>
            </a:r>
            <a:r>
              <a:rPr lang="en-US" altLang="zh-CN" sz="2665" dirty="0">
                <a:solidFill>
                  <a:schemeClr val="tx1">
                    <a:lumMod val="90000"/>
                    <a:lumOff val="10000"/>
                  </a:schemeClr>
                </a:solidFill>
                <a:latin typeface="微软雅黑" panose="020B0503020204020204" pitchFamily="34" charset="-122"/>
                <a:ea typeface="微软雅黑" panose="020B0503020204020204" pitchFamily="34" charset="-122"/>
              </a:rPr>
              <a:t>%</a:t>
            </a:r>
            <a:endParaRPr lang="zh-CN" altLang="en-US" sz="2665" dirty="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23" name="TextBox 15"/>
          <p:cNvSpPr txBox="1"/>
          <p:nvPr/>
        </p:nvSpPr>
        <p:spPr>
          <a:xfrm>
            <a:off x="3801273" y="2927355"/>
            <a:ext cx="1589442" cy="707886"/>
          </a:xfrm>
          <a:prstGeom prst="rect">
            <a:avLst/>
          </a:prstGeom>
          <a:noFill/>
        </p:spPr>
        <p:txBody>
          <a:bodyPr wrap="square" rtlCol="0" anchor="ctr">
            <a:spAutoFit/>
          </a:bodyPr>
          <a:lstStyle/>
          <a:p>
            <a:pPr algn="ctr"/>
            <a:r>
              <a:rPr lang="en-US" altLang="zh-CN" sz="4000" dirty="0">
                <a:solidFill>
                  <a:schemeClr val="tx1">
                    <a:lumMod val="90000"/>
                    <a:lumOff val="10000"/>
                  </a:schemeClr>
                </a:solidFill>
                <a:latin typeface="Impact" panose="020B0806030902050204" pitchFamily="34" charset="0"/>
                <a:ea typeface="微软雅黑" panose="020B0503020204020204" pitchFamily="34" charset="-122"/>
              </a:rPr>
              <a:t>50</a:t>
            </a:r>
            <a:r>
              <a:rPr lang="en-US" altLang="zh-CN" sz="2665" dirty="0">
                <a:solidFill>
                  <a:schemeClr val="tx1">
                    <a:lumMod val="90000"/>
                    <a:lumOff val="10000"/>
                  </a:schemeClr>
                </a:solidFill>
                <a:latin typeface="微软雅黑" panose="020B0503020204020204" pitchFamily="34" charset="-122"/>
                <a:ea typeface="微软雅黑" panose="020B0503020204020204" pitchFamily="34" charset="-122"/>
              </a:rPr>
              <a:t>%</a:t>
            </a:r>
            <a:endParaRPr lang="zh-CN" altLang="en-US" sz="2665" dirty="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24" name="TextBox 21"/>
          <p:cNvSpPr txBox="1"/>
          <p:nvPr/>
        </p:nvSpPr>
        <p:spPr>
          <a:xfrm>
            <a:off x="909837" y="2927356"/>
            <a:ext cx="1589442" cy="707886"/>
          </a:xfrm>
          <a:prstGeom prst="rect">
            <a:avLst/>
          </a:prstGeom>
          <a:noFill/>
        </p:spPr>
        <p:txBody>
          <a:bodyPr wrap="square" rtlCol="0" anchor="ctr">
            <a:spAutoFit/>
          </a:bodyPr>
          <a:lstStyle/>
          <a:p>
            <a:pPr algn="ctr"/>
            <a:r>
              <a:rPr lang="en-US" altLang="zh-CN" sz="4000" dirty="0">
                <a:solidFill>
                  <a:schemeClr val="tx1">
                    <a:lumMod val="90000"/>
                    <a:lumOff val="10000"/>
                  </a:schemeClr>
                </a:solidFill>
                <a:latin typeface="Impact" panose="020B0806030902050204" pitchFamily="34" charset="0"/>
                <a:ea typeface="微软雅黑" panose="020B0503020204020204" pitchFamily="34" charset="-122"/>
              </a:rPr>
              <a:t>25</a:t>
            </a:r>
            <a:r>
              <a:rPr lang="en-US" altLang="zh-CN" sz="2665" dirty="0">
                <a:solidFill>
                  <a:schemeClr val="tx1">
                    <a:lumMod val="90000"/>
                    <a:lumOff val="10000"/>
                  </a:schemeClr>
                </a:solidFill>
                <a:latin typeface="微软雅黑" panose="020B0503020204020204" pitchFamily="34" charset="-122"/>
                <a:ea typeface="微软雅黑" panose="020B0503020204020204" pitchFamily="34" charset="-122"/>
              </a:rPr>
              <a:t>%</a:t>
            </a:r>
            <a:endParaRPr lang="zh-CN" altLang="en-US" sz="2665" dirty="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25" name="TextBox 27"/>
          <p:cNvSpPr txBox="1"/>
          <p:nvPr/>
        </p:nvSpPr>
        <p:spPr>
          <a:xfrm>
            <a:off x="6692708" y="2910445"/>
            <a:ext cx="1589442" cy="707886"/>
          </a:xfrm>
          <a:prstGeom prst="rect">
            <a:avLst/>
          </a:prstGeom>
          <a:noFill/>
        </p:spPr>
        <p:txBody>
          <a:bodyPr wrap="square" rtlCol="0" anchor="ctr">
            <a:spAutoFit/>
          </a:bodyPr>
          <a:lstStyle/>
          <a:p>
            <a:pPr algn="ctr"/>
            <a:r>
              <a:rPr lang="en-US" altLang="zh-CN" sz="4000" dirty="0">
                <a:solidFill>
                  <a:schemeClr val="tx1">
                    <a:lumMod val="90000"/>
                    <a:lumOff val="10000"/>
                  </a:schemeClr>
                </a:solidFill>
                <a:latin typeface="Impact" panose="020B0806030902050204" pitchFamily="34" charset="0"/>
                <a:ea typeface="微软雅黑" panose="020B0503020204020204" pitchFamily="34" charset="-122"/>
              </a:rPr>
              <a:t>75</a:t>
            </a:r>
            <a:r>
              <a:rPr lang="en-US" altLang="zh-CN" sz="2665" dirty="0">
                <a:solidFill>
                  <a:schemeClr val="tx1">
                    <a:lumMod val="90000"/>
                    <a:lumOff val="10000"/>
                  </a:schemeClr>
                </a:solidFill>
                <a:latin typeface="微软雅黑" panose="020B0503020204020204" pitchFamily="34" charset="-122"/>
                <a:ea typeface="微软雅黑" panose="020B0503020204020204" pitchFamily="34" charset="-122"/>
              </a:rPr>
              <a:t>%</a:t>
            </a:r>
            <a:endParaRPr lang="zh-CN" altLang="en-US" sz="2665" dirty="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26" name="TextBox 42"/>
          <p:cNvSpPr txBox="1"/>
          <p:nvPr/>
        </p:nvSpPr>
        <p:spPr>
          <a:xfrm>
            <a:off x="1052121" y="4629378"/>
            <a:ext cx="1319976" cy="430887"/>
          </a:xfrm>
          <a:prstGeom prst="rect">
            <a:avLst/>
          </a:prstGeom>
          <a:noFill/>
        </p:spPr>
        <p:txBody>
          <a:bodyPr wrap="square" rtlCol="0">
            <a:spAutoFit/>
          </a:bodyPr>
          <a:lstStyle/>
          <a:p>
            <a:pPr algn="ctr"/>
            <a:r>
              <a:rPr lang="zh-CN" altLang="en-US" sz="2200" b="1" dirty="0">
                <a:solidFill>
                  <a:schemeClr val="accent1"/>
                </a:solidFill>
              </a:rPr>
              <a:t>添加标题</a:t>
            </a:r>
          </a:p>
        </p:txBody>
      </p:sp>
      <p:sp>
        <p:nvSpPr>
          <p:cNvPr id="27" name="矩形 26"/>
          <p:cNvSpPr>
            <a:spLocks noChangeArrowheads="1"/>
          </p:cNvSpPr>
          <p:nvPr/>
        </p:nvSpPr>
        <p:spPr bwMode="auto">
          <a:xfrm>
            <a:off x="548805" y="5054714"/>
            <a:ext cx="2326610" cy="867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lnSpc>
                <a:spcPct val="120000"/>
              </a:lnSpc>
              <a:spcBef>
                <a:spcPct val="0"/>
              </a:spcBef>
              <a:buNone/>
            </a:pPr>
            <a:r>
              <a:rPr lang="zh-CN" altLang="en-US" sz="1400" dirty="0">
                <a:solidFill>
                  <a:schemeClr val="tx1">
                    <a:lumMod val="75000"/>
                    <a:lumOff val="25000"/>
                  </a:schemeClr>
                </a:solidFill>
                <a:sym typeface="微软雅黑" panose="020B0503020204020204" pitchFamily="34" charset="-122"/>
              </a:rPr>
              <a:t>在此录入上述图表的综合描述说明，在此录入上述图表的综合描述说明。</a:t>
            </a:r>
          </a:p>
        </p:txBody>
      </p:sp>
      <p:sp>
        <p:nvSpPr>
          <p:cNvPr id="28" name="TextBox 42"/>
          <p:cNvSpPr txBox="1"/>
          <p:nvPr/>
        </p:nvSpPr>
        <p:spPr>
          <a:xfrm>
            <a:off x="3941595" y="4629378"/>
            <a:ext cx="1319976" cy="430887"/>
          </a:xfrm>
          <a:prstGeom prst="rect">
            <a:avLst/>
          </a:prstGeom>
          <a:noFill/>
        </p:spPr>
        <p:txBody>
          <a:bodyPr wrap="square" rtlCol="0">
            <a:spAutoFit/>
          </a:bodyPr>
          <a:lstStyle/>
          <a:p>
            <a:pPr algn="ctr"/>
            <a:r>
              <a:rPr lang="zh-CN" altLang="en-US" sz="2200" b="1" dirty="0">
                <a:solidFill>
                  <a:schemeClr val="accent1"/>
                </a:solidFill>
              </a:rPr>
              <a:t>添加标题</a:t>
            </a:r>
          </a:p>
        </p:txBody>
      </p:sp>
      <p:sp>
        <p:nvSpPr>
          <p:cNvPr id="29" name="矩形 28"/>
          <p:cNvSpPr>
            <a:spLocks noChangeArrowheads="1"/>
          </p:cNvSpPr>
          <p:nvPr/>
        </p:nvSpPr>
        <p:spPr bwMode="auto">
          <a:xfrm>
            <a:off x="3438279" y="5054714"/>
            <a:ext cx="2326610" cy="867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lnSpc>
                <a:spcPct val="120000"/>
              </a:lnSpc>
              <a:spcBef>
                <a:spcPct val="0"/>
              </a:spcBef>
              <a:buNone/>
            </a:pPr>
            <a:r>
              <a:rPr lang="zh-CN" altLang="en-US" sz="1400" dirty="0">
                <a:solidFill>
                  <a:schemeClr val="tx1">
                    <a:lumMod val="75000"/>
                    <a:lumOff val="25000"/>
                  </a:schemeClr>
                </a:solidFill>
                <a:sym typeface="微软雅黑" panose="020B0503020204020204" pitchFamily="34" charset="-122"/>
              </a:rPr>
              <a:t>在此录入上述图表的综合描述说明，在此录入上述图表的综合描述说明。</a:t>
            </a:r>
          </a:p>
        </p:txBody>
      </p:sp>
      <p:sp>
        <p:nvSpPr>
          <p:cNvPr id="30" name="TextBox 42"/>
          <p:cNvSpPr txBox="1"/>
          <p:nvPr/>
        </p:nvSpPr>
        <p:spPr>
          <a:xfrm>
            <a:off x="6831069" y="4629378"/>
            <a:ext cx="1319976" cy="430887"/>
          </a:xfrm>
          <a:prstGeom prst="rect">
            <a:avLst/>
          </a:prstGeom>
          <a:noFill/>
        </p:spPr>
        <p:txBody>
          <a:bodyPr wrap="square" rtlCol="0">
            <a:spAutoFit/>
          </a:bodyPr>
          <a:lstStyle/>
          <a:p>
            <a:pPr algn="ctr"/>
            <a:r>
              <a:rPr lang="zh-CN" altLang="en-US" sz="2200" b="1" dirty="0">
                <a:solidFill>
                  <a:schemeClr val="accent1"/>
                </a:solidFill>
              </a:rPr>
              <a:t>添加标题</a:t>
            </a:r>
          </a:p>
        </p:txBody>
      </p:sp>
      <p:sp>
        <p:nvSpPr>
          <p:cNvPr id="31" name="矩形 30"/>
          <p:cNvSpPr>
            <a:spLocks noChangeArrowheads="1"/>
          </p:cNvSpPr>
          <p:nvPr/>
        </p:nvSpPr>
        <p:spPr bwMode="auto">
          <a:xfrm>
            <a:off x="6327753" y="5054714"/>
            <a:ext cx="2326610" cy="867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lnSpc>
                <a:spcPct val="120000"/>
              </a:lnSpc>
              <a:spcBef>
                <a:spcPct val="0"/>
              </a:spcBef>
              <a:buNone/>
            </a:pPr>
            <a:r>
              <a:rPr lang="zh-CN" altLang="en-US" sz="1400" dirty="0">
                <a:solidFill>
                  <a:schemeClr val="tx1">
                    <a:lumMod val="75000"/>
                    <a:lumOff val="25000"/>
                  </a:schemeClr>
                </a:solidFill>
                <a:sym typeface="微软雅黑" panose="020B0503020204020204" pitchFamily="34" charset="-122"/>
              </a:rPr>
              <a:t>在此录入上述图表的综合描述说明，在此录入上述图表的综合描述说明。</a:t>
            </a:r>
          </a:p>
        </p:txBody>
      </p:sp>
      <p:sp>
        <p:nvSpPr>
          <p:cNvPr id="32" name="TextBox 42"/>
          <p:cNvSpPr txBox="1"/>
          <p:nvPr/>
        </p:nvSpPr>
        <p:spPr>
          <a:xfrm>
            <a:off x="9720544" y="4629378"/>
            <a:ext cx="1319976" cy="430887"/>
          </a:xfrm>
          <a:prstGeom prst="rect">
            <a:avLst/>
          </a:prstGeom>
          <a:noFill/>
        </p:spPr>
        <p:txBody>
          <a:bodyPr wrap="square" rtlCol="0">
            <a:spAutoFit/>
          </a:bodyPr>
          <a:lstStyle/>
          <a:p>
            <a:pPr algn="ctr"/>
            <a:r>
              <a:rPr lang="zh-CN" altLang="en-US" sz="2200" b="1" dirty="0">
                <a:solidFill>
                  <a:schemeClr val="accent1"/>
                </a:solidFill>
              </a:rPr>
              <a:t>添加标题</a:t>
            </a:r>
          </a:p>
        </p:txBody>
      </p:sp>
      <p:sp>
        <p:nvSpPr>
          <p:cNvPr id="33" name="矩形 32"/>
          <p:cNvSpPr>
            <a:spLocks noChangeArrowheads="1"/>
          </p:cNvSpPr>
          <p:nvPr/>
        </p:nvSpPr>
        <p:spPr bwMode="auto">
          <a:xfrm>
            <a:off x="9217228" y="5054714"/>
            <a:ext cx="2326610" cy="867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ctr">
              <a:lnSpc>
                <a:spcPct val="120000"/>
              </a:lnSpc>
              <a:spcBef>
                <a:spcPct val="0"/>
              </a:spcBef>
              <a:buNone/>
            </a:pPr>
            <a:r>
              <a:rPr lang="zh-CN" altLang="en-US" sz="1400" dirty="0">
                <a:solidFill>
                  <a:schemeClr val="tx1">
                    <a:lumMod val="75000"/>
                    <a:lumOff val="25000"/>
                  </a:schemeClr>
                </a:solidFill>
                <a:sym typeface="微软雅黑" panose="020B0503020204020204" pitchFamily="34" charset="-122"/>
              </a:rPr>
              <a:t>在此录入上述图表的综合描述说明，在此录入上述图表的综合描述说明。</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arn(outVertical)">
                                      <p:cBhvr>
                                        <p:cTn id="7" dur="500"/>
                                        <p:tgtEl>
                                          <p:spTgt spid="17"/>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heel(1)">
                                      <p:cBhvr>
                                        <p:cTn id="11" dur="1000"/>
                                        <p:tgtEl>
                                          <p:spTgt spid="18"/>
                                        </p:tgtEl>
                                      </p:cBhvr>
                                    </p:animEffect>
                                  </p:childTnLst>
                                </p:cTn>
                              </p:par>
                              <p:par>
                                <p:cTn id="12" presetID="21" presetClass="entr" presetSubtype="1" fill="hold" grpId="0" nodeType="withEffect">
                                  <p:stCondLst>
                                    <p:cond delay="250"/>
                                  </p:stCondLst>
                                  <p:childTnLst>
                                    <p:set>
                                      <p:cBhvr>
                                        <p:cTn id="13" dur="1" fill="hold">
                                          <p:stCondLst>
                                            <p:cond delay="0"/>
                                          </p:stCondLst>
                                        </p:cTn>
                                        <p:tgtEl>
                                          <p:spTgt spid="19"/>
                                        </p:tgtEl>
                                        <p:attrNameLst>
                                          <p:attrName>style.visibility</p:attrName>
                                        </p:attrNameLst>
                                      </p:cBhvr>
                                      <p:to>
                                        <p:strVal val="visible"/>
                                      </p:to>
                                    </p:set>
                                    <p:animEffect transition="in" filter="wheel(1)">
                                      <p:cBhvr>
                                        <p:cTn id="14" dur="1000"/>
                                        <p:tgtEl>
                                          <p:spTgt spid="19"/>
                                        </p:tgtEl>
                                      </p:cBhvr>
                                    </p:animEffect>
                                  </p:childTnLst>
                                </p:cTn>
                              </p:par>
                              <p:par>
                                <p:cTn id="15" presetID="21" presetClass="entr" presetSubtype="1" fill="hold" grpId="0" nodeType="withEffect">
                                  <p:stCondLst>
                                    <p:cond delay="500"/>
                                  </p:stCondLst>
                                  <p:childTnLst>
                                    <p:set>
                                      <p:cBhvr>
                                        <p:cTn id="16" dur="1" fill="hold">
                                          <p:stCondLst>
                                            <p:cond delay="0"/>
                                          </p:stCondLst>
                                        </p:cTn>
                                        <p:tgtEl>
                                          <p:spTgt spid="20"/>
                                        </p:tgtEl>
                                        <p:attrNameLst>
                                          <p:attrName>style.visibility</p:attrName>
                                        </p:attrNameLst>
                                      </p:cBhvr>
                                      <p:to>
                                        <p:strVal val="visible"/>
                                      </p:to>
                                    </p:set>
                                    <p:animEffect transition="in" filter="wheel(1)">
                                      <p:cBhvr>
                                        <p:cTn id="17" dur="1000"/>
                                        <p:tgtEl>
                                          <p:spTgt spid="20"/>
                                        </p:tgtEl>
                                      </p:cBhvr>
                                    </p:animEffect>
                                  </p:childTnLst>
                                </p:cTn>
                              </p:par>
                              <p:par>
                                <p:cTn id="18" presetID="21" presetClass="entr" presetSubtype="1" fill="hold" grpId="0" nodeType="withEffect">
                                  <p:stCondLst>
                                    <p:cond delay="500"/>
                                  </p:stCondLst>
                                  <p:childTnLst>
                                    <p:set>
                                      <p:cBhvr>
                                        <p:cTn id="19" dur="1" fill="hold">
                                          <p:stCondLst>
                                            <p:cond delay="0"/>
                                          </p:stCondLst>
                                        </p:cTn>
                                        <p:tgtEl>
                                          <p:spTgt spid="21"/>
                                        </p:tgtEl>
                                        <p:attrNameLst>
                                          <p:attrName>style.visibility</p:attrName>
                                        </p:attrNameLst>
                                      </p:cBhvr>
                                      <p:to>
                                        <p:strVal val="visible"/>
                                      </p:to>
                                    </p:set>
                                    <p:animEffect transition="in" filter="wheel(1)">
                                      <p:cBhvr>
                                        <p:cTn id="20" dur="1000"/>
                                        <p:tgtEl>
                                          <p:spTgt spid="21"/>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childTnLst>
                          </p:cTn>
                        </p:par>
                        <p:par>
                          <p:cTn id="34" fill="hold">
                            <p:stCondLst>
                              <p:cond delay="2000"/>
                            </p:stCondLst>
                            <p:childTnLst>
                              <p:par>
                                <p:cTn id="35" presetID="22" presetClass="entr" presetSubtype="1" fill="hold" grpId="0" nodeType="after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wipe(up)">
                                      <p:cBhvr>
                                        <p:cTn id="37" dur="500"/>
                                        <p:tgtEl>
                                          <p:spTgt spid="26"/>
                                        </p:tgtEl>
                                      </p:cBhvr>
                                    </p:animEffect>
                                  </p:childTnLst>
                                </p:cTn>
                              </p:par>
                              <p:par>
                                <p:cTn id="38" presetID="22" presetClass="entr" presetSubtype="1" fill="hold" grpId="0" nodeType="withEffect">
                                  <p:stCondLst>
                                    <p:cond delay="0"/>
                                  </p:stCondLst>
                                  <p:childTnLst>
                                    <p:set>
                                      <p:cBhvr>
                                        <p:cTn id="39" dur="1" fill="hold">
                                          <p:stCondLst>
                                            <p:cond delay="0"/>
                                          </p:stCondLst>
                                        </p:cTn>
                                        <p:tgtEl>
                                          <p:spTgt spid="28"/>
                                        </p:tgtEl>
                                        <p:attrNameLst>
                                          <p:attrName>style.visibility</p:attrName>
                                        </p:attrNameLst>
                                      </p:cBhvr>
                                      <p:to>
                                        <p:strVal val="visible"/>
                                      </p:to>
                                    </p:set>
                                    <p:animEffect transition="in" filter="wipe(up)">
                                      <p:cBhvr>
                                        <p:cTn id="40" dur="500"/>
                                        <p:tgtEl>
                                          <p:spTgt spid="28"/>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wipe(up)">
                                      <p:cBhvr>
                                        <p:cTn id="43" dur="500"/>
                                        <p:tgtEl>
                                          <p:spTgt spid="30"/>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wipe(up)">
                                      <p:cBhvr>
                                        <p:cTn id="46" dur="500"/>
                                        <p:tgtEl>
                                          <p:spTgt spid="32"/>
                                        </p:tgtEl>
                                      </p:cBhvr>
                                    </p:animEffect>
                                  </p:childTnLst>
                                </p:cTn>
                              </p:par>
                            </p:childTnLst>
                          </p:cTn>
                        </p:par>
                        <p:par>
                          <p:cTn id="47" fill="hold">
                            <p:stCondLst>
                              <p:cond delay="2500"/>
                            </p:stCondLst>
                            <p:childTnLst>
                              <p:par>
                                <p:cTn id="48" presetID="22" presetClass="entr" presetSubtype="1"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wipe(up)">
                                      <p:cBhvr>
                                        <p:cTn id="50" dur="500"/>
                                        <p:tgtEl>
                                          <p:spTgt spid="27"/>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29"/>
                                        </p:tgtEl>
                                        <p:attrNameLst>
                                          <p:attrName>style.visibility</p:attrName>
                                        </p:attrNameLst>
                                      </p:cBhvr>
                                      <p:to>
                                        <p:strVal val="visible"/>
                                      </p:to>
                                    </p:set>
                                    <p:animEffect transition="in" filter="wipe(up)">
                                      <p:cBhvr>
                                        <p:cTn id="53" dur="500"/>
                                        <p:tgtEl>
                                          <p:spTgt spid="29"/>
                                        </p:tgtEl>
                                      </p:cBhvr>
                                    </p:animEffect>
                                  </p:childTnLst>
                                </p:cTn>
                              </p:par>
                              <p:par>
                                <p:cTn id="54" presetID="22" presetClass="entr" presetSubtype="1" fill="hold" grpId="0" nodeType="withEffect">
                                  <p:stCondLst>
                                    <p:cond delay="0"/>
                                  </p:stCondLst>
                                  <p:childTnLst>
                                    <p:set>
                                      <p:cBhvr>
                                        <p:cTn id="55" dur="1" fill="hold">
                                          <p:stCondLst>
                                            <p:cond delay="0"/>
                                          </p:stCondLst>
                                        </p:cTn>
                                        <p:tgtEl>
                                          <p:spTgt spid="31"/>
                                        </p:tgtEl>
                                        <p:attrNameLst>
                                          <p:attrName>style.visibility</p:attrName>
                                        </p:attrNameLst>
                                      </p:cBhvr>
                                      <p:to>
                                        <p:strVal val="visible"/>
                                      </p:to>
                                    </p:set>
                                    <p:animEffect transition="in" filter="wipe(up)">
                                      <p:cBhvr>
                                        <p:cTn id="56" dur="500"/>
                                        <p:tgtEl>
                                          <p:spTgt spid="31"/>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wipe(up)">
                                      <p:cBhvr>
                                        <p:cTn id="5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Graphic spid="18" grpId="0">
        <p:bldAsOne/>
      </p:bldGraphic>
      <p:bldGraphic spid="19" grpId="0">
        <p:bldAsOne/>
      </p:bldGraphic>
      <p:bldGraphic spid="20" grpId="0">
        <p:bldAsOne/>
      </p:bldGraphic>
      <p:bldGraphic spid="21" grpId="0">
        <p:bldAsOne/>
      </p:bldGraphic>
      <p:bldP spid="22" grpId="0"/>
      <p:bldP spid="23" grpId="0"/>
      <p:bldP spid="24" grpId="0"/>
      <p:bldP spid="25" grpId="0"/>
      <p:bldP spid="26" grpId="0"/>
      <p:bldP spid="27" grpId="0"/>
      <p:bldP spid="28" grpId="0"/>
      <p:bldP spid="29" grpId="0"/>
      <p:bldP spid="30" grpId="0"/>
      <p:bldP spid="31" grpId="0"/>
      <p:bldP spid="32" grpId="0"/>
      <p:bldP spid="3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Pentagon 25"/>
          <p:cNvSpPr/>
          <p:nvPr/>
        </p:nvSpPr>
        <p:spPr>
          <a:xfrm flipH="1">
            <a:off x="7877784" y="2063443"/>
            <a:ext cx="4332505" cy="691283"/>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dirty="0"/>
          </a:p>
        </p:txBody>
      </p:sp>
      <p:sp>
        <p:nvSpPr>
          <p:cNvPr id="94" name="TextBox 26"/>
          <p:cNvSpPr txBox="1"/>
          <p:nvPr/>
        </p:nvSpPr>
        <p:spPr>
          <a:xfrm flipH="1">
            <a:off x="8369734" y="2209034"/>
            <a:ext cx="1715879" cy="400101"/>
          </a:xfrm>
          <a:prstGeom prst="rect">
            <a:avLst/>
          </a:prstGeom>
        </p:spPr>
        <p:txBody>
          <a:bodyPr wrap="square" lIns="91431" tIns="45716" rIns="91431" bIns="45716">
            <a:spAutoFit/>
          </a:bodyPr>
          <a:lstStyle>
            <a:defPPr>
              <a:defRPr lang="zh-CN"/>
            </a:defPPr>
            <a:lvl1pPr>
              <a:defRPr sz="2200" b="1">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2000" dirty="0">
                <a:solidFill>
                  <a:schemeClr val="bg1">
                    <a:lumMod val="95000"/>
                  </a:schemeClr>
                </a:solidFill>
              </a:rPr>
              <a:t>输入关键字</a:t>
            </a:r>
            <a:endParaRPr lang="en-US" sz="2000" dirty="0">
              <a:solidFill>
                <a:schemeClr val="bg1">
                  <a:lumMod val="95000"/>
                </a:schemeClr>
              </a:solidFill>
            </a:endParaRPr>
          </a:p>
        </p:txBody>
      </p:sp>
      <p:sp>
        <p:nvSpPr>
          <p:cNvPr id="91" name="Pentagon 28"/>
          <p:cNvSpPr/>
          <p:nvPr/>
        </p:nvSpPr>
        <p:spPr>
          <a:xfrm flipH="1">
            <a:off x="8549898" y="2908344"/>
            <a:ext cx="3641311" cy="69128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dirty="0"/>
          </a:p>
        </p:txBody>
      </p:sp>
      <p:sp>
        <p:nvSpPr>
          <p:cNvPr id="92" name="TextBox 29"/>
          <p:cNvSpPr txBox="1"/>
          <p:nvPr/>
        </p:nvSpPr>
        <p:spPr>
          <a:xfrm flipH="1">
            <a:off x="9128418" y="3053938"/>
            <a:ext cx="1779969" cy="400101"/>
          </a:xfrm>
          <a:prstGeom prst="rect">
            <a:avLst/>
          </a:prstGeom>
        </p:spPr>
        <p:txBody>
          <a:bodyPr wrap="square" lIns="91431" tIns="45716" rIns="91431" bIns="45716">
            <a:spAutoFit/>
          </a:bodyPr>
          <a:lstStyle>
            <a:defPPr>
              <a:defRPr lang="zh-CN"/>
            </a:defPPr>
            <a:lvl1pPr>
              <a:defRPr sz="2000" b="1">
                <a:solidFill>
                  <a:schemeClr val="bg1">
                    <a:lumMod val="95000"/>
                  </a:schemeClr>
                </a:solidFill>
                <a:latin typeface="微软雅黑" panose="020B0503020204020204" pitchFamily="34" charset="-122"/>
                <a:ea typeface="微软雅黑" panose="020B0503020204020204" pitchFamily="34" charset="-122"/>
              </a:defRPr>
            </a:lvl1pPr>
          </a:lstStyle>
          <a:p>
            <a:r>
              <a:rPr lang="zh-CN" altLang="en-US" dirty="0"/>
              <a:t>输入关键字</a:t>
            </a:r>
            <a:endParaRPr lang="en-US" altLang="zh-CN" dirty="0"/>
          </a:p>
        </p:txBody>
      </p:sp>
      <p:sp>
        <p:nvSpPr>
          <p:cNvPr id="89" name="Pentagon 31"/>
          <p:cNvSpPr/>
          <p:nvPr/>
        </p:nvSpPr>
        <p:spPr>
          <a:xfrm flipH="1">
            <a:off x="9260171" y="3753246"/>
            <a:ext cx="2950117" cy="691284"/>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dirty="0"/>
          </a:p>
        </p:txBody>
      </p:sp>
      <p:sp>
        <p:nvSpPr>
          <p:cNvPr id="90" name="TextBox 32"/>
          <p:cNvSpPr txBox="1"/>
          <p:nvPr/>
        </p:nvSpPr>
        <p:spPr>
          <a:xfrm flipH="1">
            <a:off x="9749866" y="3898840"/>
            <a:ext cx="1679216" cy="400101"/>
          </a:xfrm>
          <a:prstGeom prst="rect">
            <a:avLst/>
          </a:prstGeom>
        </p:spPr>
        <p:txBody>
          <a:bodyPr wrap="square" lIns="91431" tIns="45716" rIns="91431" bIns="45716">
            <a:spAutoFit/>
          </a:bodyPr>
          <a:lstStyle>
            <a:defPPr>
              <a:defRPr lang="zh-CN"/>
            </a:defPPr>
            <a:lvl1pPr>
              <a:defRPr sz="2000" b="1">
                <a:solidFill>
                  <a:schemeClr val="bg1">
                    <a:lumMod val="95000"/>
                  </a:schemeClr>
                </a:solidFill>
                <a:latin typeface="微软雅黑" panose="020B0503020204020204" pitchFamily="34" charset="-122"/>
                <a:ea typeface="微软雅黑" panose="020B0503020204020204" pitchFamily="34" charset="-122"/>
              </a:defRPr>
            </a:lvl1pPr>
          </a:lstStyle>
          <a:p>
            <a:r>
              <a:rPr lang="zh-CN" altLang="en-US" dirty="0"/>
              <a:t>输入关键字</a:t>
            </a:r>
            <a:endParaRPr lang="en-US" altLang="zh-CN" dirty="0"/>
          </a:p>
        </p:txBody>
      </p:sp>
      <p:sp>
        <p:nvSpPr>
          <p:cNvPr id="87" name="Pentagon 34"/>
          <p:cNvSpPr/>
          <p:nvPr/>
        </p:nvSpPr>
        <p:spPr>
          <a:xfrm flipH="1">
            <a:off x="10085614" y="4598146"/>
            <a:ext cx="2105323" cy="69128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dirty="0"/>
          </a:p>
        </p:txBody>
      </p:sp>
      <p:sp>
        <p:nvSpPr>
          <p:cNvPr id="88" name="TextBox 35"/>
          <p:cNvSpPr txBox="1"/>
          <p:nvPr/>
        </p:nvSpPr>
        <p:spPr>
          <a:xfrm flipH="1">
            <a:off x="10571365" y="4743740"/>
            <a:ext cx="1619571" cy="400101"/>
          </a:xfrm>
          <a:prstGeom prst="rect">
            <a:avLst/>
          </a:prstGeom>
        </p:spPr>
        <p:txBody>
          <a:bodyPr wrap="square" lIns="91431" tIns="45716" rIns="91431" bIns="45716">
            <a:spAutoFit/>
          </a:bodyPr>
          <a:lstStyle>
            <a:defPPr>
              <a:defRPr lang="zh-CN"/>
            </a:defPPr>
            <a:lvl1pPr>
              <a:defRPr sz="2000" b="1">
                <a:solidFill>
                  <a:schemeClr val="bg1">
                    <a:lumMod val="95000"/>
                  </a:schemeClr>
                </a:solidFill>
                <a:latin typeface="微软雅黑" panose="020B0503020204020204" pitchFamily="34" charset="-122"/>
                <a:ea typeface="微软雅黑" panose="020B0503020204020204" pitchFamily="34" charset="-122"/>
              </a:defRPr>
            </a:lvl1pPr>
          </a:lstStyle>
          <a:p>
            <a:r>
              <a:rPr lang="zh-CN" altLang="en-US" dirty="0"/>
              <a:t>输入关键字</a:t>
            </a:r>
            <a:endParaRPr lang="en-US" altLang="zh-CN" dirty="0"/>
          </a:p>
        </p:txBody>
      </p:sp>
      <p:graphicFrame>
        <p:nvGraphicFramePr>
          <p:cNvPr id="96" name="Chart 37"/>
          <p:cNvGraphicFramePr/>
          <p:nvPr/>
        </p:nvGraphicFramePr>
        <p:xfrm>
          <a:off x="1042533" y="3963579"/>
          <a:ext cx="7439648" cy="2125415"/>
        </p:xfrm>
        <a:graphic>
          <a:graphicData uri="http://schemas.openxmlformats.org/drawingml/2006/chart">
            <c:chart xmlns:c="http://schemas.openxmlformats.org/drawingml/2006/chart" xmlns:r="http://schemas.openxmlformats.org/officeDocument/2006/relationships" r:id="rId3"/>
          </a:graphicData>
        </a:graphic>
      </p:graphicFrame>
      <p:sp>
        <p:nvSpPr>
          <p:cNvPr id="99" name="矩形 98"/>
          <p:cNvSpPr/>
          <p:nvPr/>
        </p:nvSpPr>
        <p:spPr>
          <a:xfrm>
            <a:off x="1090655" y="1549411"/>
            <a:ext cx="2408127" cy="430879"/>
          </a:xfrm>
          <a:prstGeom prst="rect">
            <a:avLst/>
          </a:prstGeom>
        </p:spPr>
        <p:txBody>
          <a:bodyPr wrap="square" lIns="91431" tIns="45716" rIns="91431" bIns="45716">
            <a:spAutoFit/>
          </a:bodyPr>
          <a:lstStyle/>
          <a:p>
            <a:r>
              <a:rPr lang="zh-CN" altLang="en-US" sz="2200" b="1" dirty="0">
                <a:solidFill>
                  <a:schemeClr val="tx1">
                    <a:lumMod val="65000"/>
                    <a:lumOff val="35000"/>
                  </a:schemeClr>
                </a:solidFill>
                <a:latin typeface="微软雅黑" panose="020B0503020204020204" pitchFamily="34" charset="-122"/>
                <a:ea typeface="微软雅黑" panose="020B0503020204020204" pitchFamily="34" charset="-122"/>
              </a:rPr>
              <a:t>添加主要观点</a:t>
            </a:r>
            <a:endParaRPr lang="en-US" altLang="zh-CN" sz="2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0" name="矩形 47"/>
          <p:cNvSpPr>
            <a:spLocks noChangeArrowheads="1"/>
          </p:cNvSpPr>
          <p:nvPr/>
        </p:nvSpPr>
        <p:spPr bwMode="auto">
          <a:xfrm>
            <a:off x="1090654" y="2034570"/>
            <a:ext cx="6252723" cy="17076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spcAft>
                <a:spcPts val="500"/>
              </a:spcAft>
              <a:buNone/>
            </a:pPr>
            <a:r>
              <a:rPr lang="zh-CN" altLang="en-US" sz="1400" dirty="0">
                <a:solidFill>
                  <a:schemeClr val="tx1">
                    <a:lumMod val="65000"/>
                    <a:lumOff val="35000"/>
                  </a:schemeClr>
                </a:solidFill>
                <a:sym typeface="微软雅黑" panose="020B0503020204020204" pitchFamily="34" charset="-122"/>
              </a:rPr>
              <a:t>在此录入上述图表的综合描述说明，在此录入上述图表的综合描述说明，在此录入上述图表的综合描述说明，在此录入上述图表的综合描述说明。</a:t>
            </a:r>
            <a:endParaRPr lang="en-US" altLang="zh-CN" sz="1400" dirty="0">
              <a:solidFill>
                <a:schemeClr val="tx1">
                  <a:lumMod val="65000"/>
                  <a:lumOff val="35000"/>
                </a:schemeClr>
              </a:solidFill>
              <a:sym typeface="微软雅黑" panose="020B0503020204020204" pitchFamily="34" charset="-122"/>
            </a:endParaRPr>
          </a:p>
          <a:p>
            <a:pPr>
              <a:lnSpc>
                <a:spcPct val="120000"/>
              </a:lnSpc>
              <a:spcBef>
                <a:spcPct val="0"/>
              </a:spcBef>
              <a:spcAft>
                <a:spcPts val="500"/>
              </a:spcAft>
              <a:buNone/>
            </a:pPr>
            <a:r>
              <a:rPr lang="zh-CN" altLang="en-US" sz="1400" dirty="0">
                <a:solidFill>
                  <a:schemeClr val="tx1">
                    <a:lumMod val="65000"/>
                    <a:lumOff val="35000"/>
                  </a:schemeClr>
                </a:solidFill>
                <a:sym typeface="微软雅黑" panose="020B0503020204020204" pitchFamily="34" charset="-122"/>
              </a:rPr>
              <a:t>在此录入上述图表的综合描述说明，在此录入上述图表的综合描述说明，在此录入上述图表的综合描述说明，在此录入上述图表的综合描述说明</a:t>
            </a:r>
            <a:r>
              <a:rPr lang="en-US" altLang="zh-CN" sz="1400" dirty="0">
                <a:solidFill>
                  <a:schemeClr val="tx1">
                    <a:lumMod val="65000"/>
                    <a:lumOff val="35000"/>
                  </a:schemeClr>
                </a:solidFill>
                <a:sym typeface="微软雅黑" panose="020B0503020204020204" pitchFamily="34" charset="-122"/>
              </a:rPr>
              <a:t>,</a:t>
            </a:r>
            <a:r>
              <a:rPr lang="zh-CN" altLang="en-US" sz="1400" dirty="0">
                <a:solidFill>
                  <a:schemeClr val="tx1">
                    <a:lumMod val="65000"/>
                    <a:lumOff val="35000"/>
                  </a:schemeClr>
                </a:solidFill>
                <a:sym typeface="微软雅黑" panose="020B0503020204020204" pitchFamily="34" charset="-122"/>
              </a:rPr>
              <a:t>在此录入上述图表的综合描述说明，在此录入上述图表的综合描述说明，在此录入上述图表的综合描述说明，在此录入上述图表的综合描述说明。</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96">
                                            <p:graphicEl>
                                              <a:chart seriesIdx="-3" categoryIdx="-3" bldStep="gridLegend"/>
                                            </p:graphicEl>
                                          </p:spTgt>
                                        </p:tgtEl>
                                        <p:attrNameLst>
                                          <p:attrName>style.visibility</p:attrName>
                                        </p:attrNameLst>
                                      </p:cBhvr>
                                      <p:to>
                                        <p:strVal val="visible"/>
                                      </p:to>
                                    </p:set>
                                    <p:animEffect transition="in" filter="slide(fromLeft)">
                                      <p:cBhvr>
                                        <p:cTn id="7" dur="500"/>
                                        <p:tgtEl>
                                          <p:spTgt spid="96">
                                            <p:graphicEl>
                                              <a:chart seriesIdx="-3" categoryIdx="-3" bldStep="gridLegend"/>
                                            </p:graphicEl>
                                          </p:spTgt>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96">
                                            <p:graphicEl>
                                              <a:chart seriesIdx="0" categoryIdx="-4" bldStep="series"/>
                                            </p:graphicEl>
                                          </p:spTgt>
                                        </p:tgtEl>
                                        <p:attrNameLst>
                                          <p:attrName>style.visibility</p:attrName>
                                        </p:attrNameLst>
                                      </p:cBhvr>
                                      <p:to>
                                        <p:strVal val="visible"/>
                                      </p:to>
                                    </p:set>
                                    <p:animEffect transition="in" filter="slide(fromLeft)">
                                      <p:cBhvr>
                                        <p:cTn id="11" dur="500"/>
                                        <p:tgtEl>
                                          <p:spTgt spid="96">
                                            <p:graphicEl>
                                              <a:chart seriesIdx="0" categoryIdx="-4" bldStep="series"/>
                                            </p:graphicEl>
                                          </p:spTgt>
                                        </p:tgtEl>
                                      </p:cBhvr>
                                    </p:animEffect>
                                  </p:childTnLst>
                                </p:cTn>
                              </p:par>
                            </p:childTnLst>
                          </p:cTn>
                        </p:par>
                        <p:par>
                          <p:cTn id="12" fill="hold">
                            <p:stCondLst>
                              <p:cond delay="1000"/>
                            </p:stCondLst>
                            <p:childTnLst>
                              <p:par>
                                <p:cTn id="13" presetID="12" presetClass="entr" presetSubtype="8" fill="hold" grpId="0" nodeType="afterEffect">
                                  <p:stCondLst>
                                    <p:cond delay="0"/>
                                  </p:stCondLst>
                                  <p:childTnLst>
                                    <p:set>
                                      <p:cBhvr>
                                        <p:cTn id="14" dur="1" fill="hold">
                                          <p:stCondLst>
                                            <p:cond delay="0"/>
                                          </p:stCondLst>
                                        </p:cTn>
                                        <p:tgtEl>
                                          <p:spTgt spid="96">
                                            <p:graphicEl>
                                              <a:chart seriesIdx="1" categoryIdx="-4" bldStep="series"/>
                                            </p:graphicEl>
                                          </p:spTgt>
                                        </p:tgtEl>
                                        <p:attrNameLst>
                                          <p:attrName>style.visibility</p:attrName>
                                        </p:attrNameLst>
                                      </p:cBhvr>
                                      <p:to>
                                        <p:strVal val="visible"/>
                                      </p:to>
                                    </p:set>
                                    <p:animEffect transition="in" filter="slide(fromLeft)">
                                      <p:cBhvr>
                                        <p:cTn id="15" dur="500"/>
                                        <p:tgtEl>
                                          <p:spTgt spid="96">
                                            <p:graphicEl>
                                              <a:chart seriesIdx="1" categoryIdx="-4" bldStep="series"/>
                                            </p:graphicEl>
                                          </p:spTgt>
                                        </p:tgtEl>
                                      </p:cBhvr>
                                    </p:animEffect>
                                  </p:childTnLst>
                                </p:cTn>
                              </p:par>
                            </p:childTnLst>
                          </p:cTn>
                        </p:par>
                        <p:par>
                          <p:cTn id="16" fill="hold">
                            <p:stCondLst>
                              <p:cond delay="1500"/>
                            </p:stCondLst>
                            <p:childTnLst>
                              <p:par>
                                <p:cTn id="17" presetID="12" presetClass="entr" presetSubtype="8" fill="hold" grpId="0" nodeType="afterEffect">
                                  <p:stCondLst>
                                    <p:cond delay="0"/>
                                  </p:stCondLst>
                                  <p:childTnLst>
                                    <p:set>
                                      <p:cBhvr>
                                        <p:cTn id="18" dur="1" fill="hold">
                                          <p:stCondLst>
                                            <p:cond delay="0"/>
                                          </p:stCondLst>
                                        </p:cTn>
                                        <p:tgtEl>
                                          <p:spTgt spid="96">
                                            <p:graphicEl>
                                              <a:chart seriesIdx="2" categoryIdx="-4" bldStep="series"/>
                                            </p:graphicEl>
                                          </p:spTgt>
                                        </p:tgtEl>
                                        <p:attrNameLst>
                                          <p:attrName>style.visibility</p:attrName>
                                        </p:attrNameLst>
                                      </p:cBhvr>
                                      <p:to>
                                        <p:strVal val="visible"/>
                                      </p:to>
                                    </p:set>
                                    <p:animEffect transition="in" filter="slide(fromLeft)">
                                      <p:cBhvr>
                                        <p:cTn id="19" dur="500"/>
                                        <p:tgtEl>
                                          <p:spTgt spid="96">
                                            <p:graphicEl>
                                              <a:chart seriesIdx="2" categoryIdx="-4" bldStep="series"/>
                                            </p:graphicEl>
                                          </p:spTgt>
                                        </p:tgtEl>
                                      </p:cBhvr>
                                    </p:animEffect>
                                  </p:childTnLst>
                                </p:cTn>
                              </p:par>
                            </p:childTnLst>
                          </p:cTn>
                        </p:par>
                        <p:par>
                          <p:cTn id="20" fill="hold">
                            <p:stCondLst>
                              <p:cond delay="2000"/>
                            </p:stCondLst>
                            <p:childTnLst>
                              <p:par>
                                <p:cTn id="21" presetID="12" presetClass="entr" presetSubtype="8" fill="hold" grpId="0" nodeType="afterEffect">
                                  <p:stCondLst>
                                    <p:cond delay="0"/>
                                  </p:stCondLst>
                                  <p:childTnLst>
                                    <p:set>
                                      <p:cBhvr>
                                        <p:cTn id="22" dur="1" fill="hold">
                                          <p:stCondLst>
                                            <p:cond delay="0"/>
                                          </p:stCondLst>
                                        </p:cTn>
                                        <p:tgtEl>
                                          <p:spTgt spid="96">
                                            <p:graphicEl>
                                              <a:chart seriesIdx="3" categoryIdx="-4" bldStep="series"/>
                                            </p:graphicEl>
                                          </p:spTgt>
                                        </p:tgtEl>
                                        <p:attrNameLst>
                                          <p:attrName>style.visibility</p:attrName>
                                        </p:attrNameLst>
                                      </p:cBhvr>
                                      <p:to>
                                        <p:strVal val="visible"/>
                                      </p:to>
                                    </p:set>
                                    <p:animEffect transition="in" filter="slide(fromLeft)">
                                      <p:cBhvr>
                                        <p:cTn id="23" dur="500"/>
                                        <p:tgtEl>
                                          <p:spTgt spid="96">
                                            <p:graphicEl>
                                              <a:chart seriesIdx="3" categoryIdx="-4" bldStep="series"/>
                                            </p:graphicEl>
                                          </p:spTgt>
                                        </p:tgtEl>
                                      </p:cBhvr>
                                    </p:animEffect>
                                  </p:childTnLst>
                                </p:cTn>
                              </p:par>
                            </p:childTnLst>
                          </p:cTn>
                        </p:par>
                        <p:par>
                          <p:cTn id="24" fill="hold">
                            <p:stCondLst>
                              <p:cond delay="2500"/>
                            </p:stCondLst>
                            <p:childTnLst>
                              <p:par>
                                <p:cTn id="25" presetID="2" presetClass="entr" presetSubtype="2" fill="hold" grpId="0" nodeType="afterEffect">
                                  <p:stCondLst>
                                    <p:cond delay="0"/>
                                  </p:stCondLst>
                                  <p:childTnLst>
                                    <p:set>
                                      <p:cBhvr>
                                        <p:cTn id="26" dur="1" fill="hold">
                                          <p:stCondLst>
                                            <p:cond delay="0"/>
                                          </p:stCondLst>
                                        </p:cTn>
                                        <p:tgtEl>
                                          <p:spTgt spid="93"/>
                                        </p:tgtEl>
                                        <p:attrNameLst>
                                          <p:attrName>style.visibility</p:attrName>
                                        </p:attrNameLst>
                                      </p:cBhvr>
                                      <p:to>
                                        <p:strVal val="visible"/>
                                      </p:to>
                                    </p:set>
                                    <p:anim calcmode="lin" valueType="num">
                                      <p:cBhvr additive="base">
                                        <p:cTn id="27" dur="500" fill="hold"/>
                                        <p:tgtEl>
                                          <p:spTgt spid="93"/>
                                        </p:tgtEl>
                                        <p:attrNameLst>
                                          <p:attrName>ppt_x</p:attrName>
                                        </p:attrNameLst>
                                      </p:cBhvr>
                                      <p:tavLst>
                                        <p:tav tm="0">
                                          <p:val>
                                            <p:strVal val="1+#ppt_w/2"/>
                                          </p:val>
                                        </p:tav>
                                        <p:tav tm="100000">
                                          <p:val>
                                            <p:strVal val="#ppt_x"/>
                                          </p:val>
                                        </p:tav>
                                      </p:tavLst>
                                    </p:anim>
                                    <p:anim calcmode="lin" valueType="num">
                                      <p:cBhvr additive="base">
                                        <p:cTn id="28" dur="500" fill="hold"/>
                                        <p:tgtEl>
                                          <p:spTgt spid="93"/>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94"/>
                                        </p:tgtEl>
                                        <p:attrNameLst>
                                          <p:attrName>style.visibility</p:attrName>
                                        </p:attrNameLst>
                                      </p:cBhvr>
                                      <p:to>
                                        <p:strVal val="visible"/>
                                      </p:to>
                                    </p:set>
                                    <p:anim calcmode="lin" valueType="num">
                                      <p:cBhvr additive="base">
                                        <p:cTn id="31" dur="500" fill="hold"/>
                                        <p:tgtEl>
                                          <p:spTgt spid="94"/>
                                        </p:tgtEl>
                                        <p:attrNameLst>
                                          <p:attrName>ppt_x</p:attrName>
                                        </p:attrNameLst>
                                      </p:cBhvr>
                                      <p:tavLst>
                                        <p:tav tm="0">
                                          <p:val>
                                            <p:strVal val="1+#ppt_w/2"/>
                                          </p:val>
                                        </p:tav>
                                        <p:tav tm="100000">
                                          <p:val>
                                            <p:strVal val="#ppt_x"/>
                                          </p:val>
                                        </p:tav>
                                      </p:tavLst>
                                    </p:anim>
                                    <p:anim calcmode="lin" valueType="num">
                                      <p:cBhvr additive="base">
                                        <p:cTn id="32" dur="500" fill="hold"/>
                                        <p:tgtEl>
                                          <p:spTgt spid="94"/>
                                        </p:tgtEl>
                                        <p:attrNameLst>
                                          <p:attrName>ppt_y</p:attrName>
                                        </p:attrNameLst>
                                      </p:cBhvr>
                                      <p:tavLst>
                                        <p:tav tm="0">
                                          <p:val>
                                            <p:strVal val="#ppt_y"/>
                                          </p:val>
                                        </p:tav>
                                        <p:tav tm="100000">
                                          <p:val>
                                            <p:strVal val="#ppt_y"/>
                                          </p:val>
                                        </p:tav>
                                      </p:tavLst>
                                    </p:anim>
                                  </p:childTnLst>
                                </p:cTn>
                              </p:par>
                              <p:par>
                                <p:cTn id="33" presetID="2" presetClass="entr" presetSubtype="2" fill="hold" grpId="0" nodeType="withEffect">
                                  <p:stCondLst>
                                    <p:cond delay="0"/>
                                  </p:stCondLst>
                                  <p:childTnLst>
                                    <p:set>
                                      <p:cBhvr>
                                        <p:cTn id="34" dur="1" fill="hold">
                                          <p:stCondLst>
                                            <p:cond delay="0"/>
                                          </p:stCondLst>
                                        </p:cTn>
                                        <p:tgtEl>
                                          <p:spTgt spid="91"/>
                                        </p:tgtEl>
                                        <p:attrNameLst>
                                          <p:attrName>style.visibility</p:attrName>
                                        </p:attrNameLst>
                                      </p:cBhvr>
                                      <p:to>
                                        <p:strVal val="visible"/>
                                      </p:to>
                                    </p:set>
                                    <p:anim calcmode="lin" valueType="num">
                                      <p:cBhvr additive="base">
                                        <p:cTn id="35" dur="500" fill="hold"/>
                                        <p:tgtEl>
                                          <p:spTgt spid="91"/>
                                        </p:tgtEl>
                                        <p:attrNameLst>
                                          <p:attrName>ppt_x</p:attrName>
                                        </p:attrNameLst>
                                      </p:cBhvr>
                                      <p:tavLst>
                                        <p:tav tm="0">
                                          <p:val>
                                            <p:strVal val="1+#ppt_w/2"/>
                                          </p:val>
                                        </p:tav>
                                        <p:tav tm="100000">
                                          <p:val>
                                            <p:strVal val="#ppt_x"/>
                                          </p:val>
                                        </p:tav>
                                      </p:tavLst>
                                    </p:anim>
                                    <p:anim calcmode="lin" valueType="num">
                                      <p:cBhvr additive="base">
                                        <p:cTn id="36" dur="500" fill="hold"/>
                                        <p:tgtEl>
                                          <p:spTgt spid="91"/>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92"/>
                                        </p:tgtEl>
                                        <p:attrNameLst>
                                          <p:attrName>style.visibility</p:attrName>
                                        </p:attrNameLst>
                                      </p:cBhvr>
                                      <p:to>
                                        <p:strVal val="visible"/>
                                      </p:to>
                                    </p:set>
                                    <p:anim calcmode="lin" valueType="num">
                                      <p:cBhvr additive="base">
                                        <p:cTn id="39" dur="500" fill="hold"/>
                                        <p:tgtEl>
                                          <p:spTgt spid="92"/>
                                        </p:tgtEl>
                                        <p:attrNameLst>
                                          <p:attrName>ppt_x</p:attrName>
                                        </p:attrNameLst>
                                      </p:cBhvr>
                                      <p:tavLst>
                                        <p:tav tm="0">
                                          <p:val>
                                            <p:strVal val="1+#ppt_w/2"/>
                                          </p:val>
                                        </p:tav>
                                        <p:tav tm="100000">
                                          <p:val>
                                            <p:strVal val="#ppt_x"/>
                                          </p:val>
                                        </p:tav>
                                      </p:tavLst>
                                    </p:anim>
                                    <p:anim calcmode="lin" valueType="num">
                                      <p:cBhvr additive="base">
                                        <p:cTn id="40" dur="500" fill="hold"/>
                                        <p:tgtEl>
                                          <p:spTgt spid="92"/>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89"/>
                                        </p:tgtEl>
                                        <p:attrNameLst>
                                          <p:attrName>style.visibility</p:attrName>
                                        </p:attrNameLst>
                                      </p:cBhvr>
                                      <p:to>
                                        <p:strVal val="visible"/>
                                      </p:to>
                                    </p:set>
                                    <p:anim calcmode="lin" valueType="num">
                                      <p:cBhvr additive="base">
                                        <p:cTn id="43" dur="500" fill="hold"/>
                                        <p:tgtEl>
                                          <p:spTgt spid="89"/>
                                        </p:tgtEl>
                                        <p:attrNameLst>
                                          <p:attrName>ppt_x</p:attrName>
                                        </p:attrNameLst>
                                      </p:cBhvr>
                                      <p:tavLst>
                                        <p:tav tm="0">
                                          <p:val>
                                            <p:strVal val="1+#ppt_w/2"/>
                                          </p:val>
                                        </p:tav>
                                        <p:tav tm="100000">
                                          <p:val>
                                            <p:strVal val="#ppt_x"/>
                                          </p:val>
                                        </p:tav>
                                      </p:tavLst>
                                    </p:anim>
                                    <p:anim calcmode="lin" valueType="num">
                                      <p:cBhvr additive="base">
                                        <p:cTn id="44" dur="500" fill="hold"/>
                                        <p:tgtEl>
                                          <p:spTgt spid="89"/>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90"/>
                                        </p:tgtEl>
                                        <p:attrNameLst>
                                          <p:attrName>style.visibility</p:attrName>
                                        </p:attrNameLst>
                                      </p:cBhvr>
                                      <p:to>
                                        <p:strVal val="visible"/>
                                      </p:to>
                                    </p:set>
                                    <p:anim calcmode="lin" valueType="num">
                                      <p:cBhvr additive="base">
                                        <p:cTn id="47" dur="500" fill="hold"/>
                                        <p:tgtEl>
                                          <p:spTgt spid="90"/>
                                        </p:tgtEl>
                                        <p:attrNameLst>
                                          <p:attrName>ppt_x</p:attrName>
                                        </p:attrNameLst>
                                      </p:cBhvr>
                                      <p:tavLst>
                                        <p:tav tm="0">
                                          <p:val>
                                            <p:strVal val="1+#ppt_w/2"/>
                                          </p:val>
                                        </p:tav>
                                        <p:tav tm="100000">
                                          <p:val>
                                            <p:strVal val="#ppt_x"/>
                                          </p:val>
                                        </p:tav>
                                      </p:tavLst>
                                    </p:anim>
                                    <p:anim calcmode="lin" valueType="num">
                                      <p:cBhvr additive="base">
                                        <p:cTn id="48" dur="500" fill="hold"/>
                                        <p:tgtEl>
                                          <p:spTgt spid="90"/>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87"/>
                                        </p:tgtEl>
                                        <p:attrNameLst>
                                          <p:attrName>style.visibility</p:attrName>
                                        </p:attrNameLst>
                                      </p:cBhvr>
                                      <p:to>
                                        <p:strVal val="visible"/>
                                      </p:to>
                                    </p:set>
                                    <p:anim calcmode="lin" valueType="num">
                                      <p:cBhvr additive="base">
                                        <p:cTn id="51" dur="500" fill="hold"/>
                                        <p:tgtEl>
                                          <p:spTgt spid="87"/>
                                        </p:tgtEl>
                                        <p:attrNameLst>
                                          <p:attrName>ppt_x</p:attrName>
                                        </p:attrNameLst>
                                      </p:cBhvr>
                                      <p:tavLst>
                                        <p:tav tm="0">
                                          <p:val>
                                            <p:strVal val="1+#ppt_w/2"/>
                                          </p:val>
                                        </p:tav>
                                        <p:tav tm="100000">
                                          <p:val>
                                            <p:strVal val="#ppt_x"/>
                                          </p:val>
                                        </p:tav>
                                      </p:tavLst>
                                    </p:anim>
                                    <p:anim calcmode="lin" valueType="num">
                                      <p:cBhvr additive="base">
                                        <p:cTn id="52" dur="500" fill="hold"/>
                                        <p:tgtEl>
                                          <p:spTgt spid="87"/>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88"/>
                                        </p:tgtEl>
                                        <p:attrNameLst>
                                          <p:attrName>style.visibility</p:attrName>
                                        </p:attrNameLst>
                                      </p:cBhvr>
                                      <p:to>
                                        <p:strVal val="visible"/>
                                      </p:to>
                                    </p:set>
                                    <p:anim calcmode="lin" valueType="num">
                                      <p:cBhvr additive="base">
                                        <p:cTn id="55" dur="500" fill="hold"/>
                                        <p:tgtEl>
                                          <p:spTgt spid="88"/>
                                        </p:tgtEl>
                                        <p:attrNameLst>
                                          <p:attrName>ppt_x</p:attrName>
                                        </p:attrNameLst>
                                      </p:cBhvr>
                                      <p:tavLst>
                                        <p:tav tm="0">
                                          <p:val>
                                            <p:strVal val="1+#ppt_w/2"/>
                                          </p:val>
                                        </p:tav>
                                        <p:tav tm="100000">
                                          <p:val>
                                            <p:strVal val="#ppt_x"/>
                                          </p:val>
                                        </p:tav>
                                      </p:tavLst>
                                    </p:anim>
                                    <p:anim calcmode="lin" valueType="num">
                                      <p:cBhvr additive="base">
                                        <p:cTn id="56" dur="500" fill="hold"/>
                                        <p:tgtEl>
                                          <p:spTgt spid="88"/>
                                        </p:tgtEl>
                                        <p:attrNameLst>
                                          <p:attrName>ppt_y</p:attrName>
                                        </p:attrNameLst>
                                      </p:cBhvr>
                                      <p:tavLst>
                                        <p:tav tm="0">
                                          <p:val>
                                            <p:strVal val="#ppt_y"/>
                                          </p:val>
                                        </p:tav>
                                        <p:tav tm="100000">
                                          <p:val>
                                            <p:strVal val="#ppt_y"/>
                                          </p:val>
                                        </p:tav>
                                      </p:tavLst>
                                    </p:anim>
                                  </p:childTnLst>
                                </p:cTn>
                              </p:par>
                            </p:childTnLst>
                          </p:cTn>
                        </p:par>
                        <p:par>
                          <p:cTn id="57" fill="hold">
                            <p:stCondLst>
                              <p:cond delay="3000"/>
                            </p:stCondLst>
                            <p:childTnLst>
                              <p:par>
                                <p:cTn id="58" presetID="10" presetClass="entr" presetSubtype="0" fill="hold" grpId="0" nodeType="afterEffect">
                                  <p:stCondLst>
                                    <p:cond delay="0"/>
                                  </p:stCondLst>
                                  <p:childTnLst>
                                    <p:set>
                                      <p:cBhvr>
                                        <p:cTn id="59" dur="1" fill="hold">
                                          <p:stCondLst>
                                            <p:cond delay="0"/>
                                          </p:stCondLst>
                                        </p:cTn>
                                        <p:tgtEl>
                                          <p:spTgt spid="99"/>
                                        </p:tgtEl>
                                        <p:attrNameLst>
                                          <p:attrName>style.visibility</p:attrName>
                                        </p:attrNameLst>
                                      </p:cBhvr>
                                      <p:to>
                                        <p:strVal val="visible"/>
                                      </p:to>
                                    </p:set>
                                    <p:animEffect transition="in" filter="fade">
                                      <p:cBhvr>
                                        <p:cTn id="60" dur="500"/>
                                        <p:tgtEl>
                                          <p:spTgt spid="99"/>
                                        </p:tgtEl>
                                      </p:cBhvr>
                                    </p:animEffect>
                                  </p:childTnLst>
                                </p:cTn>
                              </p:par>
                            </p:childTnLst>
                          </p:cTn>
                        </p:par>
                        <p:par>
                          <p:cTn id="61" fill="hold">
                            <p:stCondLst>
                              <p:cond delay="3500"/>
                            </p:stCondLst>
                            <p:childTnLst>
                              <p:par>
                                <p:cTn id="62" presetID="22" presetClass="entr" presetSubtype="1" fill="hold" grpId="0" nodeType="afterEffect">
                                  <p:stCondLst>
                                    <p:cond delay="0"/>
                                  </p:stCondLst>
                                  <p:childTnLst>
                                    <p:set>
                                      <p:cBhvr>
                                        <p:cTn id="63" dur="1" fill="hold">
                                          <p:stCondLst>
                                            <p:cond delay="0"/>
                                          </p:stCondLst>
                                        </p:cTn>
                                        <p:tgtEl>
                                          <p:spTgt spid="100"/>
                                        </p:tgtEl>
                                        <p:attrNameLst>
                                          <p:attrName>style.visibility</p:attrName>
                                        </p:attrNameLst>
                                      </p:cBhvr>
                                      <p:to>
                                        <p:strVal val="visible"/>
                                      </p:to>
                                    </p:set>
                                    <p:animEffect transition="in" filter="wipe(up)">
                                      <p:cBhvr>
                                        <p:cTn id="64" dur="500"/>
                                        <p:tgtEl>
                                          <p:spTgt spid="100"/>
                                        </p:tgtEl>
                                      </p:cBhvr>
                                    </p:animEffect>
                                  </p:childTnLst>
                                </p:cTn>
                              </p:par>
                            </p:childTnLst>
                          </p:cTn>
                        </p:par>
                        <p:par>
                          <p:cTn id="65" fill="hold">
                            <p:stCondLst>
                              <p:cond delay="4000"/>
                            </p:stCondLst>
                            <p:childTnLst>
                              <p:par>
                                <p:cTn id="66" presetID="26" presetClass="emph" presetSubtype="0" fill="hold" grpId="1" nodeType="afterEffect">
                                  <p:stCondLst>
                                    <p:cond delay="0"/>
                                  </p:stCondLst>
                                  <p:childTnLst>
                                    <p:animEffect transition="out" filter="fade">
                                      <p:cBhvr>
                                        <p:cTn id="67" dur="500" tmFilter="0, 0; .2, .5; .8, .5; 1, 0"/>
                                        <p:tgtEl>
                                          <p:spTgt spid="93"/>
                                        </p:tgtEl>
                                      </p:cBhvr>
                                    </p:animEffect>
                                    <p:animScale>
                                      <p:cBhvr>
                                        <p:cTn id="68" dur="250" autoRev="1" fill="hold"/>
                                        <p:tgtEl>
                                          <p:spTgt spid="93"/>
                                        </p:tgtEl>
                                      </p:cBhvr>
                                      <p:by x="105000" y="105000"/>
                                    </p:animScale>
                                  </p:childTnLst>
                                </p:cTn>
                              </p:par>
                              <p:par>
                                <p:cTn id="69" presetID="26" presetClass="emph" presetSubtype="0" fill="hold" grpId="1" nodeType="withEffect">
                                  <p:stCondLst>
                                    <p:cond delay="0"/>
                                  </p:stCondLst>
                                  <p:childTnLst>
                                    <p:animEffect transition="out" filter="fade">
                                      <p:cBhvr>
                                        <p:cTn id="70" dur="500" tmFilter="0, 0; .2, .5; .8, .5; 1, 0"/>
                                        <p:tgtEl>
                                          <p:spTgt spid="94"/>
                                        </p:tgtEl>
                                      </p:cBhvr>
                                    </p:animEffect>
                                    <p:animScale>
                                      <p:cBhvr>
                                        <p:cTn id="71" dur="250" autoRev="1" fill="hold"/>
                                        <p:tgtEl>
                                          <p:spTgt spid="94"/>
                                        </p:tgtEl>
                                      </p:cBhvr>
                                      <p:by x="105000" y="105000"/>
                                    </p:animScale>
                                  </p:childTnLst>
                                </p:cTn>
                              </p:par>
                              <p:par>
                                <p:cTn id="72" presetID="26" presetClass="emph" presetSubtype="0" fill="hold" grpId="1" nodeType="withEffect">
                                  <p:stCondLst>
                                    <p:cond delay="500"/>
                                  </p:stCondLst>
                                  <p:childTnLst>
                                    <p:animEffect transition="out" filter="fade">
                                      <p:cBhvr>
                                        <p:cTn id="73" dur="500" tmFilter="0, 0; .2, .5; .8, .5; 1, 0"/>
                                        <p:tgtEl>
                                          <p:spTgt spid="91"/>
                                        </p:tgtEl>
                                      </p:cBhvr>
                                    </p:animEffect>
                                    <p:animScale>
                                      <p:cBhvr>
                                        <p:cTn id="74" dur="250" autoRev="1" fill="hold"/>
                                        <p:tgtEl>
                                          <p:spTgt spid="91"/>
                                        </p:tgtEl>
                                      </p:cBhvr>
                                      <p:by x="105000" y="105000"/>
                                    </p:animScale>
                                  </p:childTnLst>
                                </p:cTn>
                              </p:par>
                              <p:par>
                                <p:cTn id="75" presetID="26" presetClass="emph" presetSubtype="0" fill="hold" grpId="1" nodeType="withEffect">
                                  <p:stCondLst>
                                    <p:cond delay="500"/>
                                  </p:stCondLst>
                                  <p:childTnLst>
                                    <p:animEffect transition="out" filter="fade">
                                      <p:cBhvr>
                                        <p:cTn id="76" dur="500" tmFilter="0, 0; .2, .5; .8, .5; 1, 0"/>
                                        <p:tgtEl>
                                          <p:spTgt spid="92"/>
                                        </p:tgtEl>
                                      </p:cBhvr>
                                    </p:animEffect>
                                    <p:animScale>
                                      <p:cBhvr>
                                        <p:cTn id="77" dur="250" autoRev="1" fill="hold"/>
                                        <p:tgtEl>
                                          <p:spTgt spid="92"/>
                                        </p:tgtEl>
                                      </p:cBhvr>
                                      <p:by x="105000" y="105000"/>
                                    </p:animScale>
                                  </p:childTnLst>
                                </p:cTn>
                              </p:par>
                              <p:par>
                                <p:cTn id="78" presetID="26" presetClass="emph" presetSubtype="0" fill="hold" grpId="1" nodeType="withEffect">
                                  <p:stCondLst>
                                    <p:cond delay="250"/>
                                  </p:stCondLst>
                                  <p:childTnLst>
                                    <p:animEffect transition="out" filter="fade">
                                      <p:cBhvr>
                                        <p:cTn id="79" dur="500" tmFilter="0, 0; .2, .5; .8, .5; 1, 0"/>
                                        <p:tgtEl>
                                          <p:spTgt spid="89"/>
                                        </p:tgtEl>
                                      </p:cBhvr>
                                    </p:animEffect>
                                    <p:animScale>
                                      <p:cBhvr>
                                        <p:cTn id="80" dur="250" autoRev="1" fill="hold"/>
                                        <p:tgtEl>
                                          <p:spTgt spid="89"/>
                                        </p:tgtEl>
                                      </p:cBhvr>
                                      <p:by x="105000" y="105000"/>
                                    </p:animScale>
                                  </p:childTnLst>
                                </p:cTn>
                              </p:par>
                              <p:par>
                                <p:cTn id="81" presetID="26" presetClass="emph" presetSubtype="0" fill="hold" grpId="1" nodeType="withEffect">
                                  <p:stCondLst>
                                    <p:cond delay="250"/>
                                  </p:stCondLst>
                                  <p:childTnLst>
                                    <p:animEffect transition="out" filter="fade">
                                      <p:cBhvr>
                                        <p:cTn id="82" dur="500" tmFilter="0, 0; .2, .5; .8, .5; 1, 0"/>
                                        <p:tgtEl>
                                          <p:spTgt spid="90"/>
                                        </p:tgtEl>
                                      </p:cBhvr>
                                    </p:animEffect>
                                    <p:animScale>
                                      <p:cBhvr>
                                        <p:cTn id="83" dur="250" autoRev="1" fill="hold"/>
                                        <p:tgtEl>
                                          <p:spTgt spid="90"/>
                                        </p:tgtEl>
                                      </p:cBhvr>
                                      <p:by x="105000" y="105000"/>
                                    </p:animScale>
                                  </p:childTnLst>
                                </p:cTn>
                              </p:par>
                              <p:par>
                                <p:cTn id="84" presetID="26" presetClass="emph" presetSubtype="0" fill="hold" grpId="1" nodeType="withEffect">
                                  <p:stCondLst>
                                    <p:cond delay="750"/>
                                  </p:stCondLst>
                                  <p:childTnLst>
                                    <p:animEffect transition="out" filter="fade">
                                      <p:cBhvr>
                                        <p:cTn id="85" dur="500" tmFilter="0, 0; .2, .5; .8, .5; 1, 0"/>
                                        <p:tgtEl>
                                          <p:spTgt spid="87"/>
                                        </p:tgtEl>
                                      </p:cBhvr>
                                    </p:animEffect>
                                    <p:animScale>
                                      <p:cBhvr>
                                        <p:cTn id="86" dur="250" autoRev="1" fill="hold"/>
                                        <p:tgtEl>
                                          <p:spTgt spid="87"/>
                                        </p:tgtEl>
                                      </p:cBhvr>
                                      <p:by x="105000" y="105000"/>
                                    </p:animScale>
                                  </p:childTnLst>
                                </p:cTn>
                              </p:par>
                              <p:par>
                                <p:cTn id="87" presetID="26" presetClass="emph" presetSubtype="0" fill="hold" grpId="1" nodeType="withEffect">
                                  <p:stCondLst>
                                    <p:cond delay="750"/>
                                  </p:stCondLst>
                                  <p:childTnLst>
                                    <p:animEffect transition="out" filter="fade">
                                      <p:cBhvr>
                                        <p:cTn id="88" dur="500" tmFilter="0, 0; .2, .5; .8, .5; 1, 0"/>
                                        <p:tgtEl>
                                          <p:spTgt spid="88"/>
                                        </p:tgtEl>
                                      </p:cBhvr>
                                    </p:animEffect>
                                    <p:animScale>
                                      <p:cBhvr>
                                        <p:cTn id="89" dur="250" autoRev="1" fill="hold"/>
                                        <p:tgtEl>
                                          <p:spTgt spid="8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3" grpId="1" animBg="1"/>
      <p:bldP spid="94" grpId="0"/>
      <p:bldP spid="94" grpId="1"/>
      <p:bldP spid="91" grpId="0" animBg="1"/>
      <p:bldP spid="91" grpId="1" animBg="1"/>
      <p:bldP spid="92" grpId="0"/>
      <p:bldP spid="92" grpId="1"/>
      <p:bldP spid="89" grpId="0" animBg="1"/>
      <p:bldP spid="89" grpId="1" animBg="1"/>
      <p:bldP spid="90" grpId="0"/>
      <p:bldP spid="90" grpId="1"/>
      <p:bldP spid="87" grpId="0" animBg="1"/>
      <p:bldP spid="87" grpId="1" animBg="1"/>
      <p:bldP spid="88" grpId="0"/>
      <p:bldP spid="88" grpId="1"/>
      <p:bldGraphic spid="96" grpId="0">
        <p:bldSub>
          <a:bldChart bld="series"/>
        </p:bldSub>
      </p:bldGraphic>
      <p:bldP spid="99" grpId="0"/>
      <p:bldP spid="10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10"/>
          <p:cNvSpPr/>
          <p:nvPr/>
        </p:nvSpPr>
        <p:spPr>
          <a:xfrm>
            <a:off x="4989240" y="1600200"/>
            <a:ext cx="5982926" cy="4267200"/>
          </a:xfrm>
          <a:prstGeom prst="rect">
            <a:avLst/>
          </a:prstGeom>
          <a:blipFill>
            <a:blip r:embed="rId3"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5">
              <a:tabLst>
                <a:tab pos="2455545" algn="l"/>
              </a:tabLst>
            </a:pPr>
            <a:endParaRPr lang="en-US" dirty="0">
              <a:solidFill>
                <a:schemeClr val="tx1">
                  <a:lumMod val="85000"/>
                  <a:lumOff val="15000"/>
                </a:schemeClr>
              </a:solidFill>
            </a:endParaRPr>
          </a:p>
        </p:txBody>
      </p:sp>
      <p:sp>
        <p:nvSpPr>
          <p:cNvPr id="36" name="Rectangle 22"/>
          <p:cNvSpPr/>
          <p:nvPr/>
        </p:nvSpPr>
        <p:spPr>
          <a:xfrm>
            <a:off x="1219836" y="2459879"/>
            <a:ext cx="5485686" cy="14991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矩形 47"/>
          <p:cNvSpPr>
            <a:spLocks noChangeArrowheads="1"/>
          </p:cNvSpPr>
          <p:nvPr/>
        </p:nvSpPr>
        <p:spPr bwMode="auto">
          <a:xfrm>
            <a:off x="1504436" y="3024502"/>
            <a:ext cx="5088806" cy="8448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8573" tIns="34287" rIns="68573" bIns="34287">
            <a:spAutoFit/>
          </a:bodyPr>
          <a:lstStyle/>
          <a:p>
            <a:pPr>
              <a:lnSpc>
                <a:spcPct val="120000"/>
              </a:lnSpc>
              <a:spcBef>
                <a:spcPct val="0"/>
              </a:spcBef>
            </a:pPr>
            <a:r>
              <a:rPr lang="zh-CN" altLang="en-US" sz="1400" dirty="0">
                <a:solidFill>
                  <a:schemeClr val="bg1">
                    <a:lumMod val="95000"/>
                  </a:schemeClr>
                </a:solidFill>
                <a:latin typeface="微软雅黑" panose="020B0503020204020204" pitchFamily="34" charset="-122"/>
                <a:ea typeface="微软雅黑" panose="020B0503020204020204" pitchFamily="34" charset="-122"/>
                <a:sym typeface="微软雅黑" panose="020B0503020204020204" pitchFamily="34" charset="-122"/>
              </a:rPr>
              <a:t>右键点击图片选择设置图片格式可直接替换图片。</a:t>
            </a:r>
            <a:r>
              <a:rPr lang="zh-CN" altLang="en-US" sz="14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en-US" altLang="zh-CN" sz="1400" dirty="0">
              <a:solidFill>
                <a:schemeClr val="bg1">
                  <a:lumMod val="9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5" name="矩形 3"/>
          <p:cNvSpPr>
            <a:spLocks noChangeArrowheads="1"/>
          </p:cNvSpPr>
          <p:nvPr/>
        </p:nvSpPr>
        <p:spPr bwMode="auto">
          <a:xfrm>
            <a:off x="1504436" y="2567618"/>
            <a:ext cx="1831018" cy="4077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8573" tIns="34287" rIns="68573" bIns="34287">
            <a:spAutoFit/>
          </a:bodyPr>
          <a:lstStyle/>
          <a:p>
            <a:pPr>
              <a:spcBef>
                <a:spcPct val="0"/>
              </a:spcBef>
              <a:buFont typeface="Arial" panose="020B0604020202020204" pitchFamily="34" charset="0"/>
              <a:buNone/>
            </a:pPr>
            <a:r>
              <a:rPr lang="zh-CN" altLang="en-US" sz="2200" b="1" dirty="0">
                <a:solidFill>
                  <a:schemeClr val="bg1">
                    <a:lumMod val="95000"/>
                  </a:schemeClr>
                </a:solidFill>
                <a:latin typeface="Arial" panose="020B0604020202020204" pitchFamily="34" charset="0"/>
                <a:ea typeface="微软雅黑" panose="020B0503020204020204" pitchFamily="34" charset="-122"/>
                <a:cs typeface="Arial" panose="020B0604020202020204" pitchFamily="34" charset="0"/>
              </a:rPr>
              <a:t>点击添加标题</a:t>
            </a:r>
          </a:p>
        </p:txBody>
      </p:sp>
      <p:sp>
        <p:nvSpPr>
          <p:cNvPr id="46" name="TextBox 14"/>
          <p:cNvSpPr txBox="1"/>
          <p:nvPr/>
        </p:nvSpPr>
        <p:spPr>
          <a:xfrm>
            <a:off x="1219836" y="1749738"/>
            <a:ext cx="3722947" cy="630942"/>
          </a:xfrm>
          <a:prstGeom prst="rect">
            <a:avLst/>
          </a:prstGeom>
          <a:noFill/>
        </p:spPr>
        <p:txBody>
          <a:bodyPr wrap="square" rtlCol="0">
            <a:spAutoFit/>
          </a:bodyPr>
          <a:lstStyle/>
          <a:p>
            <a:pPr marL="36195" algn="r">
              <a:lnSpc>
                <a:spcPct val="125000"/>
              </a:lnSpc>
              <a:spcBef>
                <a:spcPct val="0"/>
              </a:spcBef>
            </a:pP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综合描述说明，在此录入上述图表的综合描述说明。</a:t>
            </a:r>
            <a:endParaRPr lang="en-US" altLang="zh-CN" sz="1400" dirty="0">
              <a:solidFill>
                <a:schemeClr val="tx1">
                  <a:lumMod val="75000"/>
                  <a:lumOff val="25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graphicFrame>
        <p:nvGraphicFramePr>
          <p:cNvPr id="5" name="图表 4"/>
          <p:cNvGraphicFramePr/>
          <p:nvPr/>
        </p:nvGraphicFramePr>
        <p:xfrm>
          <a:off x="1219836" y="4029409"/>
          <a:ext cx="3769404" cy="1945733"/>
        </p:xfrm>
        <a:graphic>
          <a:graphicData uri="http://schemas.openxmlformats.org/drawingml/2006/chart">
            <c:chart xmlns:c="http://schemas.openxmlformats.org/drawingml/2006/chart" xmlns:r="http://schemas.openxmlformats.org/officeDocument/2006/relationships" r:id="rId4"/>
          </a:graphicData>
        </a:graphic>
      </p:graphicFrame>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44000">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14:bounceEnd="44000">
                                          <p:cBhvr additive="base">
                                            <p:cTn id="7" dur="500" fill="hold"/>
                                            <p:tgtEl>
                                              <p:spTgt spid="35"/>
                                            </p:tgtEl>
                                            <p:attrNameLst>
                                              <p:attrName>ppt_x</p:attrName>
                                            </p:attrNameLst>
                                          </p:cBhvr>
                                          <p:tavLst>
                                            <p:tav tm="0">
                                              <p:val>
                                                <p:strVal val="1+#ppt_w/2"/>
                                              </p:val>
                                            </p:tav>
                                            <p:tav tm="100000">
                                              <p:val>
                                                <p:strVal val="#ppt_x"/>
                                              </p:val>
                                            </p:tav>
                                          </p:tavLst>
                                        </p:anim>
                                        <p:anim calcmode="lin" valueType="num" p14:bounceEnd="44000">
                                          <p:cBhvr additive="base">
                                            <p:cTn id="8" dur="500" fill="hold"/>
                                            <p:tgtEl>
                                              <p:spTgt spid="3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iterate type="lt">
                                        <p:tmPct val="10000"/>
                                      </p:iterate>
                                      <p:childTnLst>
                                        <p:set>
                                          <p:cBhvr>
                                            <p:cTn id="11" dur="1" fill="hold">
                                              <p:stCondLst>
                                                <p:cond delay="0"/>
                                              </p:stCondLst>
                                            </p:cTn>
                                            <p:tgtEl>
                                              <p:spTgt spid="46"/>
                                            </p:tgtEl>
                                            <p:attrNameLst>
                                              <p:attrName>style.visibility</p:attrName>
                                            </p:attrNameLst>
                                          </p:cBhvr>
                                          <p:to>
                                            <p:strVal val="visible"/>
                                          </p:to>
                                        </p:set>
                                        <p:animEffect transition="in" filter="fade">
                                          <p:cBhvr>
                                            <p:cTn id="12" dur="150"/>
                                            <p:tgtEl>
                                              <p:spTgt spid="46"/>
                                            </p:tgtEl>
                                          </p:cBhvr>
                                        </p:animEffect>
                                      </p:childTnLst>
                                    </p:cTn>
                                  </p:par>
                                </p:childTnLst>
                              </p:cTn>
                            </p:par>
                            <p:par>
                              <p:cTn id="13" fill="hold">
                                <p:stCondLst>
                                  <p:cond delay="615"/>
                                </p:stCondLst>
                                <p:childTnLst>
                                  <p:par>
                                    <p:cTn id="14" presetID="49" presetClass="entr" presetSubtype="0" decel="10000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anim calcmode="lin" valueType="num">
                                          <p:cBhvr>
                                            <p:cTn id="16" dur="500" fill="hold"/>
                                            <p:tgtEl>
                                              <p:spTgt spid="36"/>
                                            </p:tgtEl>
                                            <p:attrNameLst>
                                              <p:attrName>ppt_w</p:attrName>
                                            </p:attrNameLst>
                                          </p:cBhvr>
                                          <p:tavLst>
                                            <p:tav tm="0">
                                              <p:val>
                                                <p:fltVal val="0"/>
                                              </p:val>
                                            </p:tav>
                                            <p:tav tm="100000">
                                              <p:val>
                                                <p:strVal val="#ppt_w"/>
                                              </p:val>
                                            </p:tav>
                                          </p:tavLst>
                                        </p:anim>
                                        <p:anim calcmode="lin" valueType="num">
                                          <p:cBhvr>
                                            <p:cTn id="17" dur="500" fill="hold"/>
                                            <p:tgtEl>
                                              <p:spTgt spid="36"/>
                                            </p:tgtEl>
                                            <p:attrNameLst>
                                              <p:attrName>ppt_h</p:attrName>
                                            </p:attrNameLst>
                                          </p:cBhvr>
                                          <p:tavLst>
                                            <p:tav tm="0">
                                              <p:val>
                                                <p:fltVal val="0"/>
                                              </p:val>
                                            </p:tav>
                                            <p:tav tm="100000">
                                              <p:val>
                                                <p:strVal val="#ppt_h"/>
                                              </p:val>
                                            </p:tav>
                                          </p:tavLst>
                                        </p:anim>
                                        <p:anim calcmode="lin" valueType="num">
                                          <p:cBhvr>
                                            <p:cTn id="18" dur="500" fill="hold"/>
                                            <p:tgtEl>
                                              <p:spTgt spid="36"/>
                                            </p:tgtEl>
                                            <p:attrNameLst>
                                              <p:attrName>style.rotation</p:attrName>
                                            </p:attrNameLst>
                                          </p:cBhvr>
                                          <p:tavLst>
                                            <p:tav tm="0">
                                              <p:val>
                                                <p:fltVal val="360"/>
                                              </p:val>
                                            </p:tav>
                                            <p:tav tm="100000">
                                              <p:val>
                                                <p:fltVal val="0"/>
                                              </p:val>
                                            </p:tav>
                                          </p:tavLst>
                                        </p:anim>
                                        <p:animEffect transition="in" filter="fade">
                                          <p:cBhvr>
                                            <p:cTn id="19" dur="500"/>
                                            <p:tgtEl>
                                              <p:spTgt spid="36"/>
                                            </p:tgtEl>
                                          </p:cBhvr>
                                        </p:animEffect>
                                      </p:childTnLst>
                                    </p:cTn>
                                  </p:par>
                                </p:childTnLst>
                              </p:cTn>
                            </p:par>
                            <p:par>
                              <p:cTn id="20" fill="hold">
                                <p:stCondLst>
                                  <p:cond delay="1115"/>
                                </p:stCondLst>
                                <p:childTnLst>
                                  <p:par>
                                    <p:cTn id="21" presetID="10" presetClass="entr" presetSubtype="0"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fade">
                                          <p:cBhvr>
                                            <p:cTn id="26" dur="500"/>
                                            <p:tgtEl>
                                              <p:spTgt spid="44"/>
                                            </p:tgtEl>
                                          </p:cBhvr>
                                        </p:animEffect>
                                      </p:childTnLst>
                                    </p:cTn>
                                  </p:par>
                                </p:childTnLst>
                              </p:cTn>
                            </p:par>
                            <p:par>
                              <p:cTn id="27" fill="hold">
                                <p:stCondLst>
                                  <p:cond delay="1615"/>
                                </p:stCondLst>
                                <p:childTnLst>
                                  <p:par>
                                    <p:cTn id="28" presetID="22" presetClass="entr" presetSubtype="4" fill="hold" grpId="0" nodeType="after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wipe(down)">
                                          <p:cBhvr>
                                            <p:cTn id="3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44" grpId="0"/>
          <p:bldP spid="45" grpId="0"/>
          <p:bldP spid="46" grpId="0"/>
          <p:bldGraphic spid="5" grpId="0">
            <p:bldAsOne/>
          </p:bldGraphic>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1+#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iterate type="lt">
                                        <p:tmPct val="10000"/>
                                      </p:iterate>
                                      <p:childTnLst>
                                        <p:set>
                                          <p:cBhvr>
                                            <p:cTn id="11" dur="1" fill="hold">
                                              <p:stCondLst>
                                                <p:cond delay="0"/>
                                              </p:stCondLst>
                                            </p:cTn>
                                            <p:tgtEl>
                                              <p:spTgt spid="46"/>
                                            </p:tgtEl>
                                            <p:attrNameLst>
                                              <p:attrName>style.visibility</p:attrName>
                                            </p:attrNameLst>
                                          </p:cBhvr>
                                          <p:to>
                                            <p:strVal val="visible"/>
                                          </p:to>
                                        </p:set>
                                        <p:animEffect transition="in" filter="fade">
                                          <p:cBhvr>
                                            <p:cTn id="12" dur="150"/>
                                            <p:tgtEl>
                                              <p:spTgt spid="46"/>
                                            </p:tgtEl>
                                          </p:cBhvr>
                                        </p:animEffect>
                                      </p:childTnLst>
                                    </p:cTn>
                                  </p:par>
                                </p:childTnLst>
                              </p:cTn>
                            </p:par>
                            <p:par>
                              <p:cTn id="13" fill="hold">
                                <p:stCondLst>
                                  <p:cond delay="615"/>
                                </p:stCondLst>
                                <p:childTnLst>
                                  <p:par>
                                    <p:cTn id="14" presetID="49" presetClass="entr" presetSubtype="0" decel="100000" fill="hold" grpId="0" nodeType="afterEffect">
                                      <p:stCondLst>
                                        <p:cond delay="0"/>
                                      </p:stCondLst>
                                      <p:childTnLst>
                                        <p:set>
                                          <p:cBhvr>
                                            <p:cTn id="15" dur="1" fill="hold">
                                              <p:stCondLst>
                                                <p:cond delay="0"/>
                                              </p:stCondLst>
                                            </p:cTn>
                                            <p:tgtEl>
                                              <p:spTgt spid="36"/>
                                            </p:tgtEl>
                                            <p:attrNameLst>
                                              <p:attrName>style.visibility</p:attrName>
                                            </p:attrNameLst>
                                          </p:cBhvr>
                                          <p:to>
                                            <p:strVal val="visible"/>
                                          </p:to>
                                        </p:set>
                                        <p:anim calcmode="lin" valueType="num">
                                          <p:cBhvr>
                                            <p:cTn id="16" dur="500" fill="hold"/>
                                            <p:tgtEl>
                                              <p:spTgt spid="36"/>
                                            </p:tgtEl>
                                            <p:attrNameLst>
                                              <p:attrName>ppt_w</p:attrName>
                                            </p:attrNameLst>
                                          </p:cBhvr>
                                          <p:tavLst>
                                            <p:tav tm="0">
                                              <p:val>
                                                <p:fltVal val="0"/>
                                              </p:val>
                                            </p:tav>
                                            <p:tav tm="100000">
                                              <p:val>
                                                <p:strVal val="#ppt_w"/>
                                              </p:val>
                                            </p:tav>
                                          </p:tavLst>
                                        </p:anim>
                                        <p:anim calcmode="lin" valueType="num">
                                          <p:cBhvr>
                                            <p:cTn id="17" dur="500" fill="hold"/>
                                            <p:tgtEl>
                                              <p:spTgt spid="36"/>
                                            </p:tgtEl>
                                            <p:attrNameLst>
                                              <p:attrName>ppt_h</p:attrName>
                                            </p:attrNameLst>
                                          </p:cBhvr>
                                          <p:tavLst>
                                            <p:tav tm="0">
                                              <p:val>
                                                <p:fltVal val="0"/>
                                              </p:val>
                                            </p:tav>
                                            <p:tav tm="100000">
                                              <p:val>
                                                <p:strVal val="#ppt_h"/>
                                              </p:val>
                                            </p:tav>
                                          </p:tavLst>
                                        </p:anim>
                                        <p:anim calcmode="lin" valueType="num">
                                          <p:cBhvr>
                                            <p:cTn id="18" dur="500" fill="hold"/>
                                            <p:tgtEl>
                                              <p:spTgt spid="36"/>
                                            </p:tgtEl>
                                            <p:attrNameLst>
                                              <p:attrName>style.rotation</p:attrName>
                                            </p:attrNameLst>
                                          </p:cBhvr>
                                          <p:tavLst>
                                            <p:tav tm="0">
                                              <p:val>
                                                <p:fltVal val="360"/>
                                              </p:val>
                                            </p:tav>
                                            <p:tav tm="100000">
                                              <p:val>
                                                <p:fltVal val="0"/>
                                              </p:val>
                                            </p:tav>
                                          </p:tavLst>
                                        </p:anim>
                                        <p:animEffect transition="in" filter="fade">
                                          <p:cBhvr>
                                            <p:cTn id="19" dur="500"/>
                                            <p:tgtEl>
                                              <p:spTgt spid="36"/>
                                            </p:tgtEl>
                                          </p:cBhvr>
                                        </p:animEffect>
                                      </p:childTnLst>
                                    </p:cTn>
                                  </p:par>
                                </p:childTnLst>
                              </p:cTn>
                            </p:par>
                            <p:par>
                              <p:cTn id="20" fill="hold">
                                <p:stCondLst>
                                  <p:cond delay="1115"/>
                                </p:stCondLst>
                                <p:childTnLst>
                                  <p:par>
                                    <p:cTn id="21" presetID="10" presetClass="entr" presetSubtype="0"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fade">
                                          <p:cBhvr>
                                            <p:cTn id="26" dur="500"/>
                                            <p:tgtEl>
                                              <p:spTgt spid="44"/>
                                            </p:tgtEl>
                                          </p:cBhvr>
                                        </p:animEffect>
                                      </p:childTnLst>
                                    </p:cTn>
                                  </p:par>
                                </p:childTnLst>
                              </p:cTn>
                            </p:par>
                            <p:par>
                              <p:cTn id="27" fill="hold">
                                <p:stCondLst>
                                  <p:cond delay="1615"/>
                                </p:stCondLst>
                                <p:childTnLst>
                                  <p:par>
                                    <p:cTn id="28" presetID="22" presetClass="entr" presetSubtype="4" fill="hold" grpId="0" nodeType="after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wipe(down)">
                                          <p:cBhvr>
                                            <p:cTn id="3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44" grpId="0"/>
          <p:bldP spid="45" grpId="0"/>
          <p:bldP spid="46" grpId="0"/>
          <p:bldGraphic spid="5" grpId="0">
            <p:bldAsOne/>
          </p:bldGraphic>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椭圆 70"/>
          <p:cNvSpPr/>
          <p:nvPr/>
        </p:nvSpPr>
        <p:spPr>
          <a:xfrm>
            <a:off x="1404273" y="1367227"/>
            <a:ext cx="2271850" cy="2272146"/>
          </a:xfrm>
          <a:prstGeom prst="ellipse">
            <a:avLst/>
          </a:prstGeom>
          <a:blipFill>
            <a:blip r:embed="rId3" cstate="print">
              <a:extLst>
                <a:ext uri="{BEBA8EAE-BF5A-486C-A8C5-ECC9F3942E4B}">
                  <a14:imgProps xmlns:a14="http://schemas.microsoft.com/office/drawing/2010/main" xmlns="">
                    <a14:imgLayer r:embed="rId4">
                      <a14:imgEffect>
                        <a14:saturation sat="0"/>
                      </a14:imgEffect>
                    </a14:imgLayer>
                  </a14:imgProps>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椭圆 76"/>
          <p:cNvSpPr/>
          <p:nvPr/>
        </p:nvSpPr>
        <p:spPr>
          <a:xfrm>
            <a:off x="3774809" y="1367227"/>
            <a:ext cx="2271850" cy="22721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p:cNvSpPr/>
          <p:nvPr/>
        </p:nvSpPr>
        <p:spPr>
          <a:xfrm>
            <a:off x="6145344" y="1367227"/>
            <a:ext cx="2271850" cy="2272146"/>
          </a:xfrm>
          <a:prstGeom prst="ellipse">
            <a:avLst/>
          </a:prstGeom>
          <a:blipFill>
            <a:blip r:embed="rId5" cstate="print">
              <a:grayscl/>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椭圆 82"/>
          <p:cNvSpPr/>
          <p:nvPr/>
        </p:nvSpPr>
        <p:spPr>
          <a:xfrm>
            <a:off x="8515879" y="1367227"/>
            <a:ext cx="2271850" cy="2272146"/>
          </a:xfrm>
          <a:prstGeom prst="ellipse">
            <a:avLst/>
          </a:prstGeom>
          <a:blipFill>
            <a:blip r:embed="rId6" cstate="print">
              <a:grayscl/>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p:cNvSpPr/>
          <p:nvPr/>
        </p:nvSpPr>
        <p:spPr>
          <a:xfrm>
            <a:off x="1404273" y="3750208"/>
            <a:ext cx="2271850" cy="2272146"/>
          </a:xfrm>
          <a:prstGeom prst="ellipse">
            <a:avLst/>
          </a:prstGeom>
          <a:blipFill>
            <a:blip r:embed="rId7" cstate="print">
              <a:grayscl/>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p:cNvSpPr/>
          <p:nvPr/>
        </p:nvSpPr>
        <p:spPr>
          <a:xfrm>
            <a:off x="3774809" y="3750208"/>
            <a:ext cx="2271850" cy="2272146"/>
          </a:xfrm>
          <a:prstGeom prst="ellipse">
            <a:avLst/>
          </a:prstGeom>
          <a:blipFill>
            <a:blip r:embed="rId8" cstate="print">
              <a:grayscl/>
            </a:blip>
            <a:srcRect/>
            <a:stretch>
              <a:fillRect r="7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p:cNvSpPr/>
          <p:nvPr/>
        </p:nvSpPr>
        <p:spPr>
          <a:xfrm>
            <a:off x="6145344" y="3750208"/>
            <a:ext cx="2271850" cy="2272146"/>
          </a:xfrm>
          <a:prstGeom prst="ellipse">
            <a:avLst/>
          </a:prstGeom>
          <a:blipFill>
            <a:blip r:embed="rId9" cstate="print">
              <a:grayscl/>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p:cNvSpPr/>
          <p:nvPr/>
        </p:nvSpPr>
        <p:spPr>
          <a:xfrm>
            <a:off x="8515879" y="3750208"/>
            <a:ext cx="2271850" cy="22721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矩形 87"/>
          <p:cNvSpPr/>
          <p:nvPr/>
        </p:nvSpPr>
        <p:spPr>
          <a:xfrm>
            <a:off x="8814527" y="4047314"/>
            <a:ext cx="1817409" cy="1772793"/>
          </a:xfrm>
          <a:prstGeom prst="rect">
            <a:avLst/>
          </a:prstGeom>
        </p:spPr>
        <p:txBody>
          <a:bodyPr wrap="square">
            <a:spAutoFit/>
          </a:bodyPr>
          <a:lstStyle/>
          <a:p>
            <a:pPr algn="ctr">
              <a:lnSpc>
                <a:spcPct val="130000"/>
              </a:lnSpc>
              <a:spcBef>
                <a:spcPct val="0"/>
              </a:spcBef>
              <a:buNone/>
            </a:pPr>
            <a:r>
              <a:rPr lang="zh-CN" altLang="en-US" sz="1400" dirty="0">
                <a:solidFill>
                  <a:schemeClr val="bg1">
                    <a:lumMod val="9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a:t>
            </a:r>
            <a:r>
              <a:rPr lang="zh-CN" altLang="en-US" sz="1400" dirty="0">
                <a:solidFill>
                  <a:schemeClr val="bg1">
                    <a:lumMod val="95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描述说明</a:t>
            </a:r>
            <a:endParaRPr lang="zh-CN" altLang="en-US" sz="14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89" name="矩形 47"/>
          <p:cNvSpPr>
            <a:spLocks noChangeArrowheads="1"/>
          </p:cNvSpPr>
          <p:nvPr/>
        </p:nvSpPr>
        <p:spPr bwMode="auto">
          <a:xfrm>
            <a:off x="3897975" y="2213147"/>
            <a:ext cx="2019871" cy="114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8573" tIns="34287" rIns="68573" bIns="34287">
            <a:spAutoFit/>
          </a:bodyPr>
          <a:lstStyle/>
          <a:p>
            <a:pPr algn="ctr">
              <a:lnSpc>
                <a:spcPct val="120000"/>
              </a:lnSpc>
              <a:spcBef>
                <a:spcPct val="0"/>
              </a:spcBef>
            </a:pPr>
            <a:r>
              <a:rPr lang="zh-CN" altLang="en-US" sz="14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右键点击图片选择设置图片格式可直接替换图片，在此录入上述图表的综合描述说明。</a:t>
            </a:r>
            <a:endParaRPr lang="en-US" altLang="zh-CN" sz="14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0" name="矩形 3"/>
          <p:cNvSpPr>
            <a:spLocks noChangeArrowheads="1"/>
          </p:cNvSpPr>
          <p:nvPr/>
        </p:nvSpPr>
        <p:spPr bwMode="auto">
          <a:xfrm>
            <a:off x="4274493" y="1722224"/>
            <a:ext cx="1266834" cy="4077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8573" tIns="34287" rIns="68573" bIns="34287">
            <a:spAutoFit/>
          </a:bodyPr>
          <a:lstStyle/>
          <a:p>
            <a:pPr algn="ctr">
              <a:spcBef>
                <a:spcPct val="0"/>
              </a:spcBef>
              <a:buFont typeface="Arial" panose="020B0604020202020204" pitchFamily="34" charset="0"/>
              <a:buNone/>
            </a:pPr>
            <a:r>
              <a:rPr lang="zh-CN" altLang="en-US" sz="2200" b="1" dirty="0">
                <a:solidFill>
                  <a:schemeClr val="bg1"/>
                </a:solidFill>
                <a:latin typeface="Arial" panose="020B0604020202020204" pitchFamily="34" charset="0"/>
                <a:ea typeface="微软雅黑" panose="020B0503020204020204" pitchFamily="34" charset="-122"/>
                <a:cs typeface="Arial" panose="020B0604020202020204" pitchFamily="34" charset="0"/>
              </a:rPr>
              <a:t>添加标题</a:t>
            </a:r>
          </a:p>
        </p:txBody>
      </p:sp>
      <p:sp>
        <p:nvSpPr>
          <p:cNvPr id="2" name="标题 1"/>
          <p:cNvSpPr>
            <a:spLocks noGrp="1"/>
          </p:cNvSpPr>
          <p:nvPr>
            <p:ph type="title"/>
          </p:nvPr>
        </p:nvSpPr>
        <p:spPr/>
        <p:txBody>
          <a:bodyPr>
            <a:normAutofit fontScale="90000"/>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Tm="0">
        <p:fade/>
      </p:transition>
    </mc:Choice>
    <mc:Fallback>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249"/>
                                          </p:stCondLst>
                                        </p:cTn>
                                        <p:tgtEl>
                                          <p:spTgt spid="71"/>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249"/>
                                          </p:stCondLst>
                                        </p:cTn>
                                        <p:tgtEl>
                                          <p:spTgt spid="85"/>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0"/>
                                  </p:stCondLst>
                                  <p:childTnLst>
                                    <p:set>
                                      <p:cBhvr>
                                        <p:cTn id="12" dur="1" fill="hold">
                                          <p:stCondLst>
                                            <p:cond delay="249"/>
                                          </p:stCondLst>
                                        </p:cTn>
                                        <p:tgtEl>
                                          <p:spTgt spid="82"/>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grpId="0" nodeType="afterEffect">
                                  <p:stCondLst>
                                    <p:cond delay="0"/>
                                  </p:stCondLst>
                                  <p:childTnLst>
                                    <p:set>
                                      <p:cBhvr>
                                        <p:cTn id="15" dur="1" fill="hold">
                                          <p:stCondLst>
                                            <p:cond delay="249"/>
                                          </p:stCondLst>
                                        </p:cTn>
                                        <p:tgtEl>
                                          <p:spTgt spid="87"/>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grpId="0" nodeType="afterEffect">
                                  <p:stCondLst>
                                    <p:cond delay="0"/>
                                  </p:stCondLst>
                                  <p:childTnLst>
                                    <p:set>
                                      <p:cBhvr>
                                        <p:cTn id="18" dur="1" fill="hold">
                                          <p:stCondLst>
                                            <p:cond delay="249"/>
                                          </p:stCondLst>
                                        </p:cTn>
                                        <p:tgtEl>
                                          <p:spTgt spid="83"/>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grpId="0" nodeType="afterEffect">
                                  <p:stCondLst>
                                    <p:cond delay="0"/>
                                  </p:stCondLst>
                                  <p:childTnLst>
                                    <p:set>
                                      <p:cBhvr>
                                        <p:cTn id="21" dur="1" fill="hold">
                                          <p:stCondLst>
                                            <p:cond delay="249"/>
                                          </p:stCondLst>
                                        </p:cTn>
                                        <p:tgtEl>
                                          <p:spTgt spid="86"/>
                                        </p:tgtEl>
                                        <p:attrNameLst>
                                          <p:attrName>style.visibility</p:attrName>
                                        </p:attrNameLst>
                                      </p:cBhvr>
                                      <p:to>
                                        <p:strVal val="visible"/>
                                      </p:to>
                                    </p:set>
                                  </p:childTnLst>
                                </p:cTn>
                              </p:par>
                            </p:childTnLst>
                          </p:cTn>
                        </p:par>
                        <p:par>
                          <p:cTn id="22" fill="hold">
                            <p:stCondLst>
                              <p:cond delay="3000"/>
                            </p:stCondLst>
                            <p:childTnLst>
                              <p:par>
                                <p:cTn id="23" presetID="1" presetClass="entr" presetSubtype="0" fill="hold" grpId="0" nodeType="afterEffect">
                                  <p:stCondLst>
                                    <p:cond delay="0"/>
                                  </p:stCondLst>
                                  <p:childTnLst>
                                    <p:set>
                                      <p:cBhvr>
                                        <p:cTn id="24" dur="1" fill="hold">
                                          <p:stCondLst>
                                            <p:cond delay="249"/>
                                          </p:stCondLst>
                                        </p:cTn>
                                        <p:tgtEl>
                                          <p:spTgt spid="77"/>
                                        </p:tgtEl>
                                        <p:attrNameLst>
                                          <p:attrName>style.visibility</p:attrName>
                                        </p:attrNameLst>
                                      </p:cBhvr>
                                      <p:to>
                                        <p:strVal val="visible"/>
                                      </p:to>
                                    </p:set>
                                  </p:childTnLst>
                                </p:cTn>
                              </p:par>
                            </p:childTnLst>
                          </p:cTn>
                        </p:par>
                        <p:par>
                          <p:cTn id="25" fill="hold">
                            <p:stCondLst>
                              <p:cond delay="3500"/>
                            </p:stCondLst>
                            <p:childTnLst>
                              <p:par>
                                <p:cTn id="26" presetID="1" presetClass="entr" presetSubtype="0" fill="hold" grpId="0" nodeType="afterEffect">
                                  <p:stCondLst>
                                    <p:cond delay="0"/>
                                  </p:stCondLst>
                                  <p:childTnLst>
                                    <p:set>
                                      <p:cBhvr>
                                        <p:cTn id="27" dur="1" fill="hold">
                                          <p:stCondLst>
                                            <p:cond delay="249"/>
                                          </p:stCondLst>
                                        </p:cTn>
                                        <p:tgtEl>
                                          <p:spTgt spid="84"/>
                                        </p:tgtEl>
                                        <p:attrNameLst>
                                          <p:attrName>style.visibility</p:attrName>
                                        </p:attrNameLst>
                                      </p:cBhvr>
                                      <p:to>
                                        <p:strVal val="visible"/>
                                      </p:to>
                                    </p:set>
                                  </p:childTnLst>
                                </p:cTn>
                              </p:par>
                            </p:childTnLst>
                          </p:cTn>
                        </p:par>
                        <p:par>
                          <p:cTn id="28" fill="hold">
                            <p:stCondLst>
                              <p:cond delay="4000"/>
                            </p:stCondLst>
                            <p:childTnLst>
                              <p:par>
                                <p:cTn id="29" presetID="12" presetClass="entr" presetSubtype="4" fill="hold" grpId="0" nodeType="afterEffect">
                                  <p:stCondLst>
                                    <p:cond delay="0"/>
                                  </p:stCondLst>
                                  <p:childTnLst>
                                    <p:set>
                                      <p:cBhvr>
                                        <p:cTn id="30" dur="1" fill="hold">
                                          <p:stCondLst>
                                            <p:cond delay="0"/>
                                          </p:stCondLst>
                                        </p:cTn>
                                        <p:tgtEl>
                                          <p:spTgt spid="90"/>
                                        </p:tgtEl>
                                        <p:attrNameLst>
                                          <p:attrName>style.visibility</p:attrName>
                                        </p:attrNameLst>
                                      </p:cBhvr>
                                      <p:to>
                                        <p:strVal val="visible"/>
                                      </p:to>
                                    </p:set>
                                    <p:anim calcmode="lin" valueType="num">
                                      <p:cBhvr additive="base">
                                        <p:cTn id="31" dur="500"/>
                                        <p:tgtEl>
                                          <p:spTgt spid="90"/>
                                        </p:tgtEl>
                                        <p:attrNameLst>
                                          <p:attrName>ppt_y</p:attrName>
                                        </p:attrNameLst>
                                      </p:cBhvr>
                                      <p:tavLst>
                                        <p:tav tm="0">
                                          <p:val>
                                            <p:strVal val="#ppt_y+#ppt_h*1.125000"/>
                                          </p:val>
                                        </p:tav>
                                        <p:tav tm="100000">
                                          <p:val>
                                            <p:strVal val="#ppt_y"/>
                                          </p:val>
                                        </p:tav>
                                      </p:tavLst>
                                    </p:anim>
                                    <p:animEffect transition="in" filter="wipe(up)">
                                      <p:cBhvr>
                                        <p:cTn id="32" dur="500"/>
                                        <p:tgtEl>
                                          <p:spTgt spid="90"/>
                                        </p:tgtEl>
                                      </p:cBhvr>
                                    </p:animEffect>
                                  </p:childTnLst>
                                </p:cTn>
                              </p:par>
                            </p:childTnLst>
                          </p:cTn>
                        </p:par>
                        <p:par>
                          <p:cTn id="33" fill="hold">
                            <p:stCondLst>
                              <p:cond delay="4500"/>
                            </p:stCondLst>
                            <p:childTnLst>
                              <p:par>
                                <p:cTn id="34" presetID="12" presetClass="entr" presetSubtype="4" fill="hold" grpId="0" nodeType="afterEffect">
                                  <p:stCondLst>
                                    <p:cond delay="0"/>
                                  </p:stCondLst>
                                  <p:childTnLst>
                                    <p:set>
                                      <p:cBhvr>
                                        <p:cTn id="35" dur="1" fill="hold">
                                          <p:stCondLst>
                                            <p:cond delay="0"/>
                                          </p:stCondLst>
                                        </p:cTn>
                                        <p:tgtEl>
                                          <p:spTgt spid="89"/>
                                        </p:tgtEl>
                                        <p:attrNameLst>
                                          <p:attrName>style.visibility</p:attrName>
                                        </p:attrNameLst>
                                      </p:cBhvr>
                                      <p:to>
                                        <p:strVal val="visible"/>
                                      </p:to>
                                    </p:set>
                                    <p:anim calcmode="lin" valueType="num">
                                      <p:cBhvr additive="base">
                                        <p:cTn id="36" dur="500"/>
                                        <p:tgtEl>
                                          <p:spTgt spid="89"/>
                                        </p:tgtEl>
                                        <p:attrNameLst>
                                          <p:attrName>ppt_y</p:attrName>
                                        </p:attrNameLst>
                                      </p:cBhvr>
                                      <p:tavLst>
                                        <p:tav tm="0">
                                          <p:val>
                                            <p:strVal val="#ppt_y+#ppt_h*1.125000"/>
                                          </p:val>
                                        </p:tav>
                                        <p:tav tm="100000">
                                          <p:val>
                                            <p:strVal val="#ppt_y"/>
                                          </p:val>
                                        </p:tav>
                                      </p:tavLst>
                                    </p:anim>
                                    <p:animEffect transition="in" filter="wipe(up)">
                                      <p:cBhvr>
                                        <p:cTn id="37" dur="500"/>
                                        <p:tgtEl>
                                          <p:spTgt spid="89"/>
                                        </p:tgtEl>
                                      </p:cBhvr>
                                    </p:animEffect>
                                  </p:childTnLst>
                                </p:cTn>
                              </p:par>
                            </p:childTnLst>
                          </p:cTn>
                        </p:par>
                        <p:par>
                          <p:cTn id="38" fill="hold">
                            <p:stCondLst>
                              <p:cond delay="5000"/>
                            </p:stCondLst>
                            <p:childTnLst>
                              <p:par>
                                <p:cTn id="39" presetID="12" presetClass="entr" presetSubtype="4" fill="hold" grpId="0" nodeType="afterEffect">
                                  <p:stCondLst>
                                    <p:cond delay="0"/>
                                  </p:stCondLst>
                                  <p:childTnLst>
                                    <p:set>
                                      <p:cBhvr>
                                        <p:cTn id="40" dur="1" fill="hold">
                                          <p:stCondLst>
                                            <p:cond delay="0"/>
                                          </p:stCondLst>
                                        </p:cTn>
                                        <p:tgtEl>
                                          <p:spTgt spid="88"/>
                                        </p:tgtEl>
                                        <p:attrNameLst>
                                          <p:attrName>style.visibility</p:attrName>
                                        </p:attrNameLst>
                                      </p:cBhvr>
                                      <p:to>
                                        <p:strVal val="visible"/>
                                      </p:to>
                                    </p:set>
                                    <p:anim calcmode="lin" valueType="num">
                                      <p:cBhvr additive="base">
                                        <p:cTn id="41" dur="500"/>
                                        <p:tgtEl>
                                          <p:spTgt spid="88"/>
                                        </p:tgtEl>
                                        <p:attrNameLst>
                                          <p:attrName>ppt_y</p:attrName>
                                        </p:attrNameLst>
                                      </p:cBhvr>
                                      <p:tavLst>
                                        <p:tav tm="0">
                                          <p:val>
                                            <p:strVal val="#ppt_y+#ppt_h*1.125000"/>
                                          </p:val>
                                        </p:tav>
                                        <p:tav tm="100000">
                                          <p:val>
                                            <p:strVal val="#ppt_y"/>
                                          </p:val>
                                        </p:tav>
                                      </p:tavLst>
                                    </p:anim>
                                    <p:animEffect transition="in" filter="wipe(up)">
                                      <p:cBhvr>
                                        <p:cTn id="42"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7" grpId="0" animBg="1"/>
      <p:bldP spid="82" grpId="0" animBg="1"/>
      <p:bldP spid="83" grpId="0" animBg="1"/>
      <p:bldP spid="84" grpId="0" animBg="1"/>
      <p:bldP spid="85" grpId="0" animBg="1"/>
      <p:bldP spid="86" grpId="0" animBg="1"/>
      <p:bldP spid="87" grpId="0" animBg="1"/>
      <p:bldP spid="88" grpId="0"/>
      <p:bldP spid="89" grpId="0"/>
      <p:bldP spid="9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heme/theme1.xml><?xml version="1.0" encoding="utf-8"?>
<a:theme xmlns:a="http://schemas.openxmlformats.org/drawingml/2006/main" name="Office 主题">
  <a:themeElements>
    <a:clrScheme name="自定义 703">
      <a:dk1>
        <a:sysClr val="windowText" lastClr="000000"/>
      </a:dk1>
      <a:lt1>
        <a:sysClr val="window" lastClr="FFFFFF"/>
      </a:lt1>
      <a:dk2>
        <a:srgbClr val="411F24"/>
      </a:dk2>
      <a:lt2>
        <a:srgbClr val="E7E6E6"/>
      </a:lt2>
      <a:accent1>
        <a:srgbClr val="A44C08"/>
      </a:accent1>
      <a:accent2>
        <a:srgbClr val="411F24"/>
      </a:accent2>
      <a:accent3>
        <a:srgbClr val="A44C08"/>
      </a:accent3>
      <a:accent4>
        <a:srgbClr val="411F24"/>
      </a:accent4>
      <a:accent5>
        <a:srgbClr val="A44C08"/>
      </a:accent5>
      <a:accent6>
        <a:srgbClr val="411F24"/>
      </a:accent6>
      <a:hlink>
        <a:srgbClr val="0563C1"/>
      </a:hlink>
      <a:folHlink>
        <a:srgbClr val="954F72"/>
      </a:folHlink>
    </a:clrScheme>
    <a:fontScheme name="自定义 1">
      <a:majorFont>
        <a:latin typeface="Arial Black"/>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293</Words>
  <Application>Microsoft Office PowerPoint</Application>
  <PresentationFormat>自定义</PresentationFormat>
  <Paragraphs>481</Paragraphs>
  <Slides>38</Slides>
  <Notes>31</Notes>
  <HiddenSlides>0</HiddenSlides>
  <MMClips>1</MMClips>
  <ScaleCrop>false</ScaleCrop>
  <HeadingPairs>
    <vt:vector size="4" baseType="variant">
      <vt:variant>
        <vt:lpstr>主题</vt:lpstr>
      </vt:variant>
      <vt:variant>
        <vt:i4>1</vt:i4>
      </vt:variant>
      <vt:variant>
        <vt:lpstr>幻灯片标题</vt:lpstr>
      </vt:variant>
      <vt:variant>
        <vt:i4>38</vt:i4>
      </vt:variant>
    </vt:vector>
  </HeadingPairs>
  <TitlesOfParts>
    <vt:vector size="39" baseType="lpstr">
      <vt:lpstr>Office 主题</vt:lpstr>
      <vt:lpstr>幻灯片 1</vt:lpstr>
      <vt:lpstr>幻灯片 2</vt:lpstr>
      <vt:lpstr>幻灯片 3</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幻灯片 12</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幻灯片 21</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幻灯片 30</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幻灯片 3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HAEL</dc:creator>
  <cp:lastModifiedBy>Administrator</cp:lastModifiedBy>
  <cp:revision>15</cp:revision>
  <dcterms:created xsi:type="dcterms:W3CDTF">2015-05-05T08:02:00Z</dcterms:created>
  <dcterms:modified xsi:type="dcterms:W3CDTF">2017-07-08T10:3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393</vt:lpwstr>
  </property>
</Properties>
</file>